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9" r:id="rId4"/>
    <p:sldMasterId id="2147483716" r:id="rId5"/>
    <p:sldMasterId id="2147483767" r:id="rId6"/>
    <p:sldMasterId id="2147483827" r:id="rId7"/>
  </p:sldMasterIdLst>
  <p:notesMasterIdLst>
    <p:notesMasterId r:id="rId40"/>
  </p:notesMasterIdLst>
  <p:handoutMasterIdLst>
    <p:handoutMasterId r:id="rId41"/>
  </p:handoutMasterIdLst>
  <p:sldIdLst>
    <p:sldId id="2147377641" r:id="rId8"/>
    <p:sldId id="2147479862" r:id="rId9"/>
    <p:sldId id="2147377643" r:id="rId10"/>
    <p:sldId id="2147377736" r:id="rId11"/>
    <p:sldId id="2147377661" r:id="rId12"/>
    <p:sldId id="2147377646" r:id="rId13"/>
    <p:sldId id="2147377647" r:id="rId14"/>
    <p:sldId id="2147377648" r:id="rId15"/>
    <p:sldId id="2147377663" r:id="rId16"/>
    <p:sldId id="2147377651" r:id="rId17"/>
    <p:sldId id="2147377658" r:id="rId18"/>
    <p:sldId id="2147377653" r:id="rId19"/>
    <p:sldId id="2147377655" r:id="rId20"/>
    <p:sldId id="2147377656" r:id="rId21"/>
    <p:sldId id="2147377662" r:id="rId22"/>
    <p:sldId id="2147377665" r:id="rId23"/>
    <p:sldId id="2147377666" r:id="rId24"/>
    <p:sldId id="2147377726" r:id="rId25"/>
    <p:sldId id="2147377716" r:id="rId26"/>
    <p:sldId id="2147377732" r:id="rId27"/>
    <p:sldId id="2147377733" r:id="rId28"/>
    <p:sldId id="2147377717" r:id="rId29"/>
    <p:sldId id="2147377718" r:id="rId30"/>
    <p:sldId id="2147377719" r:id="rId31"/>
    <p:sldId id="2147377721" r:id="rId32"/>
    <p:sldId id="2147377734" r:id="rId33"/>
    <p:sldId id="2147377723" r:id="rId34"/>
    <p:sldId id="2147377727" r:id="rId35"/>
    <p:sldId id="2147377728" r:id="rId36"/>
    <p:sldId id="2147377729" r:id="rId37"/>
    <p:sldId id="2147377730" r:id="rId38"/>
    <p:sldId id="12418" r:id="rId39"/>
  </p:sldIdLst>
  <p:sldSz cx="12192000" cy="6858000"/>
  <p:notesSz cx="6858000" cy="9144000"/>
  <p:embeddedFontLst>
    <p:embeddedFont>
      <p:font typeface="SpareBank 1" panose="020B0500030000000000" pitchFamily="34" charset="0"/>
      <p:regular r:id="rId42"/>
      <p:bold r:id="rId43"/>
      <p:italic r:id="rId44"/>
      <p:boldItalic r:id="rId45"/>
    </p:embeddedFont>
    <p:embeddedFont>
      <p:font typeface="SpareBank 1 Light" panose="020B0500030000000000" pitchFamily="34" charset="0"/>
      <p:regular r:id="rId46"/>
      <p:italic r:id="rId47"/>
    </p:embeddedFont>
    <p:embeddedFont>
      <p:font typeface="SpareBank 1 Medium" panose="020B0500030000000000" pitchFamily="34" charset="0"/>
      <p:regular r:id="rId48"/>
      <p:italic r:id="rId49"/>
    </p:embeddedFont>
    <p:embeddedFont>
      <p:font typeface="SpareBank 1 Title" panose="020B0500030000000000" pitchFamily="34" charset="0"/>
      <p:regular r:id="rId50"/>
      <p:bold r:id="rId51"/>
    </p:embeddedFont>
    <p:embeddedFont>
      <p:font typeface="SpareBank 1 Title Light" panose="020B0500030000000000" pitchFamily="34" charset="0"/>
      <p:regular r:id="rId52"/>
    </p:embeddedFont>
  </p:embeddedFontLst>
  <p:custDataLst>
    <p:tags r:id="rId5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8E9DD"/>
    <a:srgbClr val="9E9E9E"/>
    <a:srgbClr val="808080"/>
    <a:srgbClr val="000000"/>
    <a:srgbClr val="2FA1FF"/>
    <a:srgbClr val="005AA4"/>
    <a:srgbClr val="C00000"/>
    <a:srgbClr val="FFF9F5"/>
    <a:srgbClr val="052D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663" autoAdjust="0"/>
    <p:restoredTop sz="94363" autoAdjust="0"/>
  </p:normalViewPr>
  <p:slideViewPr>
    <p:cSldViewPr snapToGrid="0">
      <p:cViewPr varScale="1">
        <p:scale>
          <a:sx n="110" d="100"/>
          <a:sy n="110" d="100"/>
        </p:scale>
        <p:origin x="132" y="55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174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font" Target="fonts/font1.fntdata"/><Relationship Id="rId47" Type="http://schemas.openxmlformats.org/officeDocument/2006/relationships/font" Target="fonts/font6.fntdata"/><Relationship Id="rId50" Type="http://schemas.openxmlformats.org/officeDocument/2006/relationships/font" Target="fonts/font9.fntdata"/><Relationship Id="rId55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notesMaster" Target="notesMasters/notesMaster1.xml"/><Relationship Id="rId45" Type="http://schemas.openxmlformats.org/officeDocument/2006/relationships/font" Target="fonts/font4.fntdata"/><Relationship Id="rId53" Type="http://schemas.openxmlformats.org/officeDocument/2006/relationships/tags" Target="tags/tag1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font" Target="fonts/font2.fntdata"/><Relationship Id="rId48" Type="http://schemas.openxmlformats.org/officeDocument/2006/relationships/font" Target="fonts/font7.fntdata"/><Relationship Id="rId56" Type="http://schemas.openxmlformats.org/officeDocument/2006/relationships/theme" Target="theme/theme1.xml"/><Relationship Id="rId8" Type="http://schemas.openxmlformats.org/officeDocument/2006/relationships/slide" Target="slides/slide1.xml"/><Relationship Id="rId51" Type="http://schemas.openxmlformats.org/officeDocument/2006/relationships/font" Target="fonts/font10.fntdata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font" Target="fonts/font5.fntdata"/><Relationship Id="rId20" Type="http://schemas.openxmlformats.org/officeDocument/2006/relationships/slide" Target="slides/slide13.xml"/><Relationship Id="rId41" Type="http://schemas.openxmlformats.org/officeDocument/2006/relationships/handoutMaster" Target="handoutMasters/handoutMaster1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font" Target="fonts/font8.fntdata"/><Relationship Id="rId57" Type="http://schemas.openxmlformats.org/officeDocument/2006/relationships/tableStyles" Target="tableStyles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font" Target="fonts/font3.fntdata"/><Relationship Id="rId52" Type="http://schemas.openxmlformats.org/officeDocument/2006/relationships/font" Target="fonts/font11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DDA1FA4-1174-40A7-9B07-04BBFF1CF9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17BD3B-731D-4124-B00B-07B4584E35E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618B9B-7448-4D8A-AF2F-B1EE064302A4}" type="datetimeFigureOut">
              <a:rPr lang="en-US" smtClean="0"/>
              <a:t>6/1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2A1CF0-482E-42EC-ABD5-CD1886BACA4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FCAFF6-524F-4F57-A635-BBEFD4753C1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231432-75B0-4283-A309-B0CC7EE887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6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DA8300-A5C5-4530-B9F1-8ED6B56A8897}" type="datetimeFigureOut">
              <a:rPr lang="nb-NO" smtClean="0"/>
              <a:t>12.06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B9DBD6-EE2A-487E-B1F3-ABE8CC01B16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050396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Takk for oppmerksomheten!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ADA1A3-3ED1-467C-AAAA-AC3D20FA118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26177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5.emf"/><Relationship Id="rId4" Type="http://schemas.openxmlformats.org/officeDocument/2006/relationships/image" Target="../media/image74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4.emf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4.emf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4.emf"/><Relationship Id="rId4" Type="http://schemas.openxmlformats.org/officeDocument/2006/relationships/image" Target="../media/image119.pn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12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5.emf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5.emf"/><Relationship Id="rId4" Type="http://schemas.openxmlformats.org/officeDocument/2006/relationships/image" Target="../media/image74.emf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6.mp4"/><Relationship Id="rId1" Type="http://schemas.microsoft.com/office/2007/relationships/media" Target="../media/media6.mp4"/><Relationship Id="rId6" Type="http://schemas.openxmlformats.org/officeDocument/2006/relationships/image" Target="../media/image74.emf"/><Relationship Id="rId5" Type="http://schemas.openxmlformats.org/officeDocument/2006/relationships/image" Target="../media/image75.emf"/><Relationship Id="rId4" Type="http://schemas.openxmlformats.org/officeDocument/2006/relationships/image" Target="../media/image55.png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7.mp4"/><Relationship Id="rId1" Type="http://schemas.microsoft.com/office/2007/relationships/media" Target="../media/media7.mp4"/><Relationship Id="rId6" Type="http://schemas.openxmlformats.org/officeDocument/2006/relationships/image" Target="../media/image74.emf"/><Relationship Id="rId5" Type="http://schemas.openxmlformats.org/officeDocument/2006/relationships/image" Target="../media/image75.emf"/><Relationship Id="rId4" Type="http://schemas.openxmlformats.org/officeDocument/2006/relationships/image" Target="../media/image56.png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74.emf"/><Relationship Id="rId5" Type="http://schemas.openxmlformats.org/officeDocument/2006/relationships/image" Target="../media/image57.png"/><Relationship Id="rId4" Type="http://schemas.openxmlformats.org/officeDocument/2006/relationships/image" Target="../media/image75.emf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6" Type="http://schemas.openxmlformats.org/officeDocument/2006/relationships/image" Target="../media/image74.emf"/><Relationship Id="rId5" Type="http://schemas.openxmlformats.org/officeDocument/2006/relationships/image" Target="../media/image58.png"/><Relationship Id="rId4" Type="http://schemas.openxmlformats.org/officeDocument/2006/relationships/image" Target="../media/image75.emf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5.mp4"/><Relationship Id="rId1" Type="http://schemas.microsoft.com/office/2007/relationships/media" Target="../media/media5.mp4"/><Relationship Id="rId6" Type="http://schemas.openxmlformats.org/officeDocument/2006/relationships/image" Target="../media/image74.emf"/><Relationship Id="rId5" Type="http://schemas.openxmlformats.org/officeDocument/2006/relationships/image" Target="../media/image59.png"/><Relationship Id="rId4" Type="http://schemas.openxmlformats.org/officeDocument/2006/relationships/image" Target="../media/image75.emf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2.emf"/><Relationship Id="rId4" Type="http://schemas.openxmlformats.org/officeDocument/2006/relationships/image" Target="../media/image123.emf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3.emf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3.emf"/><Relationship Id="rId4" Type="http://schemas.openxmlformats.org/officeDocument/2006/relationships/image" Target="../media/image53.png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2.emf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2.emf"/><Relationship Id="rId4" Type="http://schemas.openxmlformats.org/officeDocument/2006/relationships/image" Target="../media/image123.emf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23.emf"/><Relationship Id="rId5" Type="http://schemas.openxmlformats.org/officeDocument/2006/relationships/image" Target="../media/image122.emf"/><Relationship Id="rId4" Type="http://schemas.openxmlformats.org/officeDocument/2006/relationships/image" Target="../media/image55.png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123.emf"/><Relationship Id="rId5" Type="http://schemas.openxmlformats.org/officeDocument/2006/relationships/image" Target="../media/image122.emf"/><Relationship Id="rId4" Type="http://schemas.openxmlformats.org/officeDocument/2006/relationships/image" Target="../media/image56.png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123.emf"/><Relationship Id="rId5" Type="http://schemas.openxmlformats.org/officeDocument/2006/relationships/image" Target="../media/image57.png"/><Relationship Id="rId4" Type="http://schemas.openxmlformats.org/officeDocument/2006/relationships/image" Target="../media/image122.emf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6" Type="http://schemas.openxmlformats.org/officeDocument/2006/relationships/image" Target="../media/image123.emf"/><Relationship Id="rId5" Type="http://schemas.openxmlformats.org/officeDocument/2006/relationships/image" Target="../media/image58.png"/><Relationship Id="rId4" Type="http://schemas.openxmlformats.org/officeDocument/2006/relationships/image" Target="../media/image122.emf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5.mp4"/><Relationship Id="rId1" Type="http://schemas.microsoft.com/office/2007/relationships/media" Target="../media/media5.mp4"/><Relationship Id="rId6" Type="http://schemas.openxmlformats.org/officeDocument/2006/relationships/image" Target="../media/image123.emf"/><Relationship Id="rId5" Type="http://schemas.openxmlformats.org/officeDocument/2006/relationships/image" Target="../media/image59.png"/><Relationship Id="rId4" Type="http://schemas.openxmlformats.org/officeDocument/2006/relationships/image" Target="../media/image12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7.emf"/><Relationship Id="rId4" Type="http://schemas.openxmlformats.org/officeDocument/2006/relationships/image" Target="../media/image48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8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8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8.emf"/><Relationship Id="rId4" Type="http://schemas.openxmlformats.org/officeDocument/2006/relationships/image" Target="../media/image5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7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7.emf"/><Relationship Id="rId4" Type="http://schemas.openxmlformats.org/officeDocument/2006/relationships/image" Target="../media/image48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48.emf"/><Relationship Id="rId5" Type="http://schemas.openxmlformats.org/officeDocument/2006/relationships/image" Target="../media/image47.emf"/><Relationship Id="rId4" Type="http://schemas.openxmlformats.org/officeDocument/2006/relationships/image" Target="../media/image55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48.emf"/><Relationship Id="rId5" Type="http://schemas.openxmlformats.org/officeDocument/2006/relationships/image" Target="../media/image47.emf"/><Relationship Id="rId4" Type="http://schemas.openxmlformats.org/officeDocument/2006/relationships/image" Target="../media/image56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48.emf"/><Relationship Id="rId5" Type="http://schemas.openxmlformats.org/officeDocument/2006/relationships/image" Target="../media/image57.png"/><Relationship Id="rId4" Type="http://schemas.openxmlformats.org/officeDocument/2006/relationships/image" Target="../media/image47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6" Type="http://schemas.openxmlformats.org/officeDocument/2006/relationships/image" Target="../media/image48.emf"/><Relationship Id="rId5" Type="http://schemas.openxmlformats.org/officeDocument/2006/relationships/image" Target="../media/image58.png"/><Relationship Id="rId4" Type="http://schemas.openxmlformats.org/officeDocument/2006/relationships/image" Target="../media/image47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5.mp4"/><Relationship Id="rId1" Type="http://schemas.microsoft.com/office/2007/relationships/media" Target="../media/media5.mp4"/><Relationship Id="rId6" Type="http://schemas.openxmlformats.org/officeDocument/2006/relationships/image" Target="../media/image48.emf"/><Relationship Id="rId5" Type="http://schemas.openxmlformats.org/officeDocument/2006/relationships/image" Target="../media/image59.png"/><Relationship Id="rId4" Type="http://schemas.openxmlformats.org/officeDocument/2006/relationships/image" Target="../media/image47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sv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68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emf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53.pn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emf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7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1F008BBA-689F-42DB-913E-0747FEF2C9A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background" hidden="1">
            <a:extLst>
              <a:ext uri="{FF2B5EF4-FFF2-40B4-BE49-F238E27FC236}">
                <a16:creationId xmlns:a16="http://schemas.microsoft.com/office/drawing/2014/main" id="{20F64EEC-DBFB-4FDA-B7D3-2BFC8275B17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B4FB7D30-A58A-4C12-BA63-D7BD6F30D44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4B4ECA20-A19D-4A30-BCBE-5B85C7B9069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E0A27905-A053-4BA2-B313-CC93DDB1A4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F09D0317-D37C-4CB3-ACEF-438C4B052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62AE36E-9C13-4C22-9D9E-82AC72D8272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2336466F-2103-425B-87BE-18F3E57B9F81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6" name="logo_blaa" hidden="1">
            <a:extLst>
              <a:ext uri="{FF2B5EF4-FFF2-40B4-BE49-F238E27FC236}">
                <a16:creationId xmlns:a16="http://schemas.microsoft.com/office/drawing/2014/main" id="{B320C3A7-5FED-A483-7368-ADCBACF2D93D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2667000" cy="560754"/>
          </a:xfrm>
          <a:prstGeom prst="rect">
            <a:avLst/>
          </a:prstGeom>
        </p:spPr>
      </p:pic>
      <p:pic>
        <p:nvPicPr>
          <p:cNvPr id="23" name="logo_hvit" hidden="1">
            <a:extLst>
              <a:ext uri="{FF2B5EF4-FFF2-40B4-BE49-F238E27FC236}">
                <a16:creationId xmlns:a16="http://schemas.microsoft.com/office/drawing/2014/main" id="{1099DB2B-DF62-E87A-66A6-4FA97A2D29B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9709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 med bilde (Høyre nede, sirkel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D22E757-EFE7-4496-8FCA-C88C207173B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5310" y="0"/>
            <a:ext cx="5885376" cy="4521285"/>
          </a:xfrm>
          <a:custGeom>
            <a:avLst/>
            <a:gdLst>
              <a:gd name="connsiteX0" fmla="*/ 461865 w 5885376"/>
              <a:gd name="connsiteY0" fmla="*/ 0 h 4521285"/>
              <a:gd name="connsiteX1" fmla="*/ 5423511 w 5885376"/>
              <a:gd name="connsiteY1" fmla="*/ 0 h 4521285"/>
              <a:gd name="connsiteX2" fmla="*/ 5530209 w 5885376"/>
              <a:gd name="connsiteY2" fmla="*/ 175643 h 4521285"/>
              <a:gd name="connsiteX3" fmla="*/ 5885376 w 5885376"/>
              <a:gd name="connsiteY3" fmla="*/ 1578398 h 4521285"/>
              <a:gd name="connsiteX4" fmla="*/ 2942688 w 5885376"/>
              <a:gd name="connsiteY4" fmla="*/ 4521285 h 4521285"/>
              <a:gd name="connsiteX5" fmla="*/ 0 w 5885376"/>
              <a:gd name="connsiteY5" fmla="*/ 1578398 h 4521285"/>
              <a:gd name="connsiteX6" fmla="*/ 355167 w 5885376"/>
              <a:gd name="connsiteY6" fmla="*/ 175643 h 4521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85376" h="4521285">
                <a:moveTo>
                  <a:pt x="461865" y="0"/>
                </a:moveTo>
                <a:lnTo>
                  <a:pt x="5423511" y="0"/>
                </a:lnTo>
                <a:lnTo>
                  <a:pt x="5530209" y="175643"/>
                </a:lnTo>
                <a:cubicBezTo>
                  <a:pt x="5756715" y="592630"/>
                  <a:pt x="5885376" y="1070488"/>
                  <a:pt x="5885376" y="1578398"/>
                </a:cubicBezTo>
                <a:cubicBezTo>
                  <a:pt x="5885376" y="3203710"/>
                  <a:pt x="4567890" y="4521285"/>
                  <a:pt x="2942688" y="4521285"/>
                </a:cubicBezTo>
                <a:cubicBezTo>
                  <a:pt x="1317486" y="4521285"/>
                  <a:pt x="0" y="3203710"/>
                  <a:pt x="0" y="1578398"/>
                </a:cubicBezTo>
                <a:cubicBezTo>
                  <a:pt x="0" y="1070488"/>
                  <a:pt x="128661" y="592630"/>
                  <a:pt x="355167" y="175643"/>
                </a:cubicBezTo>
                <a:close/>
              </a:path>
            </a:pathLst>
          </a:custGeom>
          <a:solidFill>
            <a:srgbClr val="D9D8E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F73AC3B-A4A9-4926-98E2-D54C056F90E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34350" y="1270489"/>
            <a:ext cx="6757650" cy="5587512"/>
          </a:xfrm>
          <a:custGeom>
            <a:avLst/>
            <a:gdLst>
              <a:gd name="connsiteX0" fmla="*/ 3737429 w 6757650"/>
              <a:gd name="connsiteY0" fmla="*/ 0 h 5587512"/>
              <a:gd name="connsiteX1" fmla="*/ 6621411 w 6757650"/>
              <a:gd name="connsiteY1" fmla="*/ 1360397 h 5587512"/>
              <a:gd name="connsiteX2" fmla="*/ 6757650 w 6757650"/>
              <a:gd name="connsiteY2" fmla="*/ 1542630 h 5587512"/>
              <a:gd name="connsiteX3" fmla="*/ 6757650 w 6757650"/>
              <a:gd name="connsiteY3" fmla="*/ 5587512 h 5587512"/>
              <a:gd name="connsiteX4" fmla="*/ 491968 w 6757650"/>
              <a:gd name="connsiteY4" fmla="*/ 5587512 h 5587512"/>
              <a:gd name="connsiteX5" fmla="*/ 451088 w 6757650"/>
              <a:gd name="connsiteY5" fmla="*/ 5520206 h 5587512"/>
              <a:gd name="connsiteX6" fmla="*/ 0 w 6757650"/>
              <a:gd name="connsiteY6" fmla="*/ 3738307 h 5587512"/>
              <a:gd name="connsiteX7" fmla="*/ 3737429 w 6757650"/>
              <a:gd name="connsiteY7" fmla="*/ 0 h 5587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57650" h="5587512">
                <a:moveTo>
                  <a:pt x="3737429" y="0"/>
                </a:moveTo>
                <a:cubicBezTo>
                  <a:pt x="4898499" y="0"/>
                  <a:pt x="5935911" y="529568"/>
                  <a:pt x="6621411" y="1360397"/>
                </a:cubicBezTo>
                <a:lnTo>
                  <a:pt x="6757650" y="1542630"/>
                </a:lnTo>
                <a:lnTo>
                  <a:pt x="6757650" y="5587512"/>
                </a:lnTo>
                <a:lnTo>
                  <a:pt x="491968" y="5587512"/>
                </a:lnTo>
                <a:lnTo>
                  <a:pt x="451088" y="5520206"/>
                </a:lnTo>
                <a:cubicBezTo>
                  <a:pt x="163409" y="4990513"/>
                  <a:pt x="0" y="4383498"/>
                  <a:pt x="0" y="3738307"/>
                </a:cubicBezTo>
                <a:cubicBezTo>
                  <a:pt x="0" y="1673697"/>
                  <a:pt x="1673304" y="0"/>
                  <a:pt x="373742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E54C31-34D8-42E9-8DA6-17AEAE2973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6704" y="303620"/>
            <a:ext cx="1721015" cy="92333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accent2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1367221"/>
            <a:ext cx="5614196" cy="969496"/>
          </a:xfrm>
        </p:spPr>
        <p:txBody>
          <a:bodyPr anchor="ctr">
            <a:noAutofit/>
          </a:bodyPr>
          <a:lstStyle>
            <a:lvl1pPr>
              <a:defRPr sz="7000">
                <a:solidFill>
                  <a:schemeClr val="accent2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kapittel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0EE1215-8BFC-4402-8AF8-777B7C8D6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6704" y="2556833"/>
            <a:ext cx="5614196" cy="432054"/>
          </a:xfrm>
        </p:spPr>
        <p:txBody>
          <a:bodyPr lIns="86400"/>
          <a:lstStyle>
            <a:lvl1pPr marL="0" indent="0" algn="l">
              <a:buNone/>
              <a:defRPr sz="1600">
                <a:solidFill>
                  <a:schemeClr val="accent2"/>
                </a:solidFill>
                <a:latin typeface="SpareBank 1 Light" panose="020B0500030000000000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D3E1BA9-A908-4A48-A0A6-59B33BE169B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A1CC3DA1-6E86-4C3A-B22E-95896C5B284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AF58B9B1-B8B4-4686-95DA-24EC9795FA3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2F8CF7-A768-4FDA-B0E0-9D9BFBF0536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8EC9EC8E-BBE1-4C9B-B12F-C37E3754342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1D75CE87-EA9B-47E7-853C-FAC43232B17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F213F449-5667-488C-B67F-599AB7F3199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5" name="addin_image" hidden="1">
            <a:extLst>
              <a:ext uri="{FF2B5EF4-FFF2-40B4-BE49-F238E27FC236}">
                <a16:creationId xmlns:a16="http://schemas.microsoft.com/office/drawing/2014/main" id="{92472BBB-FF87-41B4-95E1-040D828D78AC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D3B2865B-446F-1D1B-CCB2-BC100CFE6DD1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6" name="logo_hvit" hidden="1">
            <a:extLst>
              <a:ext uri="{FF2B5EF4-FFF2-40B4-BE49-F238E27FC236}">
                <a16:creationId xmlns:a16="http://schemas.microsoft.com/office/drawing/2014/main" id="{37B1FD90-ABC5-7D84-1102-1163F2A529B7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29058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C3D015-6959-4408-9BF2-878E984CDA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27625" y="0"/>
            <a:ext cx="7064375" cy="6858000"/>
          </a:xfrm>
          <a:solidFill>
            <a:srgbClr val="00103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4E92E13-E931-494C-96DF-4A2421B6FE9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4381497" y="4038600"/>
            <a:ext cx="7810497" cy="2819400"/>
          </a:xfrm>
          <a:custGeom>
            <a:avLst/>
            <a:gdLst>
              <a:gd name="connsiteX0" fmla="*/ 6007097 w 7810497"/>
              <a:gd name="connsiteY0" fmla="*/ 0 h 2819400"/>
              <a:gd name="connsiteX1" fmla="*/ 0 w 7810497"/>
              <a:gd name="connsiteY1" fmla="*/ 0 h 2819400"/>
              <a:gd name="connsiteX2" fmla="*/ 0 w 7810497"/>
              <a:gd name="connsiteY2" fmla="*/ 2819400 h 2819400"/>
              <a:gd name="connsiteX3" fmla="*/ 7810497 w 7810497"/>
              <a:gd name="connsiteY3" fmla="*/ 2819400 h 2819400"/>
              <a:gd name="connsiteX4" fmla="*/ 7810497 w 7810497"/>
              <a:gd name="connsiteY4" fmla="*/ 1803400 h 2819400"/>
              <a:gd name="connsiteX5" fmla="*/ 6007097 w 7810497"/>
              <a:gd name="connsiteY5" fmla="*/ 0 h 281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10497" h="2819400">
                <a:moveTo>
                  <a:pt x="6007097" y="0"/>
                </a:moveTo>
                <a:lnTo>
                  <a:pt x="0" y="0"/>
                </a:lnTo>
                <a:lnTo>
                  <a:pt x="0" y="2819400"/>
                </a:lnTo>
                <a:lnTo>
                  <a:pt x="7810497" y="2819400"/>
                </a:lnTo>
                <a:lnTo>
                  <a:pt x="7810497" y="1803400"/>
                </a:lnTo>
                <a:cubicBezTo>
                  <a:pt x="7810497" y="807410"/>
                  <a:pt x="7003087" y="0"/>
                  <a:pt x="6007097" y="0"/>
                </a:cubicBezTo>
                <a:close/>
              </a:path>
            </a:pathLst>
          </a:custGeom>
          <a:solidFill>
            <a:srgbClr val="C3C2DC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ACC01-A937-4271-A7CA-BDC2D6D394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382641" y="5041029"/>
            <a:ext cx="1766888" cy="986907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82641" y="4611460"/>
            <a:ext cx="1766888" cy="338741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3828245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9EE6D194-429B-4CF9-A25A-D35D88FBF5E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15913" y="909186"/>
            <a:ext cx="3829036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77A88A4F-5ACA-4E7F-97B6-8D5BFDDB038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424801" y="5041029"/>
            <a:ext cx="1766888" cy="986907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199A3D1D-B068-40B9-94DE-750DA43F6A1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424801" y="4611460"/>
            <a:ext cx="1766888" cy="338741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AF12E05B-349E-468D-89CE-BFB1E0530AB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28236" y="5041029"/>
            <a:ext cx="1766888" cy="986907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B8ED6D48-CFEA-4D2F-80DC-CBDA51FDD93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428236" y="4611460"/>
            <a:ext cx="1766888" cy="338741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F91AA2C9-234E-4CCE-ABF3-86C69A1A96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6024" y="2249281"/>
            <a:ext cx="3438925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300">
                <a:solidFill>
                  <a:srgbClr val="00207D"/>
                </a:solidFill>
              </a:defRPr>
            </a:lvl2pPr>
            <a:lvl3pPr>
              <a:defRPr sz="1200">
                <a:solidFill>
                  <a:srgbClr val="00207D"/>
                </a:solidFill>
              </a:defRPr>
            </a:lvl3pPr>
            <a:lvl4pPr>
              <a:defRPr sz="1100">
                <a:solidFill>
                  <a:srgbClr val="00207D"/>
                </a:solidFill>
              </a:defRPr>
            </a:lvl4pPr>
            <a:lvl5pPr>
              <a:defRPr sz="10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C0D465B5-E891-45FD-B2CD-F7832BDB643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B652CA5B-091A-4E89-9203-486E5C39F485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A2D3D61E-049A-48E0-9986-95DEF9C8F2B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background" hidden="1">
            <a:extLst>
              <a:ext uri="{FF2B5EF4-FFF2-40B4-BE49-F238E27FC236}">
                <a16:creationId xmlns:a16="http://schemas.microsoft.com/office/drawing/2014/main" id="{122DD4A3-2094-47A6-87DB-03D72FCE8FB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9" name="addin_logo" hidden="1">
            <a:extLst>
              <a:ext uri="{FF2B5EF4-FFF2-40B4-BE49-F238E27FC236}">
                <a16:creationId xmlns:a16="http://schemas.microsoft.com/office/drawing/2014/main" id="{F2DDBE38-7E8E-4049-B6C7-D0729F6C696F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0" name="addin_title" hidden="1">
            <a:extLst>
              <a:ext uri="{FF2B5EF4-FFF2-40B4-BE49-F238E27FC236}">
                <a16:creationId xmlns:a16="http://schemas.microsoft.com/office/drawing/2014/main" id="{87107F74-6EEF-4C55-B579-31D86AEE85F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1" name="addin_text" hidden="1">
            <a:extLst>
              <a:ext uri="{FF2B5EF4-FFF2-40B4-BE49-F238E27FC236}">
                <a16:creationId xmlns:a16="http://schemas.microsoft.com/office/drawing/2014/main" id="{1CC0094A-8549-4644-B35B-BC8DAAA1AAB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32" name="logo_blaa" hidden="1">
            <a:extLst>
              <a:ext uri="{FF2B5EF4-FFF2-40B4-BE49-F238E27FC236}">
                <a16:creationId xmlns:a16="http://schemas.microsoft.com/office/drawing/2014/main" id="{E576EF12-DB8B-404F-8D5C-EC2AE434A47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33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C80F1D35-78F0-4066-BCC5-9ACED0AD493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34066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4 deler)">
    <p:bg>
      <p:bgPr>
        <a:solidFill>
          <a:srgbClr val="CECE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C455073B-9561-4C18-AE0B-2DBE98389CC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096000" y="1720850"/>
            <a:ext cx="6096000" cy="5137150"/>
          </a:xfr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6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6AEB2CF0-BD35-47EE-A838-C4F6293D9FC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7429500" y="-1333500"/>
            <a:ext cx="3429000" cy="6096000"/>
          </a:xfrm>
          <a:prstGeom prst="round1Rect">
            <a:avLst>
              <a:gd name="adj" fmla="val 38889"/>
            </a:avLst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5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DC774C79-16BF-402F-AB0F-4B3DDB76E4B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0" y="3429000"/>
            <a:ext cx="6096000" cy="3429000"/>
          </a:xfrm>
          <a:solidFill>
            <a:srgbClr val="0061A8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30D4A27-CB15-4024-A7B2-B0A0FBB527D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0" y="0"/>
            <a:ext cx="6096000" cy="3429000"/>
          </a:xfrm>
          <a:solidFill>
            <a:srgbClr val="FFF9F5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11600" y="3772800"/>
            <a:ext cx="5565974" cy="338741"/>
          </a:xfrm>
          <a:solidFill>
            <a:srgbClr val="0000FE">
              <a:alpha val="0"/>
            </a:srgbClr>
          </a:solidFill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3253810" cy="553998"/>
          </a:xfrm>
          <a:solidFill>
            <a:srgbClr val="0000FE">
              <a:alpha val="0"/>
            </a:srgbClr>
          </a:solidFill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9EE6D194-429B-4CF9-A25A-D35D88FBF5E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15913" y="909186"/>
            <a:ext cx="3253810" cy="430887"/>
          </a:xfrm>
          <a:solidFill>
            <a:srgbClr val="0000FE">
              <a:alpha val="0"/>
            </a:srgbClr>
          </a:solidFill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62251966-DC51-42A4-9D10-7A6D8F3A70A2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3579248" y="1073070"/>
            <a:ext cx="2032424" cy="2013995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8D8D130-C5B1-450A-822A-5F08E950A7F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29600" y="1846800"/>
            <a:ext cx="2713758" cy="1241425"/>
          </a:xfrm>
        </p:spPr>
        <p:txBody>
          <a:bodyPr/>
          <a:lstStyle>
            <a:lvl1pPr marL="0" indent="0">
              <a:buNone/>
              <a:defRPr sz="10000"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DAB914C2-BF35-4A59-AC94-D43C6D9E086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5913" y="3772800"/>
            <a:ext cx="4660900" cy="338741"/>
          </a:xfrm>
        </p:spPr>
        <p:txBody>
          <a:bodyPr lIns="79200" anchor="b"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45B7438E-AE75-4FF7-BC5E-B7C2C0CE59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A4BDD34D-E03D-4646-867F-0721BEFA75DC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firefarg1, firefarg2</a:t>
            </a:r>
          </a:p>
        </p:txBody>
      </p:sp>
      <p:sp>
        <p:nvSpPr>
          <p:cNvPr id="29" name="addin_colorbox" hidden="1">
            <a:extLst>
              <a:ext uri="{FF2B5EF4-FFF2-40B4-BE49-F238E27FC236}">
                <a16:creationId xmlns:a16="http://schemas.microsoft.com/office/drawing/2014/main" id="{9E04BAB5-E565-4580-A95D-A8DBBBA206C7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0" name="addin_background" hidden="1">
            <a:extLst>
              <a:ext uri="{FF2B5EF4-FFF2-40B4-BE49-F238E27FC236}">
                <a16:creationId xmlns:a16="http://schemas.microsoft.com/office/drawing/2014/main" id="{20312245-3B2C-45E0-A41F-9880DECB8AA3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31" name="addin_logo" hidden="1">
            <a:extLst>
              <a:ext uri="{FF2B5EF4-FFF2-40B4-BE49-F238E27FC236}">
                <a16:creationId xmlns:a16="http://schemas.microsoft.com/office/drawing/2014/main" id="{0555D013-45BB-4434-BCD4-CA50C4FDF50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2" name="addin_title" hidden="1">
            <a:extLst>
              <a:ext uri="{FF2B5EF4-FFF2-40B4-BE49-F238E27FC236}">
                <a16:creationId xmlns:a16="http://schemas.microsoft.com/office/drawing/2014/main" id="{3293E258-4BAB-4E3E-B382-2BF51368333C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3" name="addin_text" hidden="1">
            <a:extLst>
              <a:ext uri="{FF2B5EF4-FFF2-40B4-BE49-F238E27FC236}">
                <a16:creationId xmlns:a16="http://schemas.microsoft.com/office/drawing/2014/main" id="{F306448A-BC82-40F1-B842-B6DB578BF4F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4" name="addin_spestext" hidden="1">
            <a:extLst>
              <a:ext uri="{FF2B5EF4-FFF2-40B4-BE49-F238E27FC236}">
                <a16:creationId xmlns:a16="http://schemas.microsoft.com/office/drawing/2014/main" id="{28414EB4-7508-47EB-8178-87FDD9A0F47B}"/>
              </a:ext>
            </a:extLst>
          </p:cNvPr>
          <p:cNvSpPr/>
          <p:nvPr userDrawn="1"/>
        </p:nvSpPr>
        <p:spPr>
          <a:xfrm>
            <a:off x="2499793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spestext</a:t>
            </a:r>
            <a:endParaRPr lang="nb-NO" dirty="0"/>
          </a:p>
        </p:txBody>
      </p:sp>
      <p:sp>
        <p:nvSpPr>
          <p:cNvPr id="36" name="Rectangle 35" hidden="1">
            <a:extLst>
              <a:ext uri="{FF2B5EF4-FFF2-40B4-BE49-F238E27FC236}">
                <a16:creationId xmlns:a16="http://schemas.microsoft.com/office/drawing/2014/main" id="{E3844F34-BF24-4DE8-8F36-35D26CD26D68}"/>
              </a:ext>
            </a:extLst>
          </p:cNvPr>
          <p:cNvSpPr/>
          <p:nvPr userDrawn="1"/>
        </p:nvSpPr>
        <p:spPr>
          <a:xfrm>
            <a:off x="-598538" y="753"/>
            <a:ext cx="540068" cy="540068"/>
          </a:xfrm>
          <a:prstGeom prst="rect">
            <a:avLst/>
          </a:prstGeom>
          <a:solidFill>
            <a:srgbClr val="C3C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8CBF3C7C-55B9-484F-8323-BAF8BDA704CE}"/>
              </a:ext>
            </a:extLst>
          </p:cNvPr>
          <p:cNvSpPr/>
          <p:nvPr userDrawn="1"/>
        </p:nvSpPr>
        <p:spPr>
          <a:xfrm>
            <a:off x="-598538" y="275482"/>
            <a:ext cx="266019" cy="26533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 hidden="1">
            <a:extLst>
              <a:ext uri="{FF2B5EF4-FFF2-40B4-BE49-F238E27FC236}">
                <a16:creationId xmlns:a16="http://schemas.microsoft.com/office/drawing/2014/main" id="{106FD54A-FD2A-49F0-83FB-443C74F64F15}"/>
              </a:ext>
            </a:extLst>
          </p:cNvPr>
          <p:cNvSpPr/>
          <p:nvPr userDrawn="1"/>
        </p:nvSpPr>
        <p:spPr>
          <a:xfrm>
            <a:off x="-332519" y="275481"/>
            <a:ext cx="274049" cy="265338"/>
          </a:xfrm>
          <a:prstGeom prst="rect">
            <a:avLst/>
          </a:prstGeom>
          <a:solidFill>
            <a:srgbClr val="FFF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8FD9630B-D6BC-493A-BBE8-569F372E8290}"/>
              </a:ext>
            </a:extLst>
          </p:cNvPr>
          <p:cNvSpPr/>
          <p:nvPr userDrawn="1"/>
        </p:nvSpPr>
        <p:spPr>
          <a:xfrm>
            <a:off x="-332519" y="753"/>
            <a:ext cx="274049" cy="274726"/>
          </a:xfrm>
          <a:prstGeom prst="rect">
            <a:avLst/>
          </a:prstGeom>
          <a:solidFill>
            <a:srgbClr val="005A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id="{31A0D69A-9581-4EBF-B323-5DB0479996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5913" y="4194000"/>
            <a:ext cx="4660899" cy="131027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1" name="Text Placeholder 1">
            <a:extLst>
              <a:ext uri="{FF2B5EF4-FFF2-40B4-BE49-F238E27FC236}">
                <a16:creationId xmlns:a16="http://schemas.microsoft.com/office/drawing/2014/main" id="{EC8A8337-24E7-481A-8588-D5597050FC3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411600" y="4194000"/>
            <a:ext cx="5565974" cy="78556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2" name="Text Placeholder 1">
            <a:extLst>
              <a:ext uri="{FF2B5EF4-FFF2-40B4-BE49-F238E27FC236}">
                <a16:creationId xmlns:a16="http://schemas.microsoft.com/office/drawing/2014/main" id="{5F335A74-0045-4431-93C5-38BA94BA922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291600" y="910800"/>
            <a:ext cx="2685974" cy="48487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43" name="logo_blaa" hidden="1">
            <a:extLst>
              <a:ext uri="{FF2B5EF4-FFF2-40B4-BE49-F238E27FC236}">
                <a16:creationId xmlns:a16="http://schemas.microsoft.com/office/drawing/2014/main" id="{DAC5787D-1E24-4E9E-AA12-88036342F1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44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3DF51510-C3D8-40F0-8057-9A27CB756DF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87308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4 deler, med tekst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2F04CD96-D11A-4B44-912B-ADD88AA349C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20108" y="2411834"/>
            <a:ext cx="4077730" cy="4446166"/>
          </a:xfrm>
          <a:solidFill>
            <a:srgbClr val="FFF9F5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6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700E0BD-BA45-4A7E-A9CC-E715CDB8E7C2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077730" y="0"/>
            <a:ext cx="4036542" cy="4316164"/>
          </a:xfrm>
          <a:solidFill>
            <a:srgbClr val="FFFFFF"/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CE894AE-F5A2-4709-A208-E529BF8713F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4400294" y="3144021"/>
            <a:ext cx="3397251" cy="4030705"/>
          </a:xfrm>
          <a:custGeom>
            <a:avLst/>
            <a:gdLst>
              <a:gd name="connsiteX0" fmla="*/ 0 w 3429000"/>
              <a:gd name="connsiteY0" fmla="*/ 4051300 h 4051300"/>
              <a:gd name="connsiteX1" fmla="*/ 0 w 3429000"/>
              <a:gd name="connsiteY1" fmla="*/ 0 h 4051300"/>
              <a:gd name="connsiteX2" fmla="*/ 2503239 w 3429000"/>
              <a:gd name="connsiteY2" fmla="*/ 0 h 4051300"/>
              <a:gd name="connsiteX3" fmla="*/ 3429000 w 3429000"/>
              <a:gd name="connsiteY3" fmla="*/ 925761 h 4051300"/>
              <a:gd name="connsiteX4" fmla="*/ 3429000 w 3429000"/>
              <a:gd name="connsiteY4" fmla="*/ 4051300 h 405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4051300">
                <a:moveTo>
                  <a:pt x="0" y="4051300"/>
                </a:moveTo>
                <a:lnTo>
                  <a:pt x="0" y="0"/>
                </a:lnTo>
                <a:lnTo>
                  <a:pt x="2503239" y="0"/>
                </a:lnTo>
                <a:cubicBezTo>
                  <a:pt x="3014523" y="0"/>
                  <a:pt x="3429000" y="414477"/>
                  <a:pt x="3429000" y="925761"/>
                </a:cubicBezTo>
                <a:lnTo>
                  <a:pt x="3429000" y="4051300"/>
                </a:lnTo>
                <a:close/>
              </a:path>
            </a:pathLst>
          </a:custGeom>
          <a:solidFill>
            <a:srgbClr val="00207D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460C567-3FD3-4899-98EB-BA303D6775D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422761" y="-308490"/>
            <a:ext cx="3460748" cy="4077730"/>
          </a:xfrm>
          <a:custGeom>
            <a:avLst/>
            <a:gdLst>
              <a:gd name="connsiteX0" fmla="*/ 0 w 3429000"/>
              <a:gd name="connsiteY0" fmla="*/ 4051300 h 4051300"/>
              <a:gd name="connsiteX1" fmla="*/ 0 w 3429000"/>
              <a:gd name="connsiteY1" fmla="*/ 0 h 4051300"/>
              <a:gd name="connsiteX2" fmla="*/ 2503239 w 3429000"/>
              <a:gd name="connsiteY2" fmla="*/ 0 h 4051300"/>
              <a:gd name="connsiteX3" fmla="*/ 3429000 w 3429000"/>
              <a:gd name="connsiteY3" fmla="*/ 925761 h 4051300"/>
              <a:gd name="connsiteX4" fmla="*/ 3429000 w 3429000"/>
              <a:gd name="connsiteY4" fmla="*/ 4051300 h 405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4051300">
                <a:moveTo>
                  <a:pt x="0" y="4051300"/>
                </a:moveTo>
                <a:lnTo>
                  <a:pt x="0" y="0"/>
                </a:lnTo>
                <a:lnTo>
                  <a:pt x="2503239" y="0"/>
                </a:lnTo>
                <a:cubicBezTo>
                  <a:pt x="3014523" y="0"/>
                  <a:pt x="3429000" y="414477"/>
                  <a:pt x="3429000" y="925761"/>
                </a:cubicBezTo>
                <a:lnTo>
                  <a:pt x="3429000" y="4051300"/>
                </a:lnTo>
                <a:close/>
              </a:path>
            </a:pathLst>
          </a:custGeom>
          <a:solidFill>
            <a:srgbClr val="CECDE7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5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DC774C79-16BF-402F-AB0F-4B3DDB76E4B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0" y="0"/>
            <a:ext cx="4083566" cy="6858000"/>
          </a:xfrm>
          <a:solidFill>
            <a:srgbClr val="0061A8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06959" y="4114895"/>
            <a:ext cx="3080679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32538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62251966-DC51-42A4-9D10-7A6D8F3A70A2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9182117" y="4069602"/>
            <a:ext cx="2032424" cy="2013995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DAB914C2-BF35-4A59-AC94-D43C6D9E086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5913" y="1228528"/>
            <a:ext cx="3253812" cy="338741"/>
          </a:xfrm>
        </p:spPr>
        <p:txBody>
          <a:bodyPr lIns="79200" anchor="b"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D7576959-282F-48A7-93E6-CDC621CBBB5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72509" y="167205"/>
            <a:ext cx="3505064" cy="338741"/>
          </a:xfrm>
          <a:solidFill>
            <a:srgbClr val="0000FE">
              <a:alpha val="0"/>
            </a:srgbClr>
          </a:solidFill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277FC5C6-3FFB-4293-812F-50F87293B3A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DE7A0B9B-A159-4769-AA7E-43F8A26DEAA5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firefarg3, firefarg4</a:t>
            </a:r>
          </a:p>
        </p:txBody>
      </p:sp>
      <p:sp>
        <p:nvSpPr>
          <p:cNvPr id="28" name="addin_colorbox" hidden="1">
            <a:extLst>
              <a:ext uri="{FF2B5EF4-FFF2-40B4-BE49-F238E27FC236}">
                <a16:creationId xmlns:a16="http://schemas.microsoft.com/office/drawing/2014/main" id="{A723CA78-23AE-48CA-B30D-BC65F7A9A3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background" hidden="1">
            <a:extLst>
              <a:ext uri="{FF2B5EF4-FFF2-40B4-BE49-F238E27FC236}">
                <a16:creationId xmlns:a16="http://schemas.microsoft.com/office/drawing/2014/main" id="{FDB0DF5E-1B59-4D22-8E8C-0E8E2795D31D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CC87C9FE-39EB-4A6D-868B-7B8E1B4B3B1C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3" name="addin_title" hidden="1">
            <a:extLst>
              <a:ext uri="{FF2B5EF4-FFF2-40B4-BE49-F238E27FC236}">
                <a16:creationId xmlns:a16="http://schemas.microsoft.com/office/drawing/2014/main" id="{2147B6EF-8E5B-42EE-B44C-8A50E0911D9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4" name="addin_text" hidden="1">
            <a:extLst>
              <a:ext uri="{FF2B5EF4-FFF2-40B4-BE49-F238E27FC236}">
                <a16:creationId xmlns:a16="http://schemas.microsoft.com/office/drawing/2014/main" id="{F117A96B-03C2-43F0-BDD8-8161858E432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6" name="addin_image" hidden="1">
            <a:extLst>
              <a:ext uri="{FF2B5EF4-FFF2-40B4-BE49-F238E27FC236}">
                <a16:creationId xmlns:a16="http://schemas.microsoft.com/office/drawing/2014/main" id="{870B3DFC-356E-466E-A04C-39E936E6E326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6D39FA83-C4E7-4637-ABFB-525099A04B9B}"/>
              </a:ext>
            </a:extLst>
          </p:cNvPr>
          <p:cNvSpPr/>
          <p:nvPr userDrawn="1"/>
        </p:nvSpPr>
        <p:spPr>
          <a:xfrm>
            <a:off x="-598538" y="753"/>
            <a:ext cx="540068" cy="540068"/>
          </a:xfrm>
          <a:prstGeom prst="rect">
            <a:avLst/>
          </a:prstGeom>
          <a:solidFill>
            <a:srgbClr val="C3C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 hidden="1">
            <a:extLst>
              <a:ext uri="{FF2B5EF4-FFF2-40B4-BE49-F238E27FC236}">
                <a16:creationId xmlns:a16="http://schemas.microsoft.com/office/drawing/2014/main" id="{A7530B15-9197-446D-BAD0-B354241C94F9}"/>
              </a:ext>
            </a:extLst>
          </p:cNvPr>
          <p:cNvSpPr/>
          <p:nvPr userDrawn="1"/>
        </p:nvSpPr>
        <p:spPr>
          <a:xfrm>
            <a:off x="-598538" y="275482"/>
            <a:ext cx="266019" cy="26533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12CFCD8F-01FE-4654-871C-7FF1504A9466}"/>
              </a:ext>
            </a:extLst>
          </p:cNvPr>
          <p:cNvSpPr/>
          <p:nvPr userDrawn="1"/>
        </p:nvSpPr>
        <p:spPr>
          <a:xfrm>
            <a:off x="-332519" y="275481"/>
            <a:ext cx="274049" cy="265338"/>
          </a:xfrm>
          <a:prstGeom prst="rect">
            <a:avLst/>
          </a:prstGeom>
          <a:solidFill>
            <a:srgbClr val="FFF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73D33CA6-FE73-4DD0-A18B-77AA905F72DD}"/>
              </a:ext>
            </a:extLst>
          </p:cNvPr>
          <p:cNvSpPr/>
          <p:nvPr userDrawn="1"/>
        </p:nvSpPr>
        <p:spPr>
          <a:xfrm>
            <a:off x="-332519" y="753"/>
            <a:ext cx="274049" cy="274726"/>
          </a:xfrm>
          <a:prstGeom prst="rect">
            <a:avLst/>
          </a:prstGeom>
          <a:solidFill>
            <a:srgbClr val="005A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1">
            <a:extLst>
              <a:ext uri="{FF2B5EF4-FFF2-40B4-BE49-F238E27FC236}">
                <a16:creationId xmlns:a16="http://schemas.microsoft.com/office/drawing/2014/main" id="{2CE2E79D-4BE6-4DCF-BE36-0B43C13C476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5913" y="1695722"/>
            <a:ext cx="3253811" cy="131027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2" name="Text Placeholder 1">
            <a:extLst>
              <a:ext uri="{FF2B5EF4-FFF2-40B4-BE49-F238E27FC236}">
                <a16:creationId xmlns:a16="http://schemas.microsoft.com/office/drawing/2014/main" id="{8AE6BBE8-A093-48FC-8519-587B0A829EB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8472510" y="603919"/>
            <a:ext cx="3505064" cy="180791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3" name="Text Placeholder 1">
            <a:extLst>
              <a:ext uri="{FF2B5EF4-FFF2-40B4-BE49-F238E27FC236}">
                <a16:creationId xmlns:a16="http://schemas.microsoft.com/office/drawing/2014/main" id="{08CD107A-6138-4458-8580-DDA462984F8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706960" y="4551609"/>
            <a:ext cx="3080680" cy="180791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44" name="logo_blaa" hidden="1">
            <a:extLst>
              <a:ext uri="{FF2B5EF4-FFF2-40B4-BE49-F238E27FC236}">
                <a16:creationId xmlns:a16="http://schemas.microsoft.com/office/drawing/2014/main" id="{44AD89B6-8461-45C7-8250-A0DDF2E381E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45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DCC607E2-E871-4CC3-8D75-E3F83C066E4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71734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CE894AE-F5A2-4709-A208-E529BF8713F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5270105" y="-63898"/>
            <a:ext cx="4292600" cy="9551195"/>
          </a:xfrm>
          <a:prstGeom prst="round1Rect">
            <a:avLst>
              <a:gd name="adj" fmla="val 43590"/>
            </a:avLst>
          </a:prstGeom>
          <a:solidFill>
            <a:srgbClr val="00207D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273029" y="6347818"/>
            <a:ext cx="1846659" cy="153888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73029" y="6112838"/>
            <a:ext cx="1846659" cy="153888"/>
          </a:xfrm>
          <a:solidFill>
            <a:srgbClr val="0000FF">
              <a:alpha val="0"/>
            </a:srgbClr>
          </a:solidFill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4328" y="407521"/>
            <a:ext cx="6746085" cy="1284754"/>
          </a:xfrm>
        </p:spPr>
        <p:txBody>
          <a:bodyPr anchor="ctr"/>
          <a:lstStyle>
            <a:lvl1pPr>
              <a:lnSpc>
                <a:spcPct val="90000"/>
              </a:lnSpc>
              <a:defRPr sz="10000"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68846015-2A3B-446D-A0B8-D29C61C01F9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263755" y="6112838"/>
            <a:ext cx="1846659" cy="153888"/>
          </a:xfrm>
          <a:solidFill>
            <a:srgbClr val="0000FF">
              <a:alpha val="0"/>
            </a:srgbClr>
          </a:solidFill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B9BD4B98-07E6-4F80-AF51-2316CD968B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63755" y="6347818"/>
            <a:ext cx="1846659" cy="153888"/>
          </a:xfrm>
          <a:prstGeom prst="rect">
            <a:avLst/>
          </a:prstGeom>
          <a:solidFill>
            <a:srgbClr val="0000FF">
              <a:alpha val="0"/>
            </a:srgbClr>
          </a:solidFill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9BF6C8A6-65BE-42D3-BEB6-7005D686B56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 rot="10800000">
            <a:off x="7561943" y="0"/>
            <a:ext cx="4630057" cy="6858001"/>
          </a:xfrm>
          <a:prstGeom prst="round1Rect">
            <a:avLst>
              <a:gd name="adj" fmla="val 47979"/>
            </a:avLst>
          </a:prstGeom>
          <a:solidFill>
            <a:srgbClr val="00579E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96F1FE8-28E4-4C92-9D93-7B8DCD670978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1BD38ED4-B725-4AAB-9487-255EBB7049C2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ste1, siste2, siste3, siste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6F4D908F-B453-4F18-BE82-ACB5B2DA82B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FC09F4C-2DCB-4C69-9F83-FBEF8B9EA1E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052BDCAC-5BC9-42C5-8C89-4398E2F45DAB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305CCF73-19C7-4C9B-893D-1D0A7E0B1B9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03A08D40-C143-4FDB-834C-4EDCBBAB098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spestext" hidden="1">
            <a:extLst>
              <a:ext uri="{FF2B5EF4-FFF2-40B4-BE49-F238E27FC236}">
                <a16:creationId xmlns:a16="http://schemas.microsoft.com/office/drawing/2014/main" id="{282BCBC8-4FEA-4F9A-A003-2C640A6FBC6E}"/>
              </a:ext>
            </a:extLst>
          </p:cNvPr>
          <p:cNvSpPr/>
          <p:nvPr userDrawn="1"/>
        </p:nvSpPr>
        <p:spPr>
          <a:xfrm>
            <a:off x="2499793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spestext</a:t>
            </a:r>
            <a:endParaRPr lang="nb-NO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157286-2074-4AB7-850D-1D7DDD1937DB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28608" y="6115219"/>
            <a:ext cx="1640683" cy="46166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z="1000" dirty="0">
                <a:solidFill>
                  <a:srgbClr val="00207D"/>
                </a:solidFill>
              </a:rPr>
              <a:t>Sparebank1.no</a:t>
            </a:r>
          </a:p>
          <a:p>
            <a:r>
              <a:rPr lang="en-US" sz="1000" dirty="0">
                <a:solidFill>
                  <a:srgbClr val="00207D"/>
                </a:solidFill>
              </a:rPr>
              <a:t>Facebook.com/sb1.no</a:t>
            </a:r>
          </a:p>
          <a:p>
            <a:r>
              <a:rPr lang="en-US" sz="1000" dirty="0">
                <a:solidFill>
                  <a:srgbClr val="00207D"/>
                </a:solidFill>
              </a:rPr>
              <a:t>@sb1ostlandet</a:t>
            </a:r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2DB8AE09-CD4A-45F7-950C-8FF439D201A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7" name="logo_blaa" hidden="1">
            <a:extLst>
              <a:ext uri="{FF2B5EF4-FFF2-40B4-BE49-F238E27FC236}">
                <a16:creationId xmlns:a16="http://schemas.microsoft.com/office/drawing/2014/main" id="{2117E0F6-C7D7-4AAF-8CA2-440762CF541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9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1EA269C2-272B-4380-B13A-0C883C3B12F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59965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FC056B-C59F-4497-9C7A-409816C61A10}" type="datetimeFigureOut">
              <a:rPr lang="en-US" smtClean="0"/>
              <a:t>6/1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350B7-B9C6-4D95-8DED-14AC556352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83177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H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54689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tit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FD75FC5D-6F55-45E1-BA2B-4AD0149F66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0B5EFC96-E4EE-4FE8-B92E-AF05CED0CD1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93031825-807F-472B-AF88-ED6DD1CD310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699" dirty="0"/>
              <a:t>clr1, clr2, clr3, clr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D84F1E6E-F1BA-4219-A7A6-F50B1C2A1EE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699" dirty="0" err="1"/>
              <a:t>addin_colorbox</a:t>
            </a:r>
            <a:endParaRPr lang="nb-NO" sz="3699" dirty="0"/>
          </a:p>
        </p:txBody>
      </p:sp>
      <p:sp>
        <p:nvSpPr>
          <p:cNvPr id="11" name="addin_background" hidden="1">
            <a:extLst>
              <a:ext uri="{FF2B5EF4-FFF2-40B4-BE49-F238E27FC236}">
                <a16:creationId xmlns:a16="http://schemas.microsoft.com/office/drawing/2014/main" id="{DC5899DE-05C4-455E-9646-5E8813CF7104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699" dirty="0" err="1"/>
              <a:t>addin_background</a:t>
            </a:r>
            <a:endParaRPr lang="nb-NO" sz="3699" dirty="0"/>
          </a:p>
        </p:txBody>
      </p:sp>
      <p:sp>
        <p:nvSpPr>
          <p:cNvPr id="12" name="addin_logo" hidden="1">
            <a:extLst>
              <a:ext uri="{FF2B5EF4-FFF2-40B4-BE49-F238E27FC236}">
                <a16:creationId xmlns:a16="http://schemas.microsoft.com/office/drawing/2014/main" id="{BACC81DC-258C-49C1-8853-1FE54172C6A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699" dirty="0" err="1"/>
              <a:t>addin_logo</a:t>
            </a:r>
            <a:endParaRPr lang="nb-NO" sz="3699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087211ED-582A-466E-942B-54ECB00D05C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699" dirty="0" err="1"/>
              <a:t>addin_title</a:t>
            </a:r>
            <a:endParaRPr lang="nb-NO" sz="3699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81C5F396-DEF8-49C6-8C44-EC521A266BB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699" dirty="0" err="1"/>
              <a:t>addin_text</a:t>
            </a:r>
            <a:endParaRPr lang="nb-NO" sz="3699" dirty="0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BB78D4CA-637C-4477-BB8E-A7ECD33F38DA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6D0BF25A-5A8D-48DE-AE1A-E9F9953D6C93}"/>
              </a:ext>
            </a:extLst>
          </p:cNvPr>
          <p:cNvPicPr>
            <a:picLocks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92002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548716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1236838" y="1854234"/>
            <a:ext cx="1425871" cy="759695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6949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xx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4"/>
          </p:nvPr>
        </p:nvSpPr>
        <p:spPr>
          <a:xfrm>
            <a:off x="2664506" y="703890"/>
            <a:ext cx="8924459" cy="75969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4149">
                <a:solidFill>
                  <a:schemeClr val="accent1"/>
                </a:solidFill>
              </a:defRPr>
            </a:lvl1pPr>
          </a:lstStyle>
          <a:p>
            <a:pPr lvl="0"/>
            <a:endParaRPr lang="nb-NO"/>
          </a:p>
        </p:txBody>
      </p:sp>
      <p:sp>
        <p:nvSpPr>
          <p:cNvPr id="9" name="Plassholder f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1236838" y="703890"/>
            <a:ext cx="1425871" cy="759695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6949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xx</a:t>
            </a:r>
          </a:p>
        </p:txBody>
      </p:sp>
      <p:sp>
        <p:nvSpPr>
          <p:cNvPr id="10" name="Plassholder for tekst 5"/>
          <p:cNvSpPr>
            <a:spLocks noGrp="1"/>
          </p:cNvSpPr>
          <p:nvPr>
            <p:ph type="body" sz="quarter" idx="16" hasCustomPrompt="1"/>
          </p:nvPr>
        </p:nvSpPr>
        <p:spPr>
          <a:xfrm>
            <a:off x="1236838" y="4154922"/>
            <a:ext cx="1425871" cy="759695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6949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xx</a:t>
            </a:r>
          </a:p>
        </p:txBody>
      </p:sp>
      <p:sp>
        <p:nvSpPr>
          <p:cNvPr id="11" name="Plassholder for tekst 5"/>
          <p:cNvSpPr>
            <a:spLocks noGrp="1"/>
          </p:cNvSpPr>
          <p:nvPr>
            <p:ph type="body" sz="quarter" idx="17" hasCustomPrompt="1"/>
          </p:nvPr>
        </p:nvSpPr>
        <p:spPr>
          <a:xfrm>
            <a:off x="1236838" y="3004578"/>
            <a:ext cx="1425871" cy="759695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6949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xx</a:t>
            </a:r>
          </a:p>
        </p:txBody>
      </p:sp>
      <p:sp>
        <p:nvSpPr>
          <p:cNvPr id="12" name="Plassholder for tekst 5"/>
          <p:cNvSpPr>
            <a:spLocks noGrp="1"/>
          </p:cNvSpPr>
          <p:nvPr>
            <p:ph type="body" sz="quarter" idx="18" hasCustomPrompt="1"/>
          </p:nvPr>
        </p:nvSpPr>
        <p:spPr>
          <a:xfrm>
            <a:off x="1236838" y="5305266"/>
            <a:ext cx="1425871" cy="759695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6949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xx</a:t>
            </a:r>
          </a:p>
        </p:txBody>
      </p:sp>
      <p:sp>
        <p:nvSpPr>
          <p:cNvPr id="13" name="Plassholder for tekst 7"/>
          <p:cNvSpPr>
            <a:spLocks noGrp="1"/>
          </p:cNvSpPr>
          <p:nvPr>
            <p:ph type="body" sz="quarter" idx="19"/>
          </p:nvPr>
        </p:nvSpPr>
        <p:spPr>
          <a:xfrm>
            <a:off x="2664506" y="1854234"/>
            <a:ext cx="8924459" cy="75969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4149">
                <a:solidFill>
                  <a:schemeClr val="accent1"/>
                </a:solidFill>
              </a:defRPr>
            </a:lvl1pPr>
          </a:lstStyle>
          <a:p>
            <a:pPr lvl="0"/>
            <a:endParaRPr lang="nb-NO"/>
          </a:p>
        </p:txBody>
      </p:sp>
      <p:sp>
        <p:nvSpPr>
          <p:cNvPr id="14" name="Plassholder for tekst 7"/>
          <p:cNvSpPr>
            <a:spLocks noGrp="1"/>
          </p:cNvSpPr>
          <p:nvPr>
            <p:ph type="body" sz="quarter" idx="20"/>
          </p:nvPr>
        </p:nvSpPr>
        <p:spPr>
          <a:xfrm>
            <a:off x="2664506" y="3004578"/>
            <a:ext cx="8924459" cy="75969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4149">
                <a:solidFill>
                  <a:schemeClr val="accent1"/>
                </a:solidFill>
              </a:defRPr>
            </a:lvl1pPr>
          </a:lstStyle>
          <a:p>
            <a:pPr lvl="0"/>
            <a:endParaRPr lang="nb-NO"/>
          </a:p>
        </p:txBody>
      </p:sp>
      <p:sp>
        <p:nvSpPr>
          <p:cNvPr id="15" name="Plassholder for tekst 7"/>
          <p:cNvSpPr>
            <a:spLocks noGrp="1"/>
          </p:cNvSpPr>
          <p:nvPr>
            <p:ph type="body" sz="quarter" idx="21"/>
          </p:nvPr>
        </p:nvSpPr>
        <p:spPr>
          <a:xfrm>
            <a:off x="2662705" y="4154922"/>
            <a:ext cx="8924459" cy="75969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4149">
                <a:solidFill>
                  <a:schemeClr val="accent1"/>
                </a:solidFill>
              </a:defRPr>
            </a:lvl1pPr>
          </a:lstStyle>
          <a:p>
            <a:pPr lvl="0"/>
            <a:endParaRPr lang="nb-NO"/>
          </a:p>
        </p:txBody>
      </p:sp>
      <p:sp>
        <p:nvSpPr>
          <p:cNvPr id="16" name="Plassholder for tekst 7"/>
          <p:cNvSpPr>
            <a:spLocks noGrp="1"/>
          </p:cNvSpPr>
          <p:nvPr>
            <p:ph type="body" sz="quarter" idx="22"/>
          </p:nvPr>
        </p:nvSpPr>
        <p:spPr>
          <a:xfrm>
            <a:off x="2662705" y="5291605"/>
            <a:ext cx="8924459" cy="75969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4149">
                <a:solidFill>
                  <a:schemeClr val="accent1"/>
                </a:solidFill>
              </a:defRPr>
            </a:lvl1pPr>
          </a:lstStyle>
          <a:p>
            <a:pPr lvl="0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9427088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1F008BBA-689F-42DB-913E-0747FEF2C9A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background" hidden="1">
            <a:extLst>
              <a:ext uri="{FF2B5EF4-FFF2-40B4-BE49-F238E27FC236}">
                <a16:creationId xmlns:a16="http://schemas.microsoft.com/office/drawing/2014/main" id="{20F64EEC-DBFB-4FDA-B7D3-2BFC8275B17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B4FB7D30-A58A-4C12-BA63-D7BD6F30D44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4B4ECA20-A19D-4A30-BCBE-5B85C7B9069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E0A27905-A053-4BA2-B313-CC93DDB1A4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F09D0317-D37C-4CB3-ACEF-438C4B052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62AE36E-9C13-4C22-9D9E-82AC72D8272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2336466F-2103-425B-87BE-18F3E57B9F81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EEAE7072-01C1-4DF3-80E4-4516BFCB485C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591" y="301037"/>
            <a:ext cx="1735008" cy="396000"/>
          </a:xfrm>
          <a:prstGeom prst="rect">
            <a:avLst/>
          </a:prstGeom>
        </p:spPr>
      </p:pic>
      <p:pic>
        <p:nvPicPr>
          <p:cNvPr id="9" name="logo_hvit" hidden="1">
            <a:extLst>
              <a:ext uri="{FF2B5EF4-FFF2-40B4-BE49-F238E27FC236}">
                <a16:creationId xmlns:a16="http://schemas.microsoft.com/office/drawing/2014/main" id="{94299EF5-C168-4C2D-A788-7915DA1A1243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592" y="301038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108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 med bilde (Bak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59BB2EB-AC30-458C-8A51-78396746304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C295C1-C2D0-4B81-AFB0-17F1A5F19B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4394140" y="3746500"/>
            <a:ext cx="7797860" cy="3111500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E54C31-34D8-42E9-8DA6-17AEAE2973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6704" y="129452"/>
            <a:ext cx="4077436" cy="2308324"/>
          </a:xfrm>
        </p:spPr>
        <p:txBody>
          <a:bodyPr>
            <a:noAutofit/>
          </a:bodyPr>
          <a:lstStyle>
            <a:lvl1pPr marL="0" indent="0">
              <a:buNone/>
              <a:defRPr sz="15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5900" y="4231704"/>
            <a:ext cx="6681674" cy="96852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5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kapittel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0EE1215-8BFC-4402-8AF8-777B7C8D6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95900" y="5385925"/>
            <a:ext cx="6681674" cy="432054"/>
          </a:xfrm>
        </p:spPr>
        <p:txBody>
          <a:bodyPr lIns="86400"/>
          <a:lstStyle>
            <a:lvl1pPr marL="0" indent="0" algn="l">
              <a:buNone/>
              <a:defRPr sz="1600">
                <a:solidFill>
                  <a:schemeClr val="bg1"/>
                </a:solidFill>
                <a:latin typeface="SpareBank 1 Light" panose="020B0500030000000000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D686DF5-6783-49D1-A41E-12D23A566AC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59C43119-D1A7-415A-9B56-BB4C24B48D44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B3653F2D-47AC-43E1-A4F9-A6890FE46B6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B6546765-0756-4B17-9E12-187EA7A828E9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184A1887-91A2-4FF0-90C1-337F68E109C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F5BC4CF7-4561-4A71-AF04-561C00C4AD4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7863F087-9D6E-4220-8839-5C80E284A31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84A80EA-372E-4020-AAFF-EA2E11888C88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DE3EFA86-4F0D-4D8F-A8A2-EC95FFEC0C4F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D446ADD6-76DB-CDC1-773D-406373409C80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7" name="logo_hvit" hidden="1">
            <a:extLst>
              <a:ext uri="{FF2B5EF4-FFF2-40B4-BE49-F238E27FC236}">
                <a16:creationId xmlns:a16="http://schemas.microsoft.com/office/drawing/2014/main" id="{883B990A-E9D4-01AC-868D-580B67DCD114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44004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ternativ forside uten bil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ihåndsform: figur 34">
            <a:extLst>
              <a:ext uri="{FF2B5EF4-FFF2-40B4-BE49-F238E27FC236}">
                <a16:creationId xmlns:a16="http://schemas.microsoft.com/office/drawing/2014/main" id="{FEC2C7E8-2BAA-4586-B492-F62F07C9E11E}"/>
              </a:ext>
            </a:extLst>
          </p:cNvPr>
          <p:cNvSpPr/>
          <p:nvPr userDrawn="1"/>
        </p:nvSpPr>
        <p:spPr>
          <a:xfrm>
            <a:off x="8643130" y="4478410"/>
            <a:ext cx="3548870" cy="2379590"/>
          </a:xfrm>
          <a:custGeom>
            <a:avLst/>
            <a:gdLst>
              <a:gd name="connsiteX0" fmla="*/ 3548870 w 3548870"/>
              <a:gd name="connsiteY0" fmla="*/ 0 h 2379590"/>
              <a:gd name="connsiteX1" fmla="*/ 3548870 w 3548870"/>
              <a:gd name="connsiteY1" fmla="*/ 2379590 h 2379590"/>
              <a:gd name="connsiteX2" fmla="*/ 0 w 3548870"/>
              <a:gd name="connsiteY2" fmla="*/ 2379590 h 2379590"/>
              <a:gd name="connsiteX3" fmla="*/ 72242 w 3548870"/>
              <a:gd name="connsiteY3" fmla="*/ 2218043 h 2379590"/>
              <a:gd name="connsiteX4" fmla="*/ 3364761 w 3548870"/>
              <a:gd name="connsiteY4" fmla="*/ 4706 h 2379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48870" h="2379590">
                <a:moveTo>
                  <a:pt x="3548870" y="0"/>
                </a:moveTo>
                <a:lnTo>
                  <a:pt x="3548870" y="2379590"/>
                </a:lnTo>
                <a:lnTo>
                  <a:pt x="0" y="2379590"/>
                </a:lnTo>
                <a:lnTo>
                  <a:pt x="72242" y="2218043"/>
                </a:lnTo>
                <a:cubicBezTo>
                  <a:pt x="670673" y="962488"/>
                  <a:pt x="1912166" y="79145"/>
                  <a:pt x="3364761" y="470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  <p:sp>
        <p:nvSpPr>
          <p:cNvPr id="28" name="Plassholder for tekst 27">
            <a:extLst>
              <a:ext uri="{FF2B5EF4-FFF2-40B4-BE49-F238E27FC236}">
                <a16:creationId xmlns:a16="http://schemas.microsoft.com/office/drawing/2014/main" id="{AC732900-C482-4FED-BE14-15E1B9D9A0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7094193" cy="5000626"/>
          </a:xfrm>
          <a:custGeom>
            <a:avLst/>
            <a:gdLst>
              <a:gd name="connsiteX0" fmla="*/ 0 w 7094193"/>
              <a:gd name="connsiteY0" fmla="*/ 0 h 5000626"/>
              <a:gd name="connsiteX1" fmla="*/ 7094193 w 7094193"/>
              <a:gd name="connsiteY1" fmla="*/ 0 h 5000626"/>
              <a:gd name="connsiteX2" fmla="*/ 7085079 w 7094193"/>
              <a:gd name="connsiteY2" fmla="*/ 52590 h 5000626"/>
              <a:gd name="connsiteX3" fmla="*/ 1193800 w 7094193"/>
              <a:gd name="connsiteY3" fmla="*/ 5000626 h 5000626"/>
              <a:gd name="connsiteX4" fmla="*/ 278011 w 7094193"/>
              <a:gd name="connsiteY4" fmla="*/ 4929224 h 5000626"/>
              <a:gd name="connsiteX5" fmla="*/ 0 w 7094193"/>
              <a:gd name="connsiteY5" fmla="*/ 4878061 h 5000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094193" h="5000626">
                <a:moveTo>
                  <a:pt x="0" y="0"/>
                </a:moveTo>
                <a:lnTo>
                  <a:pt x="7094193" y="0"/>
                </a:lnTo>
                <a:lnTo>
                  <a:pt x="7085079" y="52590"/>
                </a:lnTo>
                <a:cubicBezTo>
                  <a:pt x="6524347" y="2876429"/>
                  <a:pt x="4099795" y="5000626"/>
                  <a:pt x="1193800" y="5000626"/>
                </a:cubicBezTo>
                <a:cubicBezTo>
                  <a:pt x="882444" y="5000626"/>
                  <a:pt x="576614" y="4976241"/>
                  <a:pt x="278011" y="4929224"/>
                </a:cubicBezTo>
                <a:lnTo>
                  <a:pt x="0" y="487806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1F008BBA-689F-42DB-913E-0747FEF2C9A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4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F06E2D9-F070-4F9C-A1C6-8E39C20198F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background" hidden="1">
            <a:extLst>
              <a:ext uri="{FF2B5EF4-FFF2-40B4-BE49-F238E27FC236}">
                <a16:creationId xmlns:a16="http://schemas.microsoft.com/office/drawing/2014/main" id="{20F64EEC-DBFB-4FDA-B7D3-2BFC8275B17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B4FB7D30-A58A-4C12-BA63-D7BD6F30D44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4B4ECA20-A19D-4A30-BCBE-5B85C7B9069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E0A27905-A053-4BA2-B313-CC93DDB1A4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F09D0317-D37C-4CB3-ACEF-438C4B052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62AE36E-9C13-4C22-9D9E-82AC72D8272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2336466F-2103-425B-87BE-18F3E57B9F81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7" name="Ellipse 26" hidden="1">
            <a:extLst>
              <a:ext uri="{FF2B5EF4-FFF2-40B4-BE49-F238E27FC236}">
                <a16:creationId xmlns:a16="http://schemas.microsoft.com/office/drawing/2014/main" id="{C58EF7F7-76C4-4C70-91FC-28F032BC9284}"/>
              </a:ext>
            </a:extLst>
          </p:cNvPr>
          <p:cNvSpPr/>
          <p:nvPr userDrawn="1"/>
        </p:nvSpPr>
        <p:spPr>
          <a:xfrm>
            <a:off x="-4819651" y="-7393244"/>
            <a:ext cx="12026901" cy="12393870"/>
          </a:xfrm>
          <a:prstGeom prst="ellipse">
            <a:avLst/>
          </a:prstGeom>
          <a:noFill/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Ellipse 6" hidden="1">
            <a:extLst>
              <a:ext uri="{FF2B5EF4-FFF2-40B4-BE49-F238E27FC236}">
                <a16:creationId xmlns:a16="http://schemas.microsoft.com/office/drawing/2014/main" id="{E7AB5697-707D-455B-8619-528309D6ACBF}"/>
              </a:ext>
            </a:extLst>
          </p:cNvPr>
          <p:cNvSpPr/>
          <p:nvPr userDrawn="1"/>
        </p:nvSpPr>
        <p:spPr>
          <a:xfrm>
            <a:off x="8333366" y="4478020"/>
            <a:ext cx="7747747" cy="7832637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8" name="logo_blaa" hidden="1">
            <a:extLst>
              <a:ext uri="{FF2B5EF4-FFF2-40B4-BE49-F238E27FC236}">
                <a16:creationId xmlns:a16="http://schemas.microsoft.com/office/drawing/2014/main" id="{F1732973-F080-4B2A-A2AC-33AD01FF0EDC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591" y="301037"/>
            <a:ext cx="1735008" cy="396000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8551060C-D877-407F-9792-D933A3333286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592" y="301038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89636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Høyre)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59095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6" y="4019550"/>
            <a:ext cx="5559095" cy="1708150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86664A-2EF2-43CB-A41F-676FF90963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19863" y="0"/>
            <a:ext cx="5672137" cy="6858000"/>
          </a:xfrm>
          <a:solidFill>
            <a:schemeClr val="accent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5B07D191-5165-41F0-9CA0-2D9A13FDE7A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48B445A7-2708-42E6-87CD-7BBE618FCB9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7AC23A7A-D883-4E96-90A1-C32758913D6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873DE8BD-C805-4280-9DAE-151FB5B3C74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B412EC9B-5739-4D54-AD85-89BAAB9B5DDC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DC8B4B2D-F48D-4D80-9952-A71F5977CA9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B4C581-6E50-4372-88CE-BC943FC4A2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3A06D244-5520-41C4-B5E5-C0A0DF4B407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404A2A7E-79DA-4E12-8A5E-415AF8F61F7A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19941D42-5924-4D8F-85FC-70505D93AA4F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591" y="301037"/>
            <a:ext cx="1735008" cy="396000"/>
          </a:xfrm>
          <a:prstGeom prst="rect">
            <a:avLst/>
          </a:prstGeom>
        </p:spPr>
      </p:pic>
      <p:pic>
        <p:nvPicPr>
          <p:cNvPr id="21" name="logo_hvit" hidden="1">
            <a:extLst>
              <a:ext uri="{FF2B5EF4-FFF2-40B4-BE49-F238E27FC236}">
                <a16:creationId xmlns:a16="http://schemas.microsoft.com/office/drawing/2014/main" id="{E3F585CE-6DDC-41B2-8C16-4E3E45C69796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592" y="301038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26727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Høyre, sirkel)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B580BDA-A445-4961-A52C-2EBE49B4CCC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6888" y="0"/>
            <a:ext cx="6245112" cy="5842000"/>
          </a:xfrm>
          <a:custGeom>
            <a:avLst/>
            <a:gdLst>
              <a:gd name="connsiteX0" fmla="*/ 662015 w 6245112"/>
              <a:gd name="connsiteY0" fmla="*/ 0 h 5842000"/>
              <a:gd name="connsiteX1" fmla="*/ 6245112 w 6245112"/>
              <a:gd name="connsiteY1" fmla="*/ 0 h 5842000"/>
              <a:gd name="connsiteX2" fmla="*/ 6245112 w 6245112"/>
              <a:gd name="connsiteY2" fmla="*/ 4800066 h 5842000"/>
              <a:gd name="connsiteX3" fmla="*/ 6034914 w 6245112"/>
              <a:gd name="connsiteY3" fmla="*/ 4992696 h 5842000"/>
              <a:gd name="connsiteX4" fmla="*/ 3688613 w 6245112"/>
              <a:gd name="connsiteY4" fmla="*/ 5842000 h 5842000"/>
              <a:gd name="connsiteX5" fmla="*/ 0 w 6245112"/>
              <a:gd name="connsiteY5" fmla="*/ 2122714 h 5842000"/>
              <a:gd name="connsiteX6" fmla="*/ 629957 w 6245112"/>
              <a:gd name="connsiteY6" fmla="*/ 43226 h 58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5112" h="5842000">
                <a:moveTo>
                  <a:pt x="662015" y="0"/>
                </a:moveTo>
                <a:lnTo>
                  <a:pt x="6245112" y="0"/>
                </a:lnTo>
                <a:lnTo>
                  <a:pt x="6245112" y="4800066"/>
                </a:lnTo>
                <a:lnTo>
                  <a:pt x="6034914" y="4992696"/>
                </a:lnTo>
                <a:cubicBezTo>
                  <a:pt x="5397304" y="5523274"/>
                  <a:pt x="4579873" y="5842000"/>
                  <a:pt x="3688613" y="5842000"/>
                </a:cubicBezTo>
                <a:cubicBezTo>
                  <a:pt x="1651448" y="5842000"/>
                  <a:pt x="0" y="4176819"/>
                  <a:pt x="0" y="2122714"/>
                </a:cubicBezTo>
                <a:cubicBezTo>
                  <a:pt x="0" y="1352425"/>
                  <a:pt x="232235" y="636828"/>
                  <a:pt x="629957" y="43226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1F008BBA-689F-42DB-913E-0747FEF2C9A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F06E2D9-F070-4F9C-A1C6-8E39C20198F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background" hidden="1">
            <a:extLst>
              <a:ext uri="{FF2B5EF4-FFF2-40B4-BE49-F238E27FC236}">
                <a16:creationId xmlns:a16="http://schemas.microsoft.com/office/drawing/2014/main" id="{20F64EEC-DBFB-4FDA-B7D3-2BFC8275B17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B4FB7D30-A58A-4C12-BA63-D7BD6F30D44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4B4ECA20-A19D-4A30-BCBE-5B85C7B9069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E0A27905-A053-4BA2-B313-CC93DDB1A4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F09D0317-D37C-4CB3-ACEF-438C4B052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62AE36E-9C13-4C22-9D9E-82AC72D8272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2336466F-2103-425B-87BE-18F3E57B9F81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197D727A-94BE-452B-BBC5-24C2FF6C5FBC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591" y="301037"/>
            <a:ext cx="1735008" cy="396000"/>
          </a:xfrm>
          <a:prstGeom prst="rect">
            <a:avLst/>
          </a:prstGeom>
        </p:spPr>
      </p:pic>
      <p:pic>
        <p:nvPicPr>
          <p:cNvPr id="9" name="logo_hvit" hidden="1">
            <a:extLst>
              <a:ext uri="{FF2B5EF4-FFF2-40B4-BE49-F238E27FC236}">
                <a16:creationId xmlns:a16="http://schemas.microsoft.com/office/drawing/2014/main" id="{CDFAC477-520D-464D-A809-BA8D7CE2598A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592" y="301038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85424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Bak)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86664A-2EF2-43CB-A41F-676FF90963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04DA4748-4F43-4F1B-AAEB-2ED411E524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C94E69BD-0A56-40F8-B68A-E3D823537E4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D1EDA5DC-474F-4369-8152-D656FEB6ADA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15396179-4FC6-46C7-82A4-0F380217A02E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5048B53-A7C6-4F18-96FB-30937FDBA63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5FF0EACC-C50A-44B5-8C4D-444ED159113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FCFE3393-AB3C-44EB-AFC3-F01B9D65C2D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49EF98D6-91C4-4ED8-AF8C-C1F414AB3967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62A94A90-C24C-4B65-9E95-C37CC0783BA5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591" y="301037"/>
            <a:ext cx="1735008" cy="396000"/>
          </a:xfrm>
          <a:prstGeom prst="rect">
            <a:avLst/>
          </a:prstGeom>
        </p:spPr>
      </p:pic>
      <p:pic>
        <p:nvPicPr>
          <p:cNvPr id="9" name="logo_hvit" hidden="1">
            <a:extLst>
              <a:ext uri="{FF2B5EF4-FFF2-40B4-BE49-F238E27FC236}">
                <a16:creationId xmlns:a16="http://schemas.microsoft.com/office/drawing/2014/main" id="{383B2994-7511-4962-8284-15D6C005FFA2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592" y="301038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28699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(Bak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52763ED-CF70-4772-BB44-DC41205ED83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22415" y="2288796"/>
            <a:ext cx="5560333" cy="1938992"/>
          </a:xfrm>
        </p:spPr>
        <p:txBody>
          <a:bodyPr anchor="t">
            <a:noAutofit/>
          </a:bodyPr>
          <a:lstStyle>
            <a:lvl1pPr algn="ctr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2416" y="4338863"/>
            <a:ext cx="5560332" cy="1708150"/>
          </a:xfrm>
        </p:spPr>
        <p:txBody>
          <a:bodyPr anchor="t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8EE8199-86B9-4779-8FFF-E942D0D919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DC1C65D8-3327-4A0F-A16F-F092745C8256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E8AD148F-21A9-43AC-99D2-45BA43F665E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7418948F-C32B-4E23-AD6D-7451FE13932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9579EA3C-8EEC-474C-B378-87DCAEEDEED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170DAD57-37FB-44B9-AB07-2453F6D0428D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2128C84B-197A-4C62-8A3B-2AD4F5CFE1C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DefLogoHvit" hidden="1">
            <a:extLst>
              <a:ext uri="{FF2B5EF4-FFF2-40B4-BE49-F238E27FC236}">
                <a16:creationId xmlns:a16="http://schemas.microsoft.com/office/drawing/2014/main" id="{640345A6-8FBC-47B0-B8DD-333C5CBE232A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8" name="logo_blaa" hidden="1">
            <a:extLst>
              <a:ext uri="{FF2B5EF4-FFF2-40B4-BE49-F238E27FC236}">
                <a16:creationId xmlns:a16="http://schemas.microsoft.com/office/drawing/2014/main" id="{F925CD9A-4ADE-4678-BE0E-8C1079543275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591" y="301037"/>
            <a:ext cx="1735008" cy="396000"/>
          </a:xfrm>
          <a:prstGeom prst="rect">
            <a:avLst/>
          </a:prstGeom>
        </p:spPr>
      </p:pic>
      <p:pic>
        <p:nvPicPr>
          <p:cNvPr id="10" name="logo_hvit" hidden="1">
            <a:extLst>
              <a:ext uri="{FF2B5EF4-FFF2-40B4-BE49-F238E27FC236}">
                <a16:creationId xmlns:a16="http://schemas.microsoft.com/office/drawing/2014/main" id="{404CFB55-B98E-425A-991F-BF5E4F8E0B36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592" y="301038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82612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002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A3DDD0D1-7607-4D30-B017-29557565B7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724148" y="0"/>
            <a:ext cx="9467852" cy="5341258"/>
          </a:xfrm>
          <a:custGeom>
            <a:avLst/>
            <a:gdLst>
              <a:gd name="connsiteX0" fmla="*/ 13212 w 9467852"/>
              <a:gd name="connsiteY0" fmla="*/ 0 h 5341258"/>
              <a:gd name="connsiteX1" fmla="*/ 9467852 w 9467852"/>
              <a:gd name="connsiteY1" fmla="*/ 0 h 5341258"/>
              <a:gd name="connsiteX2" fmla="*/ 9467852 w 9467852"/>
              <a:gd name="connsiteY2" fmla="*/ 2559831 h 5341258"/>
              <a:gd name="connsiteX3" fmla="*/ 9387475 w 9467852"/>
              <a:gd name="connsiteY3" fmla="*/ 2726709 h 5341258"/>
              <a:gd name="connsiteX4" fmla="*/ 4995184 w 9467852"/>
              <a:gd name="connsiteY4" fmla="*/ 5341258 h 5341258"/>
              <a:gd name="connsiteX5" fmla="*/ 0 w 9467852"/>
              <a:gd name="connsiteY5" fmla="*/ 345373 h 5341258"/>
              <a:gd name="connsiteX6" fmla="*/ 6500 w 9467852"/>
              <a:gd name="connsiteY6" fmla="*/ 88286 h 5341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7852" h="5341258">
                <a:moveTo>
                  <a:pt x="13212" y="0"/>
                </a:moveTo>
                <a:lnTo>
                  <a:pt x="9467852" y="0"/>
                </a:lnTo>
                <a:lnTo>
                  <a:pt x="9467852" y="2559831"/>
                </a:lnTo>
                <a:lnTo>
                  <a:pt x="9387475" y="2726709"/>
                </a:lnTo>
                <a:cubicBezTo>
                  <a:pt x="8541594" y="4284052"/>
                  <a:pt x="6891833" y="5341258"/>
                  <a:pt x="4995184" y="5341258"/>
                </a:cubicBezTo>
                <a:cubicBezTo>
                  <a:pt x="2236421" y="5341258"/>
                  <a:pt x="0" y="3104524"/>
                  <a:pt x="0" y="345373"/>
                </a:cubicBezTo>
                <a:cubicBezTo>
                  <a:pt x="0" y="259150"/>
                  <a:pt x="2184" y="173436"/>
                  <a:pt x="6500" y="88286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4826796" cy="5539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59F704-09FE-40D6-8B3A-C17C4994A6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354327" y="50800"/>
            <a:ext cx="6837674" cy="6807200"/>
          </a:xfrm>
          <a:custGeom>
            <a:avLst/>
            <a:gdLst>
              <a:gd name="connsiteX0" fmla="*/ 6805412 w 6837674"/>
              <a:gd name="connsiteY0" fmla="*/ 0 h 6807200"/>
              <a:gd name="connsiteX1" fmla="*/ 6837674 w 6837674"/>
              <a:gd name="connsiteY1" fmla="*/ 822 h 6807200"/>
              <a:gd name="connsiteX2" fmla="*/ 6837674 w 6837674"/>
              <a:gd name="connsiteY2" fmla="*/ 6807200 h 6807200"/>
              <a:gd name="connsiteX3" fmla="*/ 0 w 6837674"/>
              <a:gd name="connsiteY3" fmla="*/ 6807200 h 6807200"/>
              <a:gd name="connsiteX4" fmla="*/ 7582 w 6837674"/>
              <a:gd name="connsiteY4" fmla="*/ 6505088 h 6807200"/>
              <a:gd name="connsiteX5" fmla="*/ 6805412 w 6837674"/>
              <a:gd name="connsiteY5" fmla="*/ 0 h 680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37674" h="6807200">
                <a:moveTo>
                  <a:pt x="6805412" y="0"/>
                </a:moveTo>
                <a:lnTo>
                  <a:pt x="6837674" y="822"/>
                </a:lnTo>
                <a:lnTo>
                  <a:pt x="6837674" y="6807200"/>
                </a:lnTo>
                <a:lnTo>
                  <a:pt x="0" y="6807200"/>
                </a:lnTo>
                <a:lnTo>
                  <a:pt x="7582" y="6505088"/>
                </a:lnTo>
                <a:cubicBezTo>
                  <a:pt x="189887" y="2881528"/>
                  <a:pt x="3163658" y="0"/>
                  <a:pt x="680541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6821C79A-09F0-415C-ABA8-F68C1FBFB8B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68399" y="2474118"/>
            <a:ext cx="2082800" cy="2398823"/>
          </a:xfrm>
        </p:spPr>
        <p:txBody>
          <a:bodyPr/>
          <a:lstStyle>
            <a:lvl1pPr marL="0" indent="0">
              <a:spcBef>
                <a:spcPts val="110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9" name="Text Placeholder 37">
            <a:extLst>
              <a:ext uri="{FF2B5EF4-FFF2-40B4-BE49-F238E27FC236}">
                <a16:creationId xmlns:a16="http://schemas.microsoft.com/office/drawing/2014/main" id="{9E87C030-834C-4DD1-ACF4-9E176AA7FB4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9635" y="2474118"/>
            <a:ext cx="308763" cy="2398823"/>
          </a:xfrm>
        </p:spPr>
        <p:txBody>
          <a:bodyPr/>
          <a:lstStyle>
            <a:lvl1pPr marL="0" indent="0">
              <a:spcBef>
                <a:spcPts val="1100"/>
              </a:spcBef>
              <a:buNone/>
              <a:defRPr sz="18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1A815E2-8392-4901-B494-FC72347B461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D4BFF5A0-D5F1-466F-8F8F-752A0CF7B9F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72703FF8-08E6-435B-BC69-B46322B3C88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86BCDAB5-94E1-4029-873A-6AAA0DF90FA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C420A2D1-A6FA-4817-8190-221B5B1AC7F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939DA551-001F-4769-BA32-95ED85E0D89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DA1777B3-13AE-4111-8C56-F4E837BF47B8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DefLogoHvit" hidden="1">
            <a:extLst>
              <a:ext uri="{FF2B5EF4-FFF2-40B4-BE49-F238E27FC236}">
                <a16:creationId xmlns:a16="http://schemas.microsoft.com/office/drawing/2014/main" id="{F74E35BB-3239-4B07-AEB8-6D0E5BDC1290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45222801-A3EF-4C0B-907B-A0557CEB106C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56DB59A1-ECBE-49C2-AC58-0C62E9019519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73124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Bullets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59F704-09FE-40D6-8B3A-C17C4994A6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5999" y="0"/>
            <a:ext cx="6096001" cy="6858000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4826796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FF05E5-4985-4C05-9562-7EDA2EA06FC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9635" y="2474119"/>
            <a:ext cx="4283866" cy="2398823"/>
          </a:xfrm>
          <a:prstGeom prst="rect">
            <a:avLst/>
          </a:prstGeom>
        </p:spPr>
        <p:txBody>
          <a:bodyPr lIns="0" tIns="0" rIns="0" bIns="0"/>
          <a:lstStyle>
            <a:lvl1pPr marL="2880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1pPr>
            <a:lvl2pPr marL="7452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3pPr>
            <a:lvl4pPr marL="16380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4pPr>
            <a:lvl5pPr marL="20880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3D9509D-1F87-4CAD-BC94-A4964D7947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74D0B008-DE7E-47CB-875B-CF47AB39A06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1BD67AD2-2095-475B-A5AD-628752A6DD2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7E11CD56-B9C0-419B-8A36-BB48536752F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C0093EA9-B48E-408D-BF34-563BEACBA4D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C32B9E1F-DA12-4F53-805F-DC377D7702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D6980C80-9C4B-40C0-9EBB-CAF66C85577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18C0116C-C2F0-4272-B65F-C60714918693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DefLogoHvit" hidden="1">
            <a:extLst>
              <a:ext uri="{FF2B5EF4-FFF2-40B4-BE49-F238E27FC236}">
                <a16:creationId xmlns:a16="http://schemas.microsoft.com/office/drawing/2014/main" id="{B7BC6600-B857-4DD2-B7C9-0E004A6DAE2C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B8430256-887D-49A7-B82E-A5800BA12686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A16BD7A6-BCEA-44F8-890E-75AEB9250F9B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61420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 med bilde (Høyre, sirkel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CDE15B9-BBD7-42A7-B667-4AABA43933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6118" y="0"/>
            <a:ext cx="6908798" cy="3589020"/>
          </a:xfrm>
          <a:custGeom>
            <a:avLst/>
            <a:gdLst>
              <a:gd name="connsiteX0" fmla="*/ 53674 w 6908798"/>
              <a:gd name="connsiteY0" fmla="*/ 0 h 3589020"/>
              <a:gd name="connsiteX1" fmla="*/ 6855124 w 6908798"/>
              <a:gd name="connsiteY1" fmla="*/ 0 h 3589020"/>
              <a:gd name="connsiteX2" fmla="*/ 6890963 w 6908798"/>
              <a:gd name="connsiteY2" fmla="*/ 208491 h 3589020"/>
              <a:gd name="connsiteX3" fmla="*/ 6908798 w 6908798"/>
              <a:gd name="connsiteY3" fmla="*/ 522069 h 3589020"/>
              <a:gd name="connsiteX4" fmla="*/ 3454399 w 6908798"/>
              <a:gd name="connsiteY4" fmla="*/ 3589020 h 3589020"/>
              <a:gd name="connsiteX5" fmla="*/ 0 w 6908798"/>
              <a:gd name="connsiteY5" fmla="*/ 522069 h 3589020"/>
              <a:gd name="connsiteX6" fmla="*/ 17835 w 6908798"/>
              <a:gd name="connsiteY6" fmla="*/ 208491 h 358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08798" h="3589020">
                <a:moveTo>
                  <a:pt x="53674" y="0"/>
                </a:moveTo>
                <a:lnTo>
                  <a:pt x="6855124" y="0"/>
                </a:lnTo>
                <a:lnTo>
                  <a:pt x="6890963" y="208491"/>
                </a:lnTo>
                <a:cubicBezTo>
                  <a:pt x="6902757" y="311593"/>
                  <a:pt x="6908798" y="416205"/>
                  <a:pt x="6908798" y="522069"/>
                </a:cubicBezTo>
                <a:cubicBezTo>
                  <a:pt x="6908798" y="2215899"/>
                  <a:pt x="5362211" y="3589020"/>
                  <a:pt x="3454399" y="3589020"/>
                </a:cubicBezTo>
                <a:cubicBezTo>
                  <a:pt x="1546587" y="3589020"/>
                  <a:pt x="0" y="2215899"/>
                  <a:pt x="0" y="522069"/>
                </a:cubicBezTo>
                <a:cubicBezTo>
                  <a:pt x="0" y="416205"/>
                  <a:pt x="6042" y="311593"/>
                  <a:pt x="17835" y="208491"/>
                </a:cubicBezTo>
                <a:close/>
              </a:path>
            </a:pathLst>
          </a:custGeom>
          <a:solidFill>
            <a:srgbClr val="F3DED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5C2C1ED-04B4-4BB0-995F-FBE0210316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89258" y="1"/>
            <a:ext cx="6502743" cy="5821831"/>
          </a:xfrm>
          <a:custGeom>
            <a:avLst/>
            <a:gdLst>
              <a:gd name="connsiteX0" fmla="*/ 641777 w 6502743"/>
              <a:gd name="connsiteY0" fmla="*/ 0 h 5821831"/>
              <a:gd name="connsiteX1" fmla="*/ 6502743 w 6502743"/>
              <a:gd name="connsiteY1" fmla="*/ 0 h 5821831"/>
              <a:gd name="connsiteX2" fmla="*/ 6502743 w 6502743"/>
              <a:gd name="connsiteY2" fmla="*/ 4581393 h 5821831"/>
              <a:gd name="connsiteX3" fmla="*/ 6368283 w 6502743"/>
              <a:gd name="connsiteY3" fmla="*/ 4729320 h 5821831"/>
              <a:gd name="connsiteX4" fmla="*/ 3730454 w 6502743"/>
              <a:gd name="connsiteY4" fmla="*/ 5821831 h 5821831"/>
              <a:gd name="connsiteX5" fmla="*/ 0 w 6502743"/>
              <a:gd name="connsiteY5" fmla="*/ 2091765 h 5821831"/>
              <a:gd name="connsiteX6" fmla="*/ 637103 w 6502743"/>
              <a:gd name="connsiteY6" fmla="*/ 6249 h 5821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02743" h="5821831">
                <a:moveTo>
                  <a:pt x="641777" y="0"/>
                </a:moveTo>
                <a:lnTo>
                  <a:pt x="6502743" y="0"/>
                </a:lnTo>
                <a:lnTo>
                  <a:pt x="6502743" y="4581393"/>
                </a:lnTo>
                <a:lnTo>
                  <a:pt x="6368283" y="4729320"/>
                </a:lnTo>
                <a:cubicBezTo>
                  <a:pt x="5693204" y="5404330"/>
                  <a:pt x="4760591" y="5821831"/>
                  <a:pt x="3730454" y="5821831"/>
                </a:cubicBezTo>
                <a:cubicBezTo>
                  <a:pt x="1670181" y="5821831"/>
                  <a:pt x="0" y="4151824"/>
                  <a:pt x="0" y="2091765"/>
                </a:cubicBezTo>
                <a:cubicBezTo>
                  <a:pt x="0" y="1319243"/>
                  <a:pt x="234870" y="601572"/>
                  <a:pt x="637103" y="6249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4952257"/>
            <a:ext cx="5912646" cy="969496"/>
          </a:xfrm>
        </p:spPr>
        <p:txBody>
          <a:bodyPr anchor="b">
            <a:noAutofit/>
          </a:bodyPr>
          <a:lstStyle>
            <a:lvl1pPr>
              <a:defRPr sz="7000">
                <a:solidFill>
                  <a:schemeClr val="accent2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kapittel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0EE1215-8BFC-4402-8AF8-777B7C8D6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6704" y="5976769"/>
            <a:ext cx="5912646" cy="432054"/>
          </a:xfrm>
        </p:spPr>
        <p:txBody>
          <a:bodyPr lIns="86400"/>
          <a:lstStyle>
            <a:lvl1pPr marL="0" indent="0" algn="l">
              <a:buNone/>
              <a:defRPr sz="1600">
                <a:solidFill>
                  <a:schemeClr val="accent2"/>
                </a:solidFill>
                <a:latin typeface="SpareBank 1 Light" panose="020B0500030000000000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E54C31-34D8-42E9-8DA6-17AEAE2973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6704" y="303620"/>
            <a:ext cx="1720380" cy="92333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accent2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7CC54D-2DC9-48B2-9120-D93F728550C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3B2FE8A8-D76E-449B-9226-24FC2258849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3E1D7BB8-B7E0-4C40-B081-6B8B4100FF7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61618193-91F3-4633-AF08-71C2D692B01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C1EA0EA8-9984-4892-BBD2-610B78FD97C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67C023F-45C9-4C10-A2C9-E1C6D66C3B1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76DF5DEA-4A8C-4684-BC3D-9C6A3A811E30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BA3F25F2-9508-42A0-840B-E7E985081894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EE249C93-BF6B-4374-B16B-922DDDF44A65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5C9B26B9-C8A8-4F65-9111-5EA5441E1CC4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57167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 med bilde (Høyre nede, sirkel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D22E757-EFE7-4496-8FCA-C88C207173B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5310" y="0"/>
            <a:ext cx="5885376" cy="4521285"/>
          </a:xfrm>
          <a:custGeom>
            <a:avLst/>
            <a:gdLst>
              <a:gd name="connsiteX0" fmla="*/ 461865 w 5885376"/>
              <a:gd name="connsiteY0" fmla="*/ 0 h 4521285"/>
              <a:gd name="connsiteX1" fmla="*/ 5423511 w 5885376"/>
              <a:gd name="connsiteY1" fmla="*/ 0 h 4521285"/>
              <a:gd name="connsiteX2" fmla="*/ 5530209 w 5885376"/>
              <a:gd name="connsiteY2" fmla="*/ 175643 h 4521285"/>
              <a:gd name="connsiteX3" fmla="*/ 5885376 w 5885376"/>
              <a:gd name="connsiteY3" fmla="*/ 1578398 h 4521285"/>
              <a:gd name="connsiteX4" fmla="*/ 2942688 w 5885376"/>
              <a:gd name="connsiteY4" fmla="*/ 4521285 h 4521285"/>
              <a:gd name="connsiteX5" fmla="*/ 0 w 5885376"/>
              <a:gd name="connsiteY5" fmla="*/ 1578398 h 4521285"/>
              <a:gd name="connsiteX6" fmla="*/ 355167 w 5885376"/>
              <a:gd name="connsiteY6" fmla="*/ 175643 h 4521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85376" h="4521285">
                <a:moveTo>
                  <a:pt x="461865" y="0"/>
                </a:moveTo>
                <a:lnTo>
                  <a:pt x="5423511" y="0"/>
                </a:lnTo>
                <a:lnTo>
                  <a:pt x="5530209" y="175643"/>
                </a:lnTo>
                <a:cubicBezTo>
                  <a:pt x="5756715" y="592630"/>
                  <a:pt x="5885376" y="1070488"/>
                  <a:pt x="5885376" y="1578398"/>
                </a:cubicBezTo>
                <a:cubicBezTo>
                  <a:pt x="5885376" y="3203710"/>
                  <a:pt x="4567890" y="4521285"/>
                  <a:pt x="2942688" y="4521285"/>
                </a:cubicBezTo>
                <a:cubicBezTo>
                  <a:pt x="1317486" y="4521285"/>
                  <a:pt x="0" y="3203710"/>
                  <a:pt x="0" y="1578398"/>
                </a:cubicBezTo>
                <a:cubicBezTo>
                  <a:pt x="0" y="1070488"/>
                  <a:pt x="128661" y="592630"/>
                  <a:pt x="355167" y="175643"/>
                </a:cubicBezTo>
                <a:close/>
              </a:path>
            </a:pathLst>
          </a:custGeom>
          <a:solidFill>
            <a:srgbClr val="D9D8E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F73AC3B-A4A9-4926-98E2-D54C056F90E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34350" y="1270489"/>
            <a:ext cx="6757650" cy="5587512"/>
          </a:xfrm>
          <a:custGeom>
            <a:avLst/>
            <a:gdLst>
              <a:gd name="connsiteX0" fmla="*/ 3737429 w 6757650"/>
              <a:gd name="connsiteY0" fmla="*/ 0 h 5587512"/>
              <a:gd name="connsiteX1" fmla="*/ 6621411 w 6757650"/>
              <a:gd name="connsiteY1" fmla="*/ 1360397 h 5587512"/>
              <a:gd name="connsiteX2" fmla="*/ 6757650 w 6757650"/>
              <a:gd name="connsiteY2" fmla="*/ 1542630 h 5587512"/>
              <a:gd name="connsiteX3" fmla="*/ 6757650 w 6757650"/>
              <a:gd name="connsiteY3" fmla="*/ 5587512 h 5587512"/>
              <a:gd name="connsiteX4" fmla="*/ 491968 w 6757650"/>
              <a:gd name="connsiteY4" fmla="*/ 5587512 h 5587512"/>
              <a:gd name="connsiteX5" fmla="*/ 451088 w 6757650"/>
              <a:gd name="connsiteY5" fmla="*/ 5520206 h 5587512"/>
              <a:gd name="connsiteX6" fmla="*/ 0 w 6757650"/>
              <a:gd name="connsiteY6" fmla="*/ 3738307 h 5587512"/>
              <a:gd name="connsiteX7" fmla="*/ 3737429 w 6757650"/>
              <a:gd name="connsiteY7" fmla="*/ 0 h 5587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57650" h="5587512">
                <a:moveTo>
                  <a:pt x="3737429" y="0"/>
                </a:moveTo>
                <a:cubicBezTo>
                  <a:pt x="4898499" y="0"/>
                  <a:pt x="5935911" y="529568"/>
                  <a:pt x="6621411" y="1360397"/>
                </a:cubicBezTo>
                <a:lnTo>
                  <a:pt x="6757650" y="1542630"/>
                </a:lnTo>
                <a:lnTo>
                  <a:pt x="6757650" y="5587512"/>
                </a:lnTo>
                <a:lnTo>
                  <a:pt x="491968" y="5587512"/>
                </a:lnTo>
                <a:lnTo>
                  <a:pt x="451088" y="5520206"/>
                </a:lnTo>
                <a:cubicBezTo>
                  <a:pt x="163409" y="4990513"/>
                  <a:pt x="0" y="4383498"/>
                  <a:pt x="0" y="3738307"/>
                </a:cubicBezTo>
                <a:cubicBezTo>
                  <a:pt x="0" y="1673697"/>
                  <a:pt x="1673304" y="0"/>
                  <a:pt x="373742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E54C31-34D8-42E9-8DA6-17AEAE2973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6704" y="303620"/>
            <a:ext cx="1721015" cy="92333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accent2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1367221"/>
            <a:ext cx="5614196" cy="969496"/>
          </a:xfrm>
        </p:spPr>
        <p:txBody>
          <a:bodyPr anchor="ctr">
            <a:noAutofit/>
          </a:bodyPr>
          <a:lstStyle>
            <a:lvl1pPr>
              <a:defRPr sz="7000">
                <a:solidFill>
                  <a:schemeClr val="accent2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kapittel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0EE1215-8BFC-4402-8AF8-777B7C8D6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6704" y="2556833"/>
            <a:ext cx="5614196" cy="432054"/>
          </a:xfrm>
        </p:spPr>
        <p:txBody>
          <a:bodyPr lIns="86400"/>
          <a:lstStyle>
            <a:lvl1pPr marL="0" indent="0" algn="l">
              <a:buNone/>
              <a:defRPr sz="1600">
                <a:solidFill>
                  <a:schemeClr val="accent2"/>
                </a:solidFill>
                <a:latin typeface="SpareBank 1 Light" panose="020B0500030000000000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D3E1BA9-A908-4A48-A0A6-59B33BE169B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A1CC3DA1-6E86-4C3A-B22E-95896C5B284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AF58B9B1-B8B4-4686-95DA-24EC9795FA3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2F8CF7-A768-4FDA-B0E0-9D9BFBF0536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8EC9EC8E-BBE1-4C9B-B12F-C37E3754342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1D75CE87-EA9B-47E7-853C-FAC43232B17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F213F449-5667-488C-B67F-599AB7F3199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5" name="addin_image" hidden="1">
            <a:extLst>
              <a:ext uri="{FF2B5EF4-FFF2-40B4-BE49-F238E27FC236}">
                <a16:creationId xmlns:a16="http://schemas.microsoft.com/office/drawing/2014/main" id="{92472BBB-FF87-41B4-95E1-040D828D78AC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383661C9-2C66-475B-9879-DC97191EF57C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592BB8D9-3E9A-4A0B-A916-994D294EA77C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35034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 med bilde (Bak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59BB2EB-AC30-458C-8A51-78396746304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C295C1-C2D0-4B81-AFB0-17F1A5F19B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4394140" y="3746500"/>
            <a:ext cx="7797860" cy="3111500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E54C31-34D8-42E9-8DA6-17AEAE2973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6704" y="129452"/>
            <a:ext cx="4077436" cy="2308324"/>
          </a:xfrm>
        </p:spPr>
        <p:txBody>
          <a:bodyPr>
            <a:noAutofit/>
          </a:bodyPr>
          <a:lstStyle>
            <a:lvl1pPr marL="0" indent="0">
              <a:buNone/>
              <a:defRPr sz="15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5900" y="4231704"/>
            <a:ext cx="6681674" cy="96852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5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kapittel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0EE1215-8BFC-4402-8AF8-777B7C8D6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95900" y="5385925"/>
            <a:ext cx="6681674" cy="432054"/>
          </a:xfrm>
        </p:spPr>
        <p:txBody>
          <a:bodyPr lIns="86400"/>
          <a:lstStyle>
            <a:lvl1pPr marL="0" indent="0" algn="l">
              <a:buNone/>
              <a:defRPr sz="1600">
                <a:solidFill>
                  <a:schemeClr val="bg1"/>
                </a:solidFill>
                <a:latin typeface="SpareBank 1 Light" panose="020B0500030000000000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D686DF5-6783-49D1-A41E-12D23A566AC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59C43119-D1A7-415A-9B56-BB4C24B48D44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B3653F2D-47AC-43E1-A4F9-A6890FE46B6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B6546765-0756-4B17-9E12-187EA7A828E9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184A1887-91A2-4FF0-90C1-337F68E109C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F5BC4CF7-4561-4A71-AF04-561C00C4AD4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7863F087-9D6E-4220-8839-5C80E284A31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84A80EA-372E-4020-AAFF-EA2E11888C88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DE3EFA86-4F0D-4D8F-A8A2-EC95FFEC0C4F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966A59AF-76CB-45C6-8F2A-0893437C498A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F529BA78-D1F5-4919-AD01-545BC2FBECA2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0451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tekst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7958934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89050" y="1695768"/>
            <a:ext cx="6986588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E6BAA0E-1B86-4920-A1B2-C297FAE1CDE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22FBF37D-5623-4C94-95F7-6B688EA5553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D34625E-682F-408E-9E14-44E86352C209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C088646E-0C10-49D0-94E8-3DB163FA2C4C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3FAED136-CB72-41E9-B69D-5D4265BCF28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030D9758-64E0-4C2C-B06A-CF33C984FB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1E9C160B-0092-42DA-9F24-0CD3E8D3FC8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AF8B621-0985-46F8-805B-7FF310B154A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89051" y="2216151"/>
            <a:ext cx="6986849" cy="333374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CA95C51A-6727-CDB3-3387-7D05587A97E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2" name="logo_hvit" hidden="1">
            <a:extLst>
              <a:ext uri="{FF2B5EF4-FFF2-40B4-BE49-F238E27FC236}">
                <a16:creationId xmlns:a16="http://schemas.microsoft.com/office/drawing/2014/main" id="{9F29BF6B-4921-D11D-3C33-DEEA1290E437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41633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tekst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7958934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89050" y="1695768"/>
            <a:ext cx="6986588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E6BAA0E-1B86-4920-A1B2-C297FAE1CDE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22FBF37D-5623-4C94-95F7-6B688EA5553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D34625E-682F-408E-9E14-44E86352C209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C088646E-0C10-49D0-94E8-3DB163FA2C4C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3FAED136-CB72-41E9-B69D-5D4265BCF28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030D9758-64E0-4C2C-B06A-CF33C984FB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1E9C160B-0092-42DA-9F24-0CD3E8D3FC8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AF8B621-0985-46F8-805B-7FF310B154A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89051" y="2216151"/>
            <a:ext cx="6986849" cy="333374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5" name="logo_blaa" hidden="1">
            <a:extLst>
              <a:ext uri="{FF2B5EF4-FFF2-40B4-BE49-F238E27FC236}">
                <a16:creationId xmlns:a16="http://schemas.microsoft.com/office/drawing/2014/main" id="{DC138CE8-79D6-441C-849E-80BC433307BB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7" name="logo_hvit" hidden="1">
            <a:extLst>
              <a:ext uri="{FF2B5EF4-FFF2-40B4-BE49-F238E27FC236}">
                <a16:creationId xmlns:a16="http://schemas.microsoft.com/office/drawing/2014/main" id="{26BDF151-34FD-4FC7-899F-BEA8015E22EF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17765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tekst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03984" y="1695768"/>
            <a:ext cx="8237830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0D86FDA6-32A9-4186-AFB3-2EB461FDB82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0918BD1B-00D5-42DF-8027-0E271560CF36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0184F0D-42BD-4F7D-A667-285A14FFD8D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0FE005F2-94D0-48ED-8E0B-9E95AB0F7A8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DABB563F-C536-4E6B-8FAB-1661085EA02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4942B9FD-E5B3-491C-8BD8-EF75F4DDADF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53812EEB-671E-4246-B775-9DDF0E16485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7FE5726C-38E7-483F-A737-043513F3D34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3983" y="2216149"/>
            <a:ext cx="8237830" cy="381542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B8C91D8E-1418-4C4A-B568-87F89624D3C5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CFDB7A6A-7068-4978-8D5B-9719241172BF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26575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tekst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88256" y="1695768"/>
            <a:ext cx="10553558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F8C82DF-AABB-4910-AAF7-401C50AD3C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607BA65C-409C-495A-A826-A9EC045259F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935AD07-038A-4101-8144-4B09CAED498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D357C967-5FB7-49AB-920C-1F53E57063A1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80019DA8-1266-4502-94C3-01CC09A2BD1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AA14CF9A-9970-43D9-92B0-5A729151571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E05A82BB-796B-4BD1-B6FA-858F3648C4E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1F1C9804-CF58-42D2-9F31-B4AF21DCFDA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88255" y="2216149"/>
            <a:ext cx="10553558" cy="381542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C0A286F7-69C9-4CA0-8B9F-EC696457B14C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5649D692-A18C-497E-BDB6-25C976048D25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19053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0D86FDA6-32A9-4186-AFB3-2EB461FDB82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0918BD1B-00D5-42DF-8027-0E271560CF36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0184F0D-42BD-4F7D-A667-285A14FFD8D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0FE005F2-94D0-48ED-8E0B-9E95AB0F7A8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DABB563F-C536-4E6B-8FAB-1661085EA02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4942B9FD-E5B3-491C-8BD8-EF75F4DDADF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53812EEB-671E-4246-B775-9DDF0E16485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4DFAB5E3-9CBE-4BC7-B63B-591246D541D2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16840" y="1695769"/>
            <a:ext cx="8237830" cy="4335803"/>
          </a:xfrm>
          <a:prstGeom prst="rect">
            <a:avLst/>
          </a:prstGeom>
        </p:spPr>
        <p:txBody>
          <a:bodyPr lIns="0" tIns="0" rIns="0" bIns="0"/>
          <a:lstStyle>
            <a:lvl1pPr marL="2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 i="0" u="none" cap="none">
                <a:solidFill>
                  <a:srgbClr val="00207D"/>
                </a:solidFill>
                <a:latin typeface="+mn-lt"/>
              </a:defRPr>
            </a:lvl1pPr>
            <a:lvl2pPr marL="7452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207D"/>
                </a:solidFill>
                <a:latin typeface="+mn-lt"/>
              </a:defRPr>
            </a:lvl2pPr>
            <a:lvl3pPr marL="114300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100" b="0" i="0" u="none" cap="none">
                <a:solidFill>
                  <a:srgbClr val="00207D"/>
                </a:solidFill>
                <a:latin typeface="+mn-lt"/>
              </a:defRPr>
            </a:lvl3pPr>
            <a:lvl4pPr marL="163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000" b="0" i="0" u="none" cap="none">
                <a:solidFill>
                  <a:srgbClr val="00207D"/>
                </a:solidFill>
                <a:latin typeface="+mn-lt"/>
              </a:defRPr>
            </a:lvl4pPr>
            <a:lvl5pPr marL="20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900" b="0" i="0" u="none" cap="none">
                <a:solidFill>
                  <a:srgbClr val="00207D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pic>
        <p:nvPicPr>
          <p:cNvPr id="4" name="logo_blaa" hidden="1">
            <a:extLst>
              <a:ext uri="{FF2B5EF4-FFF2-40B4-BE49-F238E27FC236}">
                <a16:creationId xmlns:a16="http://schemas.microsoft.com/office/drawing/2014/main" id="{831A67B7-1086-448E-8BE3-4D3CAF1D3B54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7513BAF0-EE96-48EE-837B-FF2EBE603D7C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28962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stor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F8C82DF-AABB-4910-AAF7-401C50AD3C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607BA65C-409C-495A-A826-A9EC045259F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935AD07-038A-4101-8144-4B09CAED498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D357C967-5FB7-49AB-920C-1F53E57063A1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80019DA8-1266-4502-94C3-01CC09A2BD1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AA14CF9A-9970-43D9-92B0-5A729151571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E05A82BB-796B-4BD1-B6FA-858F3648C4E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FC4AA29A-0515-470D-9A65-B35D1360972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16840" y="1695769"/>
            <a:ext cx="10553558" cy="4335803"/>
          </a:xfrm>
          <a:prstGeom prst="rect">
            <a:avLst/>
          </a:prstGeom>
        </p:spPr>
        <p:txBody>
          <a:bodyPr lIns="0" tIns="0" rIns="0" bIns="0"/>
          <a:lstStyle>
            <a:lvl1pPr marL="2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 i="0" u="none" cap="none">
                <a:solidFill>
                  <a:srgbClr val="00207D"/>
                </a:solidFill>
                <a:latin typeface="+mn-lt"/>
              </a:defRPr>
            </a:lvl1pPr>
            <a:lvl2pPr marL="7452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207D"/>
                </a:solidFill>
                <a:latin typeface="+mn-lt"/>
              </a:defRPr>
            </a:lvl2pPr>
            <a:lvl3pPr marL="114300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100" b="0" i="0" u="none" cap="none">
                <a:solidFill>
                  <a:srgbClr val="00207D"/>
                </a:solidFill>
                <a:latin typeface="+mn-lt"/>
              </a:defRPr>
            </a:lvl3pPr>
            <a:lvl4pPr marL="163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000" b="0" i="0" u="none" cap="none">
                <a:solidFill>
                  <a:srgbClr val="00207D"/>
                </a:solidFill>
                <a:latin typeface="+mn-lt"/>
              </a:defRPr>
            </a:lvl4pPr>
            <a:lvl5pPr marL="20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900" b="0" i="0" u="none" cap="none">
                <a:solidFill>
                  <a:srgbClr val="00207D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pic>
        <p:nvPicPr>
          <p:cNvPr id="4" name="logo_blaa" hidden="1">
            <a:extLst>
              <a:ext uri="{FF2B5EF4-FFF2-40B4-BE49-F238E27FC236}">
                <a16:creationId xmlns:a16="http://schemas.microsoft.com/office/drawing/2014/main" id="{7BFD6647-B7B1-4CF5-8CAA-7238C1752041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EB53396A-3648-40BB-BAAD-7E0C1B2438B7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54127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F8C82DF-AABB-4910-AAF7-401C50AD3C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607BA65C-409C-495A-A826-A9EC045259F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935AD07-038A-4101-8144-4B09CAED498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D357C967-5FB7-49AB-920C-1F53E57063A1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80019DA8-1266-4502-94C3-01CC09A2BD1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AA14CF9A-9970-43D9-92B0-5A729151571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E05A82BB-796B-4BD1-B6FA-858F3648C4E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FC4AA29A-0515-470D-9A65-B35D1360972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16842" y="1695769"/>
            <a:ext cx="5148643" cy="4335803"/>
          </a:xfrm>
          <a:prstGeom prst="rect">
            <a:avLst/>
          </a:prstGeom>
        </p:spPr>
        <p:txBody>
          <a:bodyPr lIns="0" tIns="0" rIns="0" bIns="0"/>
          <a:lstStyle>
            <a:lvl1pPr marL="2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 i="0" u="none" cap="none">
                <a:solidFill>
                  <a:srgbClr val="00207D"/>
                </a:solidFill>
                <a:latin typeface="+mn-lt"/>
              </a:defRPr>
            </a:lvl1pPr>
            <a:lvl2pPr marL="7452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207D"/>
                </a:solidFill>
                <a:latin typeface="+mn-lt"/>
              </a:defRPr>
            </a:lvl2pPr>
            <a:lvl3pPr marL="114300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100" b="0" i="0" u="none" cap="none">
                <a:solidFill>
                  <a:srgbClr val="00207D"/>
                </a:solidFill>
                <a:latin typeface="+mn-lt"/>
              </a:defRPr>
            </a:lvl3pPr>
            <a:lvl4pPr marL="163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000" b="0" i="0" u="none" cap="none">
                <a:solidFill>
                  <a:srgbClr val="00207D"/>
                </a:solidFill>
                <a:latin typeface="+mn-lt"/>
              </a:defRPr>
            </a:lvl4pPr>
            <a:lvl5pPr marL="20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900" b="0" i="0" u="none" cap="none">
                <a:solidFill>
                  <a:srgbClr val="00207D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0" name="Plassholder for innhold 1">
            <a:extLst>
              <a:ext uri="{FF2B5EF4-FFF2-40B4-BE49-F238E27FC236}">
                <a16:creationId xmlns:a16="http://schemas.microsoft.com/office/drawing/2014/main" id="{D75067CC-B9B0-4E2C-A856-0B89673E34E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5721755" y="1695768"/>
            <a:ext cx="5148643" cy="4335803"/>
          </a:xfrm>
          <a:prstGeom prst="rect">
            <a:avLst/>
          </a:prstGeom>
        </p:spPr>
        <p:txBody>
          <a:bodyPr lIns="0" tIns="0" rIns="0" bIns="0"/>
          <a:lstStyle>
            <a:lvl1pPr marL="2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 i="0" u="none" cap="none">
                <a:solidFill>
                  <a:srgbClr val="00207D"/>
                </a:solidFill>
                <a:latin typeface="+mn-lt"/>
              </a:defRPr>
            </a:lvl1pPr>
            <a:lvl2pPr marL="7452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207D"/>
                </a:solidFill>
                <a:latin typeface="+mn-lt"/>
              </a:defRPr>
            </a:lvl2pPr>
            <a:lvl3pPr marL="114300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100" b="0" i="0" u="none" cap="none">
                <a:solidFill>
                  <a:srgbClr val="00207D"/>
                </a:solidFill>
                <a:latin typeface="+mn-lt"/>
              </a:defRPr>
            </a:lvl3pPr>
            <a:lvl4pPr marL="163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000" b="0" i="0" u="none" cap="none">
                <a:solidFill>
                  <a:srgbClr val="00207D"/>
                </a:solidFill>
                <a:latin typeface="+mn-lt"/>
              </a:defRPr>
            </a:lvl4pPr>
            <a:lvl5pPr marL="20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900" b="0" i="0" u="none" cap="none">
                <a:solidFill>
                  <a:srgbClr val="00207D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pic>
        <p:nvPicPr>
          <p:cNvPr id="4" name="logo_blaa" hidden="1">
            <a:extLst>
              <a:ext uri="{FF2B5EF4-FFF2-40B4-BE49-F238E27FC236}">
                <a16:creationId xmlns:a16="http://schemas.microsoft.com/office/drawing/2014/main" id="{BC2832A7-0C98-45CC-9D31-C52277112859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524C03FC-BE08-4D3B-BD72-7317638F3073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0115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CF321DF-3A33-4CC1-B5B4-4FEC55D27EC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1306508"/>
            <a:ext cx="5588796" cy="553998"/>
          </a:xfrm>
        </p:spPr>
        <p:txBody>
          <a:bodyPr anchor="b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08CD17-0B38-4678-850D-681E5D48C3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466340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1985966"/>
            <a:ext cx="5589587" cy="341313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392F2E7-3B07-419D-B3BD-4D2B0A9B9A2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5912" y="233096"/>
            <a:ext cx="5589587" cy="341313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</a:lstStyle>
          <a:p>
            <a:pPr lvl="0"/>
            <a:r>
              <a:rPr lang="en-US" dirty="0" err="1"/>
              <a:t>Deskriptor</a:t>
            </a:r>
            <a:r>
              <a:rPr lang="en-US" dirty="0"/>
              <a:t> for </a:t>
            </a:r>
            <a:r>
              <a:rPr lang="en-US" dirty="0" err="1"/>
              <a:t>bilde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98628ED4-BEC0-4634-8E8D-6E8B1F0192A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A078E940-72D0-42A4-93F1-0ED159E95F5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D37F48B1-7ACE-4F4E-8A31-8FF315C54D1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5B8F4AEB-14D2-4216-AC0E-A75496A332B0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AC1F6EC1-046D-4D1B-ACDF-11EC0B74914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F98C4818-990B-4A03-A765-145459C6F9E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1DF3A714-D07A-4DCB-BE64-85ABAC3DA10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EA4FB2CF-9FF1-4850-8037-423724FE76A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577E44D0-6E18-4464-AA46-505BD8E43B3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3932BAD-EFF5-412E-A960-7D42348E32DD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827B480F-028C-41E9-8757-58BEC4D16BC8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15" name="logo_hvit" hidden="1">
            <a:extLst>
              <a:ext uri="{FF2B5EF4-FFF2-40B4-BE49-F238E27FC236}">
                <a16:creationId xmlns:a16="http://schemas.microsoft.com/office/drawing/2014/main" id="{F61D7765-9EAF-47A6-A35D-EF5676B58DA8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36424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)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6392DCB-D9F5-45C4-91D7-0EC3B95F3B0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999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5588796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5589587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B83287C-1B6D-42A7-B810-707CF60965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D52C60E8-6184-4E09-BFB9-914124AA58AF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4F4C1600-3FC9-4DE3-AE62-F70A46786D9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4F33EF02-B40B-40D4-BCF1-E6DD8A71FA09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3FDBBF1B-E505-4C56-B7B9-E7A60C1AB33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1A57301C-BDC3-4E80-B43E-AD9F9CA9505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D171F4EA-811C-4530-8202-F7F86CC5E3C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BED07210-E86B-4E5E-B346-60D1CAFCC62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4" name="DefLogoHvit" hidden="1">
            <a:extLst>
              <a:ext uri="{FF2B5EF4-FFF2-40B4-BE49-F238E27FC236}">
                <a16:creationId xmlns:a16="http://schemas.microsoft.com/office/drawing/2014/main" id="{BC632F05-D42F-449E-9874-9E9ECBD0D897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15EF44-DFF9-4153-9226-166E215234CD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8" name="logo_blaa" hidden="1">
            <a:extLst>
              <a:ext uri="{FF2B5EF4-FFF2-40B4-BE49-F238E27FC236}">
                <a16:creationId xmlns:a16="http://schemas.microsoft.com/office/drawing/2014/main" id="{89C234B5-23C9-40CA-B54C-0836C3F85AEA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12" name="logo_hvit" hidden="1">
            <a:extLst>
              <a:ext uri="{FF2B5EF4-FFF2-40B4-BE49-F238E27FC236}">
                <a16:creationId xmlns:a16="http://schemas.microsoft.com/office/drawing/2014/main" id="{B1EFF8CA-7851-4242-B7B0-507BD5CCEB02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82106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 nede, sirkel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EA8A8A2A-6A3B-44AB-8647-260EC7923E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86502" y="1033150"/>
            <a:ext cx="5905498" cy="5824850"/>
          </a:xfrm>
          <a:custGeom>
            <a:avLst/>
            <a:gdLst>
              <a:gd name="connsiteX0" fmla="*/ 3467099 w 5905498"/>
              <a:gd name="connsiteY0" fmla="*/ 0 h 5824850"/>
              <a:gd name="connsiteX1" fmla="*/ 5672496 w 5905498"/>
              <a:gd name="connsiteY1" fmla="*/ 791717 h 5824850"/>
              <a:gd name="connsiteX2" fmla="*/ 5905498 w 5905498"/>
              <a:gd name="connsiteY2" fmla="*/ 1003484 h 5824850"/>
              <a:gd name="connsiteX3" fmla="*/ 5905498 w 5905498"/>
              <a:gd name="connsiteY3" fmla="*/ 5824850 h 5824850"/>
              <a:gd name="connsiteX4" fmla="*/ 930186 w 5905498"/>
              <a:gd name="connsiteY4" fmla="*/ 5824850 h 5824850"/>
              <a:gd name="connsiteX5" fmla="*/ 791717 w 5905498"/>
              <a:gd name="connsiteY5" fmla="*/ 5672496 h 5824850"/>
              <a:gd name="connsiteX6" fmla="*/ 0 w 5905498"/>
              <a:gd name="connsiteY6" fmla="*/ 3467100 h 5824850"/>
              <a:gd name="connsiteX7" fmla="*/ 3467099 w 5905498"/>
              <a:gd name="connsiteY7" fmla="*/ 0 h 582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05498" h="5824850">
                <a:moveTo>
                  <a:pt x="3467099" y="0"/>
                </a:moveTo>
                <a:cubicBezTo>
                  <a:pt x="4304836" y="0"/>
                  <a:pt x="5073177" y="297115"/>
                  <a:pt x="5672496" y="791717"/>
                </a:cubicBezTo>
                <a:lnTo>
                  <a:pt x="5905498" y="1003484"/>
                </a:lnTo>
                <a:lnTo>
                  <a:pt x="5905498" y="5824850"/>
                </a:lnTo>
                <a:lnTo>
                  <a:pt x="930186" y="5824850"/>
                </a:lnTo>
                <a:lnTo>
                  <a:pt x="791717" y="5672496"/>
                </a:lnTo>
                <a:cubicBezTo>
                  <a:pt x="297115" y="5073177"/>
                  <a:pt x="0" y="4304836"/>
                  <a:pt x="0" y="3467100"/>
                </a:cubicBezTo>
                <a:cubicBezTo>
                  <a:pt x="0" y="1552273"/>
                  <a:pt x="1552273" y="0"/>
                  <a:pt x="3467099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5588796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5589587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832CADD-DDDE-4851-8BD1-99710FABB5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DFDA5939-391C-41D0-8F21-DD084424DB5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41D1CBCC-8E3A-47BE-982B-49EC2954D30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6793D32F-7B07-46C0-A33B-03EB8B18EE8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D8764E46-805A-407F-96C5-5A83D097195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204C9A61-3DE7-4BB7-AD6F-13FF004746F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1359F353-A991-43DF-8E05-D685ABD656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DA7D6A04-F3CF-46DC-9183-2173EDE5C745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E7E4907A-1620-4FFD-9C4A-1747B90959E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53839F9B-ED44-48F4-B5D6-98DC325BA7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286502" y="1033150"/>
            <a:ext cx="5905498" cy="5824850"/>
          </a:xfrm>
          <a:custGeom>
            <a:avLst/>
            <a:gdLst>
              <a:gd name="connsiteX0" fmla="*/ 3467099 w 5905498"/>
              <a:gd name="connsiteY0" fmla="*/ 0 h 5824850"/>
              <a:gd name="connsiteX1" fmla="*/ 5672496 w 5905498"/>
              <a:gd name="connsiteY1" fmla="*/ 791717 h 5824850"/>
              <a:gd name="connsiteX2" fmla="*/ 5905498 w 5905498"/>
              <a:gd name="connsiteY2" fmla="*/ 1003484 h 5824850"/>
              <a:gd name="connsiteX3" fmla="*/ 5905498 w 5905498"/>
              <a:gd name="connsiteY3" fmla="*/ 5824850 h 5824850"/>
              <a:gd name="connsiteX4" fmla="*/ 930186 w 5905498"/>
              <a:gd name="connsiteY4" fmla="*/ 5824850 h 5824850"/>
              <a:gd name="connsiteX5" fmla="*/ 791717 w 5905498"/>
              <a:gd name="connsiteY5" fmla="*/ 5672496 h 5824850"/>
              <a:gd name="connsiteX6" fmla="*/ 0 w 5905498"/>
              <a:gd name="connsiteY6" fmla="*/ 3467099 h 5824850"/>
              <a:gd name="connsiteX7" fmla="*/ 3467099 w 5905498"/>
              <a:gd name="connsiteY7" fmla="*/ 0 h 582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05498" h="5824850">
                <a:moveTo>
                  <a:pt x="3467099" y="0"/>
                </a:moveTo>
                <a:cubicBezTo>
                  <a:pt x="4304836" y="0"/>
                  <a:pt x="5073177" y="297115"/>
                  <a:pt x="5672496" y="791717"/>
                </a:cubicBezTo>
                <a:lnTo>
                  <a:pt x="5905498" y="1003484"/>
                </a:lnTo>
                <a:lnTo>
                  <a:pt x="5905498" y="5824850"/>
                </a:lnTo>
                <a:lnTo>
                  <a:pt x="930186" y="5824850"/>
                </a:lnTo>
                <a:lnTo>
                  <a:pt x="791717" y="5672496"/>
                </a:lnTo>
                <a:cubicBezTo>
                  <a:pt x="297115" y="5073177"/>
                  <a:pt x="0" y="4304836"/>
                  <a:pt x="0" y="3467099"/>
                </a:cubicBezTo>
                <a:cubicBezTo>
                  <a:pt x="0" y="1552273"/>
                  <a:pt x="1552273" y="0"/>
                  <a:pt x="346709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83962F23-DC89-43FB-BDA5-07A1025AFFFC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9" name="logo_hvit" hidden="1">
            <a:extLst>
              <a:ext uri="{FF2B5EF4-FFF2-40B4-BE49-F238E27FC236}">
                <a16:creationId xmlns:a16="http://schemas.microsoft.com/office/drawing/2014/main" id="{B94ADC7B-9EF9-40A6-8715-BCB212C43F23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12274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 nede, sirkel, liten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6D115F76-499E-4BA8-ACCD-A3E76104C34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20288" y="2667000"/>
            <a:ext cx="4271712" cy="4191000"/>
          </a:xfrm>
          <a:custGeom>
            <a:avLst/>
            <a:gdLst>
              <a:gd name="connsiteX0" fmla="*/ 2654198 w 4271712"/>
              <a:gd name="connsiteY0" fmla="*/ 0 h 4191000"/>
              <a:gd name="connsiteX1" fmla="*/ 4138185 w 4271712"/>
              <a:gd name="connsiteY1" fmla="*/ 453313 h 4191000"/>
              <a:gd name="connsiteX2" fmla="*/ 4271712 w 4271712"/>
              <a:gd name="connsiteY2" fmla="*/ 553166 h 4191000"/>
              <a:gd name="connsiteX3" fmla="*/ 4271712 w 4271712"/>
              <a:gd name="connsiteY3" fmla="*/ 4191000 h 4191000"/>
              <a:gd name="connsiteX4" fmla="*/ 492669 w 4271712"/>
              <a:gd name="connsiteY4" fmla="*/ 4191000 h 4191000"/>
              <a:gd name="connsiteX5" fmla="*/ 453296 w 4271712"/>
              <a:gd name="connsiteY5" fmla="*/ 4138345 h 4191000"/>
              <a:gd name="connsiteX6" fmla="*/ 0 w 4271712"/>
              <a:gd name="connsiteY6" fmla="*/ 2654300 h 4191000"/>
              <a:gd name="connsiteX7" fmla="*/ 2654198 w 4271712"/>
              <a:gd name="connsiteY7" fmla="*/ 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71712" h="4191000">
                <a:moveTo>
                  <a:pt x="2654198" y="0"/>
                </a:moveTo>
                <a:cubicBezTo>
                  <a:pt x="3203901" y="0"/>
                  <a:pt x="3714573" y="167115"/>
                  <a:pt x="4138185" y="453313"/>
                </a:cubicBezTo>
                <a:lnTo>
                  <a:pt x="4271712" y="553166"/>
                </a:lnTo>
                <a:lnTo>
                  <a:pt x="4271712" y="4191000"/>
                </a:lnTo>
                <a:lnTo>
                  <a:pt x="492669" y="4191000"/>
                </a:lnTo>
                <a:lnTo>
                  <a:pt x="453296" y="4138345"/>
                </a:lnTo>
                <a:cubicBezTo>
                  <a:pt x="167108" y="3714716"/>
                  <a:pt x="0" y="3204024"/>
                  <a:pt x="0" y="2654300"/>
                </a:cubicBezTo>
                <a:cubicBezTo>
                  <a:pt x="0" y="1188371"/>
                  <a:pt x="1188325" y="0"/>
                  <a:pt x="2654198" y="0"/>
                </a:cubicBezTo>
                <a:close/>
              </a:path>
            </a:pathLst>
          </a:custGeom>
          <a:solidFill>
            <a:srgbClr val="002776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5588796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5589587" cy="430887"/>
          </a:xfrm>
        </p:spPr>
        <p:txBody>
          <a:bodyPr anchor="t"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832CADD-DDDE-4851-8BD1-99710FABB5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DFDA5939-391C-41D0-8F21-DD084424DB5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41D1CBCC-8E3A-47BE-982B-49EC2954D30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6793D32F-7B07-46C0-A33B-03EB8B18EE8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D8764E46-805A-407F-96C5-5A83D097195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204C9A61-3DE7-4BB7-AD6F-13FF004746F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1359F353-A991-43DF-8E05-D685ABD656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DA7D6A04-F3CF-46DC-9183-2173EDE5C745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E7E4907A-1620-4FFD-9C4A-1747B90959E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0041E85E-F425-444C-8552-A079AFFD576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920288" y="2667000"/>
            <a:ext cx="4271712" cy="4191000"/>
          </a:xfrm>
          <a:custGeom>
            <a:avLst/>
            <a:gdLst>
              <a:gd name="connsiteX0" fmla="*/ 2654198 w 4271712"/>
              <a:gd name="connsiteY0" fmla="*/ 0 h 4191000"/>
              <a:gd name="connsiteX1" fmla="*/ 4138185 w 4271712"/>
              <a:gd name="connsiteY1" fmla="*/ 453313 h 4191000"/>
              <a:gd name="connsiteX2" fmla="*/ 4271712 w 4271712"/>
              <a:gd name="connsiteY2" fmla="*/ 553166 h 4191000"/>
              <a:gd name="connsiteX3" fmla="*/ 4271712 w 4271712"/>
              <a:gd name="connsiteY3" fmla="*/ 4191000 h 4191000"/>
              <a:gd name="connsiteX4" fmla="*/ 492669 w 4271712"/>
              <a:gd name="connsiteY4" fmla="*/ 4191000 h 4191000"/>
              <a:gd name="connsiteX5" fmla="*/ 453296 w 4271712"/>
              <a:gd name="connsiteY5" fmla="*/ 4138345 h 4191000"/>
              <a:gd name="connsiteX6" fmla="*/ 0 w 4271712"/>
              <a:gd name="connsiteY6" fmla="*/ 2654300 h 4191000"/>
              <a:gd name="connsiteX7" fmla="*/ 2654198 w 4271712"/>
              <a:gd name="connsiteY7" fmla="*/ 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71712" h="4191000">
                <a:moveTo>
                  <a:pt x="2654198" y="0"/>
                </a:moveTo>
                <a:cubicBezTo>
                  <a:pt x="3203901" y="0"/>
                  <a:pt x="3714573" y="167115"/>
                  <a:pt x="4138185" y="453313"/>
                </a:cubicBezTo>
                <a:lnTo>
                  <a:pt x="4271712" y="553166"/>
                </a:lnTo>
                <a:lnTo>
                  <a:pt x="4271712" y="4191000"/>
                </a:lnTo>
                <a:lnTo>
                  <a:pt x="492669" y="4191000"/>
                </a:lnTo>
                <a:lnTo>
                  <a:pt x="453296" y="4138345"/>
                </a:lnTo>
                <a:cubicBezTo>
                  <a:pt x="167109" y="3714715"/>
                  <a:pt x="0" y="3204024"/>
                  <a:pt x="0" y="2654300"/>
                </a:cubicBezTo>
                <a:cubicBezTo>
                  <a:pt x="0" y="1188371"/>
                  <a:pt x="1188325" y="0"/>
                  <a:pt x="265419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0D5CC1D4-537A-4B83-8B4F-BE8D452B1492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9" name="logo_hvit" hidden="1">
            <a:extLst>
              <a:ext uri="{FF2B5EF4-FFF2-40B4-BE49-F238E27FC236}">
                <a16:creationId xmlns:a16="http://schemas.microsoft.com/office/drawing/2014/main" id="{FA0E660E-8B86-4273-AE81-48F76A183976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2381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tekst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03984" y="1695768"/>
            <a:ext cx="8237830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0D86FDA6-32A9-4186-AFB3-2EB461FDB82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0918BD1B-00D5-42DF-8027-0E271560CF36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0184F0D-42BD-4F7D-A667-285A14FFD8D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0FE005F2-94D0-48ED-8E0B-9E95AB0F7A8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DABB563F-C536-4E6B-8FAB-1661085EA02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4942B9FD-E5B3-491C-8BD8-EF75F4DDADF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53812EEB-671E-4246-B775-9DDF0E16485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7FE5726C-38E7-483F-A737-043513F3D34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3983" y="2216149"/>
            <a:ext cx="8237830" cy="381542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B89F35F9-5073-CCE8-94E4-74634AA24A7B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1" name="logo_hvit" hidden="1">
            <a:extLst>
              <a:ext uri="{FF2B5EF4-FFF2-40B4-BE49-F238E27FC236}">
                <a16:creationId xmlns:a16="http://schemas.microsoft.com/office/drawing/2014/main" id="{A1A6C58E-6CB5-5E0B-D9E1-E4E96AC384A0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68069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)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8B906783-82F7-4F06-A909-92414CF278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0808" y="0"/>
            <a:ext cx="8281191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3378995" cy="430887"/>
          </a:xfrm>
        </p:spPr>
        <p:txBody>
          <a:bodyPr anchor="t"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33789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7372FE5E-CAA5-4EE3-813D-053EE9B99F5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DE1AB944-55F7-447E-B1B0-7777CEB8144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3C3E6D96-3091-423E-B530-6AA7F835351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865A7262-53CB-411A-B2DD-5D7B09996073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4363F96A-DC31-41C7-A2CA-C1A3F458F8B1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CE2A7C8C-4183-49E0-A81F-A87C95D40EC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8B17877C-C149-4333-893F-07266CF802A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139D70A2-5F98-4E2C-B189-EE2B4FDCCAD5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D390523-127C-4A96-AEC0-9D4C14B03B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3378203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3041F739-C6C8-45A7-9C0D-685B68A2F2DB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2E16B7E-1832-4A1C-881A-B121241BBC9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11600" y="0"/>
            <a:ext cx="8280400" cy="6858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1484AE9F-A7D2-41A0-9E7E-B19529BE3E0D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9" name="logo_hvit" hidden="1">
            <a:extLst>
              <a:ext uri="{FF2B5EF4-FFF2-40B4-BE49-F238E27FC236}">
                <a16:creationId xmlns:a16="http://schemas.microsoft.com/office/drawing/2014/main" id="{6291CFDA-4EAB-47E4-92E6-D4F9D56ED5AC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96498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innhold (Høyre) 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0D26DCF0-7676-47A4-8E76-C67AEF8C71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0808" y="0"/>
            <a:ext cx="8281191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3378995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33789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F9902AC6-0866-4866-BEB8-3EF36AE083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86E4A578-2604-4EF1-A112-B6EEBB1650DF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53BD8B14-1016-4228-ABB8-79ED792B2B6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9D41E301-6567-4BD4-9BF8-E8D9532FBFF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DBE22B59-58E2-4A77-A9D7-CC7F38F62F49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24E36FD8-70FB-44F5-8C26-61B5CE08134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8BD79908-CF76-4F3E-A9EC-C9C524CEFC5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A2CF66BD-25DA-4FF6-9589-251CB8ECC82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4914B5D-5A23-45A9-B953-59A3D98BDE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3378203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A9A38E28-BCBE-41B5-9F74-A416D15CB715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4013F9-6889-481B-A280-1985D2203EEC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3911600" y="0"/>
            <a:ext cx="8280400" cy="685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0BD70129-8506-4BF3-B006-0AA105E8EDCD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9" name="logo_hvit" hidden="1">
            <a:extLst>
              <a:ext uri="{FF2B5EF4-FFF2-40B4-BE49-F238E27FC236}">
                <a16:creationId xmlns:a16="http://schemas.microsoft.com/office/drawing/2014/main" id="{7D86DC1C-C7ED-4D26-BD38-A0E65C0075C7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05263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innhold (Bak)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1BDE19F-A62C-4B9A-AABE-67AEE005F07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1306508"/>
            <a:ext cx="5588796" cy="553998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08CD17-0B38-4678-850D-681E5D48C3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466340"/>
            <a:ext cx="5588796" cy="3685222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1985966"/>
            <a:ext cx="5589587" cy="341313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EBDE9C1-A6AF-42BB-AD3E-EC5033DF7D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E881F7AB-121D-483A-BEEB-047633213E2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1F051DA2-02ED-4843-9F7B-A5F1B5FA1D47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737967A0-F11A-4DEB-8752-F51E6C30160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0BCBC18E-CFC3-4CBA-A77B-FCEE20A0D0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DAE9B024-9850-4644-969C-845FA2224C3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4C82FF42-4159-46F4-9A84-97CFCB2094A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A9A00501-7D4B-4A4A-9C7E-528975384D02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7EA08099-CF4B-47D5-AE1A-473F68B466AF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8" name="logo_blaa" hidden="1">
            <a:extLst>
              <a:ext uri="{FF2B5EF4-FFF2-40B4-BE49-F238E27FC236}">
                <a16:creationId xmlns:a16="http://schemas.microsoft.com/office/drawing/2014/main" id="{1235C88E-30A5-4405-906F-1F566C2A8DA4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11" name="logo_hvit" hidden="1">
            <a:extLst>
              <a:ext uri="{FF2B5EF4-FFF2-40B4-BE49-F238E27FC236}">
                <a16:creationId xmlns:a16="http://schemas.microsoft.com/office/drawing/2014/main" id="{B54D523D-5BCD-4235-9906-8180B451DB3B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2973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1BDE19F-A62C-4B9A-AABE-67AEE005F07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D5AB121-B777-4009-80C1-75B8761B0C1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138087C-6F4A-4D28-8FDF-F085F699A2C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6706D5D-D638-4DB1-9AC8-CD8309B275C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background" hidden="1">
            <a:extLst>
              <a:ext uri="{FF2B5EF4-FFF2-40B4-BE49-F238E27FC236}">
                <a16:creationId xmlns:a16="http://schemas.microsoft.com/office/drawing/2014/main" id="{06DEFD4A-FB2F-46A7-8EFB-9873F806D4F0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5848A094-42A0-4FA4-B133-A3B7A7B39B0F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15ECCDD0-B9DF-490B-8070-810E4261072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20FD1917-1441-4832-9EC0-0D1DABCB58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757AAD15-4D1F-4961-B536-5ECA1FDCBEF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8" name="DefLogoHvit" hidden="1">
            <a:extLst>
              <a:ext uri="{FF2B5EF4-FFF2-40B4-BE49-F238E27FC236}">
                <a16:creationId xmlns:a16="http://schemas.microsoft.com/office/drawing/2014/main" id="{9207E573-3D16-4F72-83D9-249A5604221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ACEA8EA1-AF72-4D0C-93FE-35E7C4A712BB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8" name="logo_hvit" hidden="1">
            <a:extLst>
              <a:ext uri="{FF2B5EF4-FFF2-40B4-BE49-F238E27FC236}">
                <a16:creationId xmlns:a16="http://schemas.microsoft.com/office/drawing/2014/main" id="{9416CDB8-A90E-4E1C-8A90-AF9C71C13D11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48425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llomtittel, tekst og innhold (Bak)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2C17378-974D-4128-8D5E-84FC65123272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C295C1-C2D0-4B81-AFB0-17F1A5F19B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5326380" y="3247853"/>
            <a:ext cx="6865620" cy="3610147"/>
          </a:xfrm>
          <a:prstGeom prst="round1Rect">
            <a:avLst>
              <a:gd name="adj" fmla="val 39195"/>
            </a:avLst>
          </a:prstGeom>
          <a:solidFill>
            <a:srgbClr val="FDF3F2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69970" y="4257902"/>
            <a:ext cx="4607604" cy="394054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4B4CF32-5696-483C-9E36-AECAC554DB5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3718968E-017F-4F68-8388-B2E458897EF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95677D21-AB8E-4EAE-937F-550723AA605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0DA2D151-1A8B-4DE7-921B-4788399FB6A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A63A0026-16AF-4E57-831A-D74BAFCE142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5E142F18-FA97-44F7-B279-1943E3BC51B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366C5A4A-E52D-4E55-82D4-F2A3DEF0988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C71F8D16-8429-46C8-A55F-53113E72FB3A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F6D5F194-6865-43D1-A2E9-4920E38BE8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69971" y="4792663"/>
            <a:ext cx="4607718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4" name="logo_blaa" hidden="1">
            <a:extLst>
              <a:ext uri="{FF2B5EF4-FFF2-40B4-BE49-F238E27FC236}">
                <a16:creationId xmlns:a16="http://schemas.microsoft.com/office/drawing/2014/main" id="{1B1925F0-1DD6-499A-9FF3-BF6D04B6B596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4595CEC7-B6F9-4378-8231-F7A69EA0DD3B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48855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8E7BC67-93D3-4DE1-9069-B45F8FFA378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Content Placeholder 5" hidden="1">
            <a:extLst>
              <a:ext uri="{FF2B5EF4-FFF2-40B4-BE49-F238E27FC236}">
                <a16:creationId xmlns:a16="http://schemas.microsoft.com/office/drawing/2014/main" id="{AF9CB0EE-AD99-4A11-AADA-C4A4009C79B3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0" y="0"/>
            <a:ext cx="6096000" cy="685800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00C112-E41D-4154-A09B-F17BA74EE5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4419600" y="4651956"/>
            <a:ext cx="7772400" cy="2206044"/>
          </a:xfrm>
          <a:custGeom>
            <a:avLst/>
            <a:gdLst>
              <a:gd name="connsiteX0" fmla="*/ 6126453 w 7772400"/>
              <a:gd name="connsiteY0" fmla="*/ 0 h 2206044"/>
              <a:gd name="connsiteX1" fmla="*/ 0 w 7772400"/>
              <a:gd name="connsiteY1" fmla="*/ 0 h 2206044"/>
              <a:gd name="connsiteX2" fmla="*/ 0 w 7772400"/>
              <a:gd name="connsiteY2" fmla="*/ 2206044 h 2206044"/>
              <a:gd name="connsiteX3" fmla="*/ 7772400 w 7772400"/>
              <a:gd name="connsiteY3" fmla="*/ 2206044 h 2206044"/>
              <a:gd name="connsiteX4" fmla="*/ 7772400 w 7772400"/>
              <a:gd name="connsiteY4" fmla="*/ 1645947 h 2206044"/>
              <a:gd name="connsiteX5" fmla="*/ 6126453 w 7772400"/>
              <a:gd name="connsiteY5" fmla="*/ 0 h 2206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72400" h="2206044">
                <a:moveTo>
                  <a:pt x="6126453" y="0"/>
                </a:moveTo>
                <a:lnTo>
                  <a:pt x="0" y="0"/>
                </a:lnTo>
                <a:lnTo>
                  <a:pt x="0" y="2206044"/>
                </a:lnTo>
                <a:lnTo>
                  <a:pt x="7772400" y="2206044"/>
                </a:lnTo>
                <a:lnTo>
                  <a:pt x="7772400" y="1645947"/>
                </a:lnTo>
                <a:cubicBezTo>
                  <a:pt x="7772400" y="736916"/>
                  <a:pt x="7035484" y="0"/>
                  <a:pt x="6126453" y="0"/>
                </a:cubicBezTo>
                <a:close/>
              </a:path>
            </a:pathLst>
          </a:custGeom>
          <a:solidFill>
            <a:srgbClr val="D8D8E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5347826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5913" y="853321"/>
            <a:ext cx="5348287" cy="553998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85763" y="723901"/>
            <a:ext cx="4607762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CE135E41-F011-45ED-BC06-DEDEFCACBB2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C9EA006E-2080-4935-92C8-631EA67245C5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3" name="addin_colorbox" hidden="1">
            <a:extLst>
              <a:ext uri="{FF2B5EF4-FFF2-40B4-BE49-F238E27FC236}">
                <a16:creationId xmlns:a16="http://schemas.microsoft.com/office/drawing/2014/main" id="{2FC96FE8-006C-4558-8BA8-53291D4137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4" name="addin_background" hidden="1">
            <a:extLst>
              <a:ext uri="{FF2B5EF4-FFF2-40B4-BE49-F238E27FC236}">
                <a16:creationId xmlns:a16="http://schemas.microsoft.com/office/drawing/2014/main" id="{366A9094-1F57-4D0B-A622-EDA13749F054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5" name="addin_logo" hidden="1">
            <a:extLst>
              <a:ext uri="{FF2B5EF4-FFF2-40B4-BE49-F238E27FC236}">
                <a16:creationId xmlns:a16="http://schemas.microsoft.com/office/drawing/2014/main" id="{34FCEA06-8CAE-4214-8ECB-62EE1CDCC7A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title" hidden="1">
            <a:extLst>
              <a:ext uri="{FF2B5EF4-FFF2-40B4-BE49-F238E27FC236}">
                <a16:creationId xmlns:a16="http://schemas.microsoft.com/office/drawing/2014/main" id="{66A5CB83-A611-486A-A11E-524EC248C2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7" name="addin_text" hidden="1">
            <a:extLst>
              <a:ext uri="{FF2B5EF4-FFF2-40B4-BE49-F238E27FC236}">
                <a16:creationId xmlns:a16="http://schemas.microsoft.com/office/drawing/2014/main" id="{FF933DB9-766C-426B-B11E-45A6BA6095A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Text Placeholder 1" hidden="1">
            <a:extLst>
              <a:ext uri="{FF2B5EF4-FFF2-40B4-BE49-F238E27FC236}">
                <a16:creationId xmlns:a16="http://schemas.microsoft.com/office/drawing/2014/main" id="{4475D5B4-B04D-492A-BF9B-685A53F0430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15913" y="853321"/>
            <a:ext cx="5348287" cy="55399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2" name="Text Placeholder 1">
            <a:extLst>
              <a:ext uri="{FF2B5EF4-FFF2-40B4-BE49-F238E27FC236}">
                <a16:creationId xmlns:a16="http://schemas.microsoft.com/office/drawing/2014/main" id="{794821EF-9AF2-4167-BA65-8EAF8E8DEA4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085763" y="1196836"/>
            <a:ext cx="4607718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3" name="Text Placeholder 1">
            <a:extLst>
              <a:ext uri="{FF2B5EF4-FFF2-40B4-BE49-F238E27FC236}">
                <a16:creationId xmlns:a16="http://schemas.microsoft.com/office/drawing/2014/main" id="{CA42C7DF-ED2B-443A-9FB1-BC0F52E371D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976813" y="5544693"/>
            <a:ext cx="7000761" cy="59054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D3345565-E1B3-451F-A229-DB3073F9A8DE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B8D61D3C-0062-47AF-BDA8-938AC2CC346F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78618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Høyre og venstre)">
    <p:bg>
      <p:bgPr>
        <a:solidFill>
          <a:srgbClr val="FBF2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FD96C6F-2B95-4858-B2FD-E57FE81F27C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736080" y="0"/>
            <a:ext cx="545592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6F8DC9D5-24ED-458C-90BB-732F5F9D6BC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0" y="0"/>
            <a:ext cx="6587243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9CB0EE-AD99-4A11-AADA-C4A4009C79B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-1" y="0"/>
            <a:ext cx="658724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00C112-E41D-4154-A09B-F17BA74EE5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5341257" y="3730171"/>
            <a:ext cx="6850742" cy="3127829"/>
          </a:xfrm>
          <a:prstGeom prst="round1Rect">
            <a:avLst>
              <a:gd name="adj" fmla="val 44896"/>
            </a:avLst>
          </a:prstGeom>
          <a:solidFill>
            <a:srgbClr val="D8D8E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5347826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5913" y="853321"/>
            <a:ext cx="5348287" cy="553998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85763" y="4729846"/>
            <a:ext cx="4891810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46F41208-5C1D-4DD4-8A50-29FFF2F2242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736080" y="0"/>
            <a:ext cx="5455919" cy="3730171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744182F-BA54-48B0-B256-4947640EBAB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addin_colorlist" hidden="1">
            <a:extLst>
              <a:ext uri="{FF2B5EF4-FFF2-40B4-BE49-F238E27FC236}">
                <a16:creationId xmlns:a16="http://schemas.microsoft.com/office/drawing/2014/main" id="{C273E00C-50FC-4C09-837B-667751499D42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2" name="addin_colorbox" hidden="1">
            <a:extLst>
              <a:ext uri="{FF2B5EF4-FFF2-40B4-BE49-F238E27FC236}">
                <a16:creationId xmlns:a16="http://schemas.microsoft.com/office/drawing/2014/main" id="{1136DBA2-434B-4983-86EB-77F8FA3578A7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EEA2228F-8BF9-4C93-9035-4B6EF6481C8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4" name="addin_logo" hidden="1">
            <a:extLst>
              <a:ext uri="{FF2B5EF4-FFF2-40B4-BE49-F238E27FC236}">
                <a16:creationId xmlns:a16="http://schemas.microsoft.com/office/drawing/2014/main" id="{BF822C3C-A96D-4C31-9A95-60C5B3D4B251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addin_title" hidden="1">
            <a:extLst>
              <a:ext uri="{FF2B5EF4-FFF2-40B4-BE49-F238E27FC236}">
                <a16:creationId xmlns:a16="http://schemas.microsoft.com/office/drawing/2014/main" id="{E919718A-FF57-49A0-9771-B176C0DE0BB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6" name="addin_text" hidden="1">
            <a:extLst>
              <a:ext uri="{FF2B5EF4-FFF2-40B4-BE49-F238E27FC236}">
                <a16:creationId xmlns:a16="http://schemas.microsoft.com/office/drawing/2014/main" id="{84AA82A5-69A9-42C5-A00A-E051759316E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B4593EE2-8E41-475D-BA91-5A5948E62F1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085762" y="5202781"/>
            <a:ext cx="4891811" cy="82515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FEA1735A-6F56-42C1-8BB6-9B86D15CCDA0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EFFB01EC-57D1-4D9E-BF81-25187BDF55D4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59130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Venst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9CB0EE-AD99-4A11-AADA-C4A4009C79B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0" y="0"/>
            <a:ext cx="7353300" cy="6858000"/>
          </a:xfrm>
          <a:prstGeom prst="round1Rect">
            <a:avLst>
              <a:gd name="adj" fmla="val 38976"/>
            </a:avLst>
          </a:prstGeom>
          <a:solidFill>
            <a:srgbClr val="002060"/>
          </a:solidFill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00C112-E41D-4154-A09B-F17BA74EE5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5341257" y="3232150"/>
            <a:ext cx="6850742" cy="3625851"/>
          </a:xfrm>
          <a:prstGeom prst="round1Rect">
            <a:avLst>
              <a:gd name="adj" fmla="val 38591"/>
            </a:avLst>
          </a:prstGeom>
          <a:solidFill>
            <a:srgbClr val="FDF3F2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67069" y="2090825"/>
            <a:ext cx="4210504" cy="553998"/>
          </a:xfrm>
        </p:spPr>
        <p:txBody>
          <a:bodyPr anchor="b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767068" y="2766475"/>
            <a:ext cx="4210505" cy="392650"/>
          </a:xfrm>
        </p:spPr>
        <p:txBody>
          <a:bodyPr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67069" y="4179840"/>
            <a:ext cx="4210505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0E5897B-0128-4833-ABC7-9D5B944D43E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addin_colorlist" hidden="1">
            <a:extLst>
              <a:ext uri="{FF2B5EF4-FFF2-40B4-BE49-F238E27FC236}">
                <a16:creationId xmlns:a16="http://schemas.microsoft.com/office/drawing/2014/main" id="{7BD4C53C-108D-4394-8456-4042468C0E3E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B367CA8A-46EF-4B57-A802-BB29E53CA959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8EC9AE72-4105-48A6-A086-47AFE82C935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addin_logo" hidden="1">
            <a:extLst>
              <a:ext uri="{FF2B5EF4-FFF2-40B4-BE49-F238E27FC236}">
                <a16:creationId xmlns:a16="http://schemas.microsoft.com/office/drawing/2014/main" id="{2F1AA884-7DE6-4EAE-BF6F-1767EE3A5B0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addin_title" hidden="1">
            <a:extLst>
              <a:ext uri="{FF2B5EF4-FFF2-40B4-BE49-F238E27FC236}">
                <a16:creationId xmlns:a16="http://schemas.microsoft.com/office/drawing/2014/main" id="{B8B387BA-8B81-4475-9FC8-702C90AFA83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5" name="addin_text" hidden="1">
            <a:extLst>
              <a:ext uri="{FF2B5EF4-FFF2-40B4-BE49-F238E27FC236}">
                <a16:creationId xmlns:a16="http://schemas.microsoft.com/office/drawing/2014/main" id="{D9145AC7-3FAF-40CE-9C66-69B589F5679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6818D3C5-E00B-4293-821C-798C4F134E3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767025" y="4614675"/>
            <a:ext cx="4210549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EB0BFF17-9837-4315-B821-4F0D3494FFDA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9F417608-4C91-4D58-B010-FD6C797444B3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53473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3 bokser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13DEE0-CCAF-47EA-A14D-D76793842F6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49008" y="-8758"/>
            <a:ext cx="3949700" cy="6866758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016FC5DA-8226-4CF8-B228-E01FC14873E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39200" y="3490090"/>
            <a:ext cx="3352800" cy="3367907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A51F98C5-2BE5-42D7-BB2F-61E1BA87BFA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839200" y="0"/>
            <a:ext cx="3352800" cy="3367907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5F59F70E-C806-43BD-9D89-C54E8C3B0DB3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8839200" y="3498849"/>
            <a:ext cx="3352799" cy="335914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2DCA02DF-93B7-429F-A0AD-D85D318A8EAB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4749800" y="-2"/>
            <a:ext cx="3949700" cy="685799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394970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5913" y="910471"/>
            <a:ext cx="3949701" cy="553998"/>
          </a:xfrm>
        </p:spPr>
        <p:txBody>
          <a:bodyPr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46F41208-5C1D-4DD4-8A50-29FFF2F2242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8839200" y="0"/>
            <a:ext cx="3352799" cy="335914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4D51EAA-A93B-4020-8227-613B86276B8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F919271A-D69E-44B1-9601-857C23308C2F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524CAE9B-B20C-4A8D-934B-59339B019D1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AC83C4E6-04D0-4072-8F3C-7976CB3356C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addin_logo" hidden="1">
            <a:extLst>
              <a:ext uri="{FF2B5EF4-FFF2-40B4-BE49-F238E27FC236}">
                <a16:creationId xmlns:a16="http://schemas.microsoft.com/office/drawing/2014/main" id="{6A95789E-F5A3-4946-AB59-D1C0D4FF1F3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addin_title" hidden="1">
            <a:extLst>
              <a:ext uri="{FF2B5EF4-FFF2-40B4-BE49-F238E27FC236}">
                <a16:creationId xmlns:a16="http://schemas.microsoft.com/office/drawing/2014/main" id="{3D365EEB-3C51-4BE4-88F0-1FC8A2B887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5" name="addin_text" hidden="1">
            <a:extLst>
              <a:ext uri="{FF2B5EF4-FFF2-40B4-BE49-F238E27FC236}">
                <a16:creationId xmlns:a16="http://schemas.microsoft.com/office/drawing/2014/main" id="{0B668723-1F65-41E9-8B0D-4C408D3AF15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DefLogoHvit" hidden="1">
            <a:extLst>
              <a:ext uri="{FF2B5EF4-FFF2-40B4-BE49-F238E27FC236}">
                <a16:creationId xmlns:a16="http://schemas.microsoft.com/office/drawing/2014/main" id="{1B4E343D-3448-4288-96A0-8161A1BCA02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0" name="Text Placeholder 1">
            <a:extLst>
              <a:ext uri="{FF2B5EF4-FFF2-40B4-BE49-F238E27FC236}">
                <a16:creationId xmlns:a16="http://schemas.microsoft.com/office/drawing/2014/main" id="{549804D6-DBC7-4F01-9B86-DCB54C291E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5913" y="2121720"/>
            <a:ext cx="3949700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AFA6B2BC-21E6-4B4F-AB1E-DE60915BD3E8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6CB909B9-7735-4EF0-8430-0FB9F51741F1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85307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innhold (Høy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BBFA32DA-0415-49CF-BCF9-38F570B362B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25597" y="0"/>
            <a:ext cx="4266403" cy="6866758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2DCA02DF-93B7-429F-A0AD-D85D318A8EAB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7925597" y="1"/>
            <a:ext cx="4259939" cy="6857999"/>
          </a:xfrm>
          <a:prstGeom prst="rect">
            <a:avLst/>
          </a:prstGeom>
          <a:solidFill>
            <a:srgbClr val="002060"/>
          </a:solidFill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6163919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DD2C0544-2BE4-48B0-9C84-7496C2E325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E35BFD6A-9EBA-437D-94D3-A22AE9F3BF6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BE9F07D1-9FDA-4010-B64C-C1629BFE350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0B018755-7928-4745-9B40-F3496CA5DF1C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633A8CE6-D1F0-4276-AE71-8C8663E262E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FDD8280D-ED4A-4383-944E-05E4FE2BF96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994003EC-43C4-4410-B11C-73FEE191870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3341E66A-52C3-4488-998F-D252AB6C05BB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BAA402BF-A073-4F44-B5BE-D9D57BDB227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199256" y="1698171"/>
            <a:ext cx="4259939" cy="383902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F3501955-8E52-4576-98E9-4C77AACFF99A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11899C4A-6B3D-4B96-9BED-40F4D1116B77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9239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tekst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88256" y="1695768"/>
            <a:ext cx="10553558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F8C82DF-AABB-4910-AAF7-401C50AD3C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607BA65C-409C-495A-A826-A9EC045259F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935AD07-038A-4101-8144-4B09CAED498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D357C967-5FB7-49AB-920C-1F53E57063A1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80019DA8-1266-4502-94C3-01CC09A2BD1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AA14CF9A-9970-43D9-92B0-5A729151571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E05A82BB-796B-4BD1-B6FA-858F3648C4E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1F1C9804-CF58-42D2-9F31-B4AF21DCFDA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88255" y="2216149"/>
            <a:ext cx="10553558" cy="381542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05CC1E52-B98B-D98C-E51E-9E8A15C7C85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2" name="logo_hvit" hidden="1">
            <a:extLst>
              <a:ext uri="{FF2B5EF4-FFF2-40B4-BE49-F238E27FC236}">
                <a16:creationId xmlns:a16="http://schemas.microsoft.com/office/drawing/2014/main" id="{09EFC85A-A6EC-2122-E69B-0A25E17F541C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3973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mellomtittel, tekst og innhold (Bak)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8A1C56D-C7B2-4042-9CD8-AA509F79511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66087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D40B92AA-42BC-432B-8FCD-86D6CFD8E50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15913" y="909186"/>
            <a:ext cx="1166087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1E363977-D9F6-454E-A94B-C68902B9588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98220" y="2476500"/>
            <a:ext cx="3978593" cy="3555072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A81454-9B8B-4525-959D-5534FBD4C3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0F7888C7-E2BB-4F37-9548-732E47B2D66A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0D07F82-624B-4368-B875-4A5180E2445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EC608B2B-F460-4524-A128-B881BF70A79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61C83988-EF2B-4F8A-A221-FBA24707F9C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47B8B98E-1475-4FEF-A304-E855B226301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07811DB8-614D-4E24-9368-EBE38BEF6B9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3A47E8CE-2C1D-4AD7-95B9-E7E0918EBD50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A0396D79-3FF9-408B-A32B-11B761A425A0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453C9593-0BEF-4A60-AEDF-FF99AEAB5AB8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73681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8A1C56D-C7B2-4042-9CD8-AA509F79511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5902DB0-F9C9-4208-AC04-F65B14A925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22416" y="2157469"/>
            <a:ext cx="5560333" cy="1938992"/>
          </a:xfrm>
        </p:spPr>
        <p:txBody>
          <a:bodyPr anchor="b">
            <a:noAutofit/>
          </a:bodyPr>
          <a:lstStyle>
            <a:lvl1pPr algn="ctr">
              <a:lnSpc>
                <a:spcPct val="90000"/>
              </a:lnSpc>
              <a:defRPr sz="3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“</a:t>
            </a:r>
            <a:r>
              <a:rPr lang="en-US" dirty="0" err="1"/>
              <a:t>Sitat</a:t>
            </a:r>
            <a:r>
              <a:rPr lang="en-US" dirty="0"/>
              <a:t>”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262E9EA-50DA-4C6F-BDBD-45D2CC16F55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2417" y="4498845"/>
            <a:ext cx="5560332" cy="215444"/>
          </a:xfr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8E93E590-141F-4D3A-BAE4-F780C71B13E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0359BBBD-8D4D-47A6-A6D2-15A5C12B778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91BDE199-DCB0-44B7-B468-DB0113CDAAD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5BC20023-01D6-43AC-AC9E-3D5BBB97537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9037258-551C-4040-900F-0E68A78A121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61EAB1CA-B254-4FF7-9B06-83529538730C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978D642-AF95-46D9-BDA8-AC5CCCB3ED30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E1023C14-08D5-4A55-A00C-020E6A8C9E4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F063C56A-0094-4DA2-B2C6-68E9333EC736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2E1DDFEC-D5B3-4F72-A116-8FB13AC9AF00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54010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660079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84523D-32B3-42D2-9506-B4449EF1765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15913" y="909186"/>
            <a:ext cx="1166087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315913" y="1460500"/>
            <a:ext cx="6719887" cy="4784725"/>
          </a:xfrm>
        </p:spPr>
        <p:txBody>
          <a:bodyPr/>
          <a:lstStyle/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99981B97-0927-4AE0-B50C-C8C76D99F25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64499" y="2152968"/>
            <a:ext cx="3912283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294E24CE-73E5-478C-A0AE-B3FF6F4E4C8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531F68E2-5378-49F8-9089-CF82D4C5C37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A3B53C9F-AC67-475F-A1A3-7F754C8F112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42717750-4B12-4D91-8622-DC0D4272850D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CBF86961-0370-4940-A239-56F95E63CBDB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0AE0909F-FA8A-42B2-A5EA-7A13B05B37C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9400D268-CC84-41FD-B9A3-9510D85E407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0E2F7EB6-BD9A-4CAB-81C5-FA6F6D8726B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064499" y="2673350"/>
            <a:ext cx="3912283" cy="3275464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E4657100-CDCA-4C13-AC25-EC6D4DC2801F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7" name="logo_hvit" hidden="1">
            <a:extLst>
              <a:ext uri="{FF2B5EF4-FFF2-40B4-BE49-F238E27FC236}">
                <a16:creationId xmlns:a16="http://schemas.microsoft.com/office/drawing/2014/main" id="{D6267B03-F613-4CD3-9511-5FF9ADB294E9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20946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 (Høy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9DA6E-D112-4CF2-9E61-D2803FFC55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0"/>
            <a:ext cx="3343275" cy="6858000"/>
          </a:xfrm>
          <a:solidFill>
            <a:srgbClr val="EFEFEF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660079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3715658" y="1036637"/>
            <a:ext cx="8261126" cy="5364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95EA8AB-6B52-4A25-8679-9037A006B26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7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2C43F1F1-08A8-45E6-8709-A6CF646C389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29DE899F-C243-4AB6-84E9-84DD211AA6D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background" hidden="1">
            <a:extLst>
              <a:ext uri="{FF2B5EF4-FFF2-40B4-BE49-F238E27FC236}">
                <a16:creationId xmlns:a16="http://schemas.microsoft.com/office/drawing/2014/main" id="{FD84D5B2-05C4-4708-B0E6-8816C134C1A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BC7B844F-3B22-4BC5-AE8F-529F6F8103B2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91826AB-F933-47F3-A50A-E1A9C8C299C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882AA710-D5DF-4B9E-B682-8BC67348AB3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F27B46D2-22EB-487B-863E-8C88301E95B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6705" y="1191898"/>
            <a:ext cx="2822753" cy="462946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94A18F01-C33A-4993-990D-6612F99D8D09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786" y="6245941"/>
            <a:ext cx="1735008" cy="396000"/>
          </a:xfrm>
          <a:prstGeom prst="rect">
            <a:avLst/>
          </a:prstGeom>
        </p:spPr>
      </p:pic>
      <p:pic>
        <p:nvPicPr>
          <p:cNvPr id="8" name="logo_hvit" hidden="1">
            <a:extLst>
              <a:ext uri="{FF2B5EF4-FFF2-40B4-BE49-F238E27FC236}">
                <a16:creationId xmlns:a16="http://schemas.microsoft.com/office/drawing/2014/main" id="{D3420A41-B05C-43BE-8B18-033B543692AA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78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80029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 (2 grafer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9DA6E-D112-4CF2-9E61-D2803FFC55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0"/>
            <a:ext cx="3343275" cy="6858000"/>
          </a:xfrm>
          <a:solidFill>
            <a:srgbClr val="EFEFEF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2821912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4281260" y="1036637"/>
            <a:ext cx="3343276" cy="5364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8" name="Chart Placeholder 5">
            <a:extLst>
              <a:ext uri="{FF2B5EF4-FFF2-40B4-BE49-F238E27FC236}">
                <a16:creationId xmlns:a16="http://schemas.microsoft.com/office/drawing/2014/main" id="{31484953-D908-4216-A821-FFF36AE77225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8418290" y="1036637"/>
            <a:ext cx="3343276" cy="5364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AF830C0-8048-4660-85F5-880345F1B2E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1260" y="445295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8373671-1454-4F00-862D-A2611E85FF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18290" y="445295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033B6724-4542-4E0D-A677-8E0AEC06B5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7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999124DB-8F02-409F-A729-E11030C3457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CD623913-286B-465D-A7E5-0DF3533D4623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CD92FFB2-664D-487F-A82D-D46DC13C7D0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A6BE133F-DD99-468C-8D55-748939F0F9C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AAE24BC9-EA40-4A42-B35A-A5F8924D3B2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2A25BEF6-DC40-4AF2-B91B-D50EB057310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171BDB52-B689-490F-A912-7D7E7080675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6704" y="1191898"/>
            <a:ext cx="2821911" cy="462946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477AC26E-8080-48CE-8B24-035706FFCFD2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786" y="6245941"/>
            <a:ext cx="1735008" cy="396000"/>
          </a:xfrm>
          <a:prstGeom prst="rect">
            <a:avLst/>
          </a:prstGeom>
        </p:spPr>
      </p:pic>
      <p:pic>
        <p:nvPicPr>
          <p:cNvPr id="9" name="logo_hvit" hidden="1">
            <a:extLst>
              <a:ext uri="{FF2B5EF4-FFF2-40B4-BE49-F238E27FC236}">
                <a16:creationId xmlns:a16="http://schemas.microsoft.com/office/drawing/2014/main" id="{2DBD25E3-ADA8-4185-863A-35376C4C12EA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78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71630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 (4 grafer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9DA6E-D112-4CF2-9E61-D2803FFC55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0"/>
            <a:ext cx="3343275" cy="6858000"/>
          </a:xfrm>
          <a:solidFill>
            <a:srgbClr val="EFEFEF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2821912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4281260" y="851285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8" name="Chart Placeholder 5">
            <a:extLst>
              <a:ext uri="{FF2B5EF4-FFF2-40B4-BE49-F238E27FC236}">
                <a16:creationId xmlns:a16="http://schemas.microsoft.com/office/drawing/2014/main" id="{31484953-D908-4216-A821-FFF36AE77225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8418290" y="851285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AF830C0-8048-4660-85F5-880345F1B2E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1260" y="445295"/>
            <a:ext cx="3343275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8373671-1454-4F00-862D-A2611E85FF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18290" y="445295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8" name="Chart Placeholder 5">
            <a:extLst>
              <a:ext uri="{FF2B5EF4-FFF2-40B4-BE49-F238E27FC236}">
                <a16:creationId xmlns:a16="http://schemas.microsoft.com/office/drawing/2014/main" id="{67E0BF1E-FA82-4B7F-B923-BFDB61725C32}"/>
              </a:ext>
            </a:extLst>
          </p:cNvPr>
          <p:cNvSpPr>
            <a:spLocks noGrp="1"/>
          </p:cNvSpPr>
          <p:nvPr>
            <p:ph type="chart" sz="quarter" idx="36"/>
          </p:nvPr>
        </p:nvSpPr>
        <p:spPr>
          <a:xfrm>
            <a:off x="4281260" y="4113242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9" name="Chart Placeholder 5">
            <a:extLst>
              <a:ext uri="{FF2B5EF4-FFF2-40B4-BE49-F238E27FC236}">
                <a16:creationId xmlns:a16="http://schemas.microsoft.com/office/drawing/2014/main" id="{CA985493-FA53-488E-8517-92FC07AF2B01}"/>
              </a:ext>
            </a:extLst>
          </p:cNvPr>
          <p:cNvSpPr>
            <a:spLocks noGrp="1"/>
          </p:cNvSpPr>
          <p:nvPr>
            <p:ph type="chart" sz="quarter" idx="37"/>
          </p:nvPr>
        </p:nvSpPr>
        <p:spPr>
          <a:xfrm>
            <a:off x="8418290" y="4113242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BD22E512-6705-4C14-9589-C2DACC2CD1B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1260" y="3707252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1FD5F680-AEB8-4E1E-9514-7E53E039944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18290" y="3707252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D8FA83E3-5DF6-44FC-9818-DBD9AC1388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7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addin_colorlist" hidden="1">
            <a:extLst>
              <a:ext uri="{FF2B5EF4-FFF2-40B4-BE49-F238E27FC236}">
                <a16:creationId xmlns:a16="http://schemas.microsoft.com/office/drawing/2014/main" id="{026061BC-914B-4BA8-A2C4-CC0745516D4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7639C6D-46FA-4FA7-8EC0-21DEE11DB27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5" name="addin_background" hidden="1">
            <a:extLst>
              <a:ext uri="{FF2B5EF4-FFF2-40B4-BE49-F238E27FC236}">
                <a16:creationId xmlns:a16="http://schemas.microsoft.com/office/drawing/2014/main" id="{71D860E0-3EB4-4985-8611-DBB86048C27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040054D-988B-4548-8071-431E56D48E1E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3988038F-D2A8-423E-9DE1-C599EB065BA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7291C49E-6F93-4D1D-98F0-6D074E39ECF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2F7D3B47-0043-4A21-A582-E9A771DC02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6704" y="1191898"/>
            <a:ext cx="2821911" cy="462946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D0119907-5675-4824-8F51-DF319995A3FC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786" y="6245941"/>
            <a:ext cx="1735008" cy="396000"/>
          </a:xfrm>
          <a:prstGeom prst="rect">
            <a:avLst/>
          </a:prstGeom>
        </p:spPr>
      </p:pic>
      <p:pic>
        <p:nvPicPr>
          <p:cNvPr id="9" name="logo_hvit" hidden="1">
            <a:extLst>
              <a:ext uri="{FF2B5EF4-FFF2-40B4-BE49-F238E27FC236}">
                <a16:creationId xmlns:a16="http://schemas.microsoft.com/office/drawing/2014/main" id="{C0CC544A-E9C9-4E58-8B44-F64C57F8389C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78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8830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vikling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8A1C56D-C7B2-4042-9CD8-AA509F79511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5902DB0-F9C9-4208-AC04-F65B14A925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73134" y="2359798"/>
            <a:ext cx="4533908" cy="2354491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17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r>
              <a:rPr lang="en-US" dirty="0"/>
              <a:t>00</a:t>
            </a:r>
          </a:p>
        </p:txBody>
      </p:sp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4012ADA4-FF9C-4A9A-9D47-9F7DF4E17A6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707042" y="2359797"/>
            <a:ext cx="3978593" cy="184999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sz="1600"/>
              <a:t>Klikk for å redigere tekststiler i malen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BFCD7BF-3AB7-4429-8BC8-F8BC42C2A57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95E40C5A-6129-49F4-B4D2-D18CFE88C1D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6831A200-49F5-4645-BB55-B21422B4DD4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29F23ED3-8031-44D0-AF88-1C89758EB5A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696CEC71-F65A-43A1-962D-596ECDCFEFF5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19D9EC0F-9854-4585-BE93-674C85878F1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72B513AD-BD82-49A5-8EDC-A9F4BDC63D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DefLogoHvit" hidden="1">
            <a:extLst>
              <a:ext uri="{FF2B5EF4-FFF2-40B4-BE49-F238E27FC236}">
                <a16:creationId xmlns:a16="http://schemas.microsoft.com/office/drawing/2014/main" id="{0BB6941E-7A67-4E07-AB3F-FA53A5938919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394AED7E-F499-431A-B41F-EF05BADEBF2B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A95A402B-D254-4CAA-9B5A-B69AA534E01D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93028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ide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 hidden="1">
            <a:extLst>
              <a:ext uri="{FF2B5EF4-FFF2-40B4-BE49-F238E27FC236}">
                <a16:creationId xmlns:a16="http://schemas.microsoft.com/office/drawing/2014/main" id="{53E799FF-A7CB-461E-B019-32619A79E4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52511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26E3C71-6252-416E-BB06-9B02EAF49F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497807" y="4320383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497807" y="3894454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52B160-86DA-4012-954C-C6953026A9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15913" y="909186"/>
            <a:ext cx="1152511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E6A5C2C-D005-4D6A-B53B-999FAD2B2F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497807" y="2254021"/>
            <a:ext cx="1440180" cy="1439299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589B68B-6FC3-4A8E-A6B4-15BE438ABF2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981927" y="4320383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A88F8B5-8E03-43A4-B94C-726522E8C2B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81927" y="3894454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544BEA80-896A-4A78-A6E8-C08CC90D84B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81927" y="2254021"/>
            <a:ext cx="1440180" cy="1439299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3EFC636C-45F7-4D80-913A-E189DBD4B00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612058" y="4315621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2A3850B-57F8-4746-ABC4-07EFFB9552E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12058" y="3889692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BC51C625-F779-4CC0-B43C-69D91D5B9FB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12058" y="2249259"/>
            <a:ext cx="1440180" cy="1439299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F6F1C91C-5EFA-46E9-8499-1ACC2BBC19E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54053" y="4325288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38AB3A0E-5127-4287-9954-3E23BA96F27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154053" y="3899359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D4A5529C-9EF2-4C35-9351-C26E0DDC606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154053" y="2258926"/>
            <a:ext cx="1440180" cy="1439299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68C6EA9-B739-4680-AD52-7A2BDE15538B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1497807" y="2254021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KON SETTES INN HER</a:t>
            </a:r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B06652B2-4AB0-45B6-BED4-F119744C0781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3981927" y="2254021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32D361F0-26FD-42CA-ABD7-D4A1E734FBA4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9154053" y="2258926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r>
              <a:rPr lang="en-US" dirty="0"/>
              <a:t> </a:t>
            </a:r>
          </a:p>
        </p:txBody>
      </p:sp>
      <p:sp>
        <p:nvSpPr>
          <p:cNvPr id="30" name="Content Placeholder 8">
            <a:extLst>
              <a:ext uri="{FF2B5EF4-FFF2-40B4-BE49-F238E27FC236}">
                <a16:creationId xmlns:a16="http://schemas.microsoft.com/office/drawing/2014/main" id="{B832E9B8-520B-4E6D-956D-A9A1F8270D28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612058" y="2249259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D004951B-E132-4CB5-BE08-014909997C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41092" y="6245941"/>
            <a:ext cx="1735008" cy="3960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4" name="addin_colorlist" hidden="1">
            <a:extLst>
              <a:ext uri="{FF2B5EF4-FFF2-40B4-BE49-F238E27FC236}">
                <a16:creationId xmlns:a16="http://schemas.microsoft.com/office/drawing/2014/main" id="{6E501A22-635E-4E52-A781-CEFE3AAF9E1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ikon1, ikon2, ikon3, ikon4</a:t>
            </a:r>
          </a:p>
        </p:txBody>
      </p:sp>
      <p:sp>
        <p:nvSpPr>
          <p:cNvPr id="35" name="addin_colorbox" hidden="1">
            <a:extLst>
              <a:ext uri="{FF2B5EF4-FFF2-40B4-BE49-F238E27FC236}">
                <a16:creationId xmlns:a16="http://schemas.microsoft.com/office/drawing/2014/main" id="{C152D6E7-5ABD-462F-B484-D3C5A98E30C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6" name="addin_background" hidden="1">
            <a:extLst>
              <a:ext uri="{FF2B5EF4-FFF2-40B4-BE49-F238E27FC236}">
                <a16:creationId xmlns:a16="http://schemas.microsoft.com/office/drawing/2014/main" id="{E380263D-5A13-44BA-8F84-CE8D468BF3F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37" name="addin_logo" hidden="1">
            <a:extLst>
              <a:ext uri="{FF2B5EF4-FFF2-40B4-BE49-F238E27FC236}">
                <a16:creationId xmlns:a16="http://schemas.microsoft.com/office/drawing/2014/main" id="{A47615AF-2F92-48F5-9427-DB7CDFC14D1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8" name="addin_title" hidden="1">
            <a:extLst>
              <a:ext uri="{FF2B5EF4-FFF2-40B4-BE49-F238E27FC236}">
                <a16:creationId xmlns:a16="http://schemas.microsoft.com/office/drawing/2014/main" id="{DE8F631C-E719-4912-BF9F-B8C23CA2B3F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9" name="addin_text" hidden="1">
            <a:extLst>
              <a:ext uri="{FF2B5EF4-FFF2-40B4-BE49-F238E27FC236}">
                <a16:creationId xmlns:a16="http://schemas.microsoft.com/office/drawing/2014/main" id="{7FC205FB-165B-4339-88D1-EF192C650B2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5" name="logo_blaa" hidden="1">
            <a:extLst>
              <a:ext uri="{FF2B5EF4-FFF2-40B4-BE49-F238E27FC236}">
                <a16:creationId xmlns:a16="http://schemas.microsoft.com/office/drawing/2014/main" id="{736E1821-2120-48ED-8BF3-416C35744F98}"/>
              </a:ext>
            </a:extLst>
          </p:cNvPr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12" name="logo_hvit" hidden="1">
            <a:extLst>
              <a:ext uri="{FF2B5EF4-FFF2-40B4-BE49-F238E27FC236}">
                <a16:creationId xmlns:a16="http://schemas.microsoft.com/office/drawing/2014/main" id="{69DB9100-B340-43B6-B5BA-267B7A0CA02D}"/>
              </a:ext>
            </a:extLst>
          </p:cNvPr>
          <p:cNvPicPr>
            <a:picLocks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23600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ide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F73BE435-F82E-401E-BC8F-786DF65E161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542257" y="2161952"/>
            <a:ext cx="1440180" cy="1439299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3875DC22-FC29-439F-BE1C-C4CEEE74EFF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450495" y="2161952"/>
            <a:ext cx="1440180" cy="1439299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59238488-45B2-4EF9-9DCF-75A9D082AC0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367444" y="2161952"/>
            <a:ext cx="1440180" cy="1439299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12A2793-E8C0-4A44-AD6E-511C67CD47B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280970" y="2161952"/>
            <a:ext cx="1440180" cy="1439299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2EC5F670-0FCC-48B7-9C97-8A0ED134BF4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192632" y="2161952"/>
            <a:ext cx="1440180" cy="1439299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52511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26E3C71-6252-416E-BB06-9B02EAF49F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42258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42258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52B160-86DA-4012-954C-C6953026A9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15913" y="909186"/>
            <a:ext cx="1152511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589B68B-6FC3-4A8E-A6B4-15BE438ABF2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450495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A88F8B5-8E03-43A4-B94C-726522E8C2B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50495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3EFC636C-45F7-4D80-913A-E189DBD4B00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367444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2A3850B-57F8-4746-ABC4-07EFFB9552E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367444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F6F1C91C-5EFA-46E9-8499-1ACC2BBC19E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280970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38AB3A0E-5127-4287-9954-3E23BA96F27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80970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68C6EA9-B739-4680-AD52-7A2BDE15538B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1542257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B06652B2-4AB0-45B6-BED4-F119744C0781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3450495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32D361F0-26FD-42CA-ABD7-D4A1E734FBA4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7280970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0" name="Content Placeholder 8">
            <a:extLst>
              <a:ext uri="{FF2B5EF4-FFF2-40B4-BE49-F238E27FC236}">
                <a16:creationId xmlns:a16="http://schemas.microsoft.com/office/drawing/2014/main" id="{B832E9B8-520B-4E6D-956D-A9A1F8270D28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5367444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4" name="Content Placeholder 8">
            <a:extLst>
              <a:ext uri="{FF2B5EF4-FFF2-40B4-BE49-F238E27FC236}">
                <a16:creationId xmlns:a16="http://schemas.microsoft.com/office/drawing/2014/main" id="{3F540DE3-195D-4E6B-A7AF-31B5DF60F736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9192632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2F891B1A-3BF6-4C12-A12A-239C8FCE033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192632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4D5D28B2-0704-4803-A645-557CB31EE3D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92632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0EFE922-5D7E-4DE7-BDD3-B34758502BD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8" name="addin_colorlist" hidden="1">
            <a:extLst>
              <a:ext uri="{FF2B5EF4-FFF2-40B4-BE49-F238E27FC236}">
                <a16:creationId xmlns:a16="http://schemas.microsoft.com/office/drawing/2014/main" id="{075E0F79-D570-480C-8DF3-E58C21E1F61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ikon1, ikon2, ikon3, ikon4</a:t>
            </a:r>
          </a:p>
        </p:txBody>
      </p:sp>
      <p:sp>
        <p:nvSpPr>
          <p:cNvPr id="39" name="addin_colorbox" hidden="1">
            <a:extLst>
              <a:ext uri="{FF2B5EF4-FFF2-40B4-BE49-F238E27FC236}">
                <a16:creationId xmlns:a16="http://schemas.microsoft.com/office/drawing/2014/main" id="{67B923A1-1928-48F4-99F0-2BC992E26D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40" name="addin_background" hidden="1">
            <a:extLst>
              <a:ext uri="{FF2B5EF4-FFF2-40B4-BE49-F238E27FC236}">
                <a16:creationId xmlns:a16="http://schemas.microsoft.com/office/drawing/2014/main" id="{C8275DA9-4738-44F4-80E0-B95FD7F7669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41" name="addin_logo" hidden="1">
            <a:extLst>
              <a:ext uri="{FF2B5EF4-FFF2-40B4-BE49-F238E27FC236}">
                <a16:creationId xmlns:a16="http://schemas.microsoft.com/office/drawing/2014/main" id="{50E7F9FC-E5AD-43C9-9814-D45E18A0765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42" name="addin_title" hidden="1">
            <a:extLst>
              <a:ext uri="{FF2B5EF4-FFF2-40B4-BE49-F238E27FC236}">
                <a16:creationId xmlns:a16="http://schemas.microsoft.com/office/drawing/2014/main" id="{4E85F3F3-61FE-46B8-9DCC-8DF708F7EF3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43" name="addin_text" hidden="1">
            <a:extLst>
              <a:ext uri="{FF2B5EF4-FFF2-40B4-BE49-F238E27FC236}">
                <a16:creationId xmlns:a16="http://schemas.microsoft.com/office/drawing/2014/main" id="{CCB6333A-8809-4730-B12B-15E8A5FE960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BAFE1A1C-0521-4A68-8F3B-77D05A6048DA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77BB0F64-6E73-44E4-9A86-D3439F940538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09045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ide (Med tekst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7C3D8B82-1186-4182-B0A5-AF811E03AAA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238625" y="3795682"/>
            <a:ext cx="895350" cy="872978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80279050-A64A-4B83-A905-1B3FC387D1B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38625" y="1771827"/>
            <a:ext cx="895350" cy="872978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0D0A5540-DE13-4650-A761-05A3821451B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866900" y="3795682"/>
            <a:ext cx="895350" cy="872978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913F1418-8863-4CCE-A609-28E1F569F71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866900" y="1771827"/>
            <a:ext cx="895350" cy="872978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94062DE1-5A03-401B-828E-C09837CBE7B2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639050" y="0"/>
            <a:ext cx="4552950" cy="6858000"/>
          </a:xfrm>
          <a:solidFill>
            <a:srgbClr val="005AA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6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6579396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26E3C71-6252-416E-BB06-9B02EAF49F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42257" y="3286065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42257" y="2809079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52B160-86DA-4012-954C-C6953026A9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15913" y="909186"/>
            <a:ext cx="6579396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3FDEC93C-B0F9-43F6-9A2B-43486128B15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913982" y="3286065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BD64AEBB-F5C6-49BB-A8BD-743146A4CBF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913982" y="2809079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52CFF93E-569D-485C-9953-C19AC5E3C45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542257" y="5309920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C8A6D454-40E4-4EA2-B644-EDCFBBCB62B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42257" y="4832934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1A3C0572-03EF-4F24-A0B1-253B71A2C1F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913982" y="5309920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04A24DB8-42A3-44EC-A86F-652A8538749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913982" y="4832934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0A96C8D-EA7E-4A1A-9503-66E8E35B8CEC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8369300" y="1098550"/>
            <a:ext cx="3608274" cy="393700"/>
          </a:xfrm>
        </p:spPr>
        <p:txBody>
          <a:bodyPr anchor="b"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BDC22F2-8CFA-49E4-A541-56C2672DA8B9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8369300" y="1605457"/>
            <a:ext cx="3608274" cy="3937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25147704-1371-462B-8BE0-901BF4C6B9A5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8369300" y="2882345"/>
            <a:ext cx="3608274" cy="393700"/>
          </a:xfrm>
        </p:spPr>
        <p:txBody>
          <a:bodyPr anchor="b"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8" name="Text Placeholder 15">
            <a:extLst>
              <a:ext uri="{FF2B5EF4-FFF2-40B4-BE49-F238E27FC236}">
                <a16:creationId xmlns:a16="http://schemas.microsoft.com/office/drawing/2014/main" id="{1CCA3D76-ECCA-4308-8AF0-909FC8B26F8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369300" y="3389252"/>
            <a:ext cx="3608274" cy="3937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60A7792F-9090-4A87-8964-DF22B9449CE4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8369300" y="4922063"/>
            <a:ext cx="3608274" cy="393700"/>
          </a:xfrm>
        </p:spPr>
        <p:txBody>
          <a:bodyPr anchor="b"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0" name="Text Placeholder 15">
            <a:extLst>
              <a:ext uri="{FF2B5EF4-FFF2-40B4-BE49-F238E27FC236}">
                <a16:creationId xmlns:a16="http://schemas.microsoft.com/office/drawing/2014/main" id="{A80D731A-25DF-478D-9DD2-54A9511D84F4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8369300" y="5428970"/>
            <a:ext cx="3608274" cy="3937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9D6001A3-F024-4A8E-B5CF-D1D78B3F4E4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866900" y="1771827"/>
            <a:ext cx="895350" cy="872978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1" name="Content Placeholder 8">
            <a:extLst>
              <a:ext uri="{FF2B5EF4-FFF2-40B4-BE49-F238E27FC236}">
                <a16:creationId xmlns:a16="http://schemas.microsoft.com/office/drawing/2014/main" id="{FB244F5A-705A-48E8-927E-F279AC5F5FEC}"/>
              </a:ext>
            </a:extLst>
          </p:cNvPr>
          <p:cNvSpPr>
            <a:spLocks noGrp="1"/>
          </p:cNvSpPr>
          <p:nvPr>
            <p:ph sz="quarter" idx="59" hasCustomPrompt="1"/>
          </p:nvPr>
        </p:nvSpPr>
        <p:spPr>
          <a:xfrm>
            <a:off x="1866900" y="1771827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33" name="Content Placeholder 8">
            <a:extLst>
              <a:ext uri="{FF2B5EF4-FFF2-40B4-BE49-F238E27FC236}">
                <a16:creationId xmlns:a16="http://schemas.microsoft.com/office/drawing/2014/main" id="{3A7F4820-EF59-4DD5-A97C-2CBCBA008F35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4238625" y="1771827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F98FC926-9B84-46D8-89CC-E751E9D26AD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66900" y="3795682"/>
            <a:ext cx="895350" cy="872978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3" name="Content Placeholder 8">
            <a:extLst>
              <a:ext uri="{FF2B5EF4-FFF2-40B4-BE49-F238E27FC236}">
                <a16:creationId xmlns:a16="http://schemas.microsoft.com/office/drawing/2014/main" id="{EE315A61-2E68-4EB9-B2F9-BDF0F31BDE53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866900" y="3795682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1FAD39D5-056D-4EB9-8E8D-ACED66A3A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38625" y="3795682"/>
            <a:ext cx="895350" cy="872978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5" name="Content Placeholder 8">
            <a:extLst>
              <a:ext uri="{FF2B5EF4-FFF2-40B4-BE49-F238E27FC236}">
                <a16:creationId xmlns:a16="http://schemas.microsoft.com/office/drawing/2014/main" id="{769CDA1B-0410-4357-A97C-A7947A450081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4238625" y="3795682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41910E6F-A89F-470C-B8C5-2CA101D8ECC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2" name="addin_colorlist" hidden="1">
            <a:extLst>
              <a:ext uri="{FF2B5EF4-FFF2-40B4-BE49-F238E27FC236}">
                <a16:creationId xmlns:a16="http://schemas.microsoft.com/office/drawing/2014/main" id="{2530AF2D-9963-4853-BC15-8D5711DC97A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ikon1, ikon2, ikon3, ikon4</a:t>
            </a:r>
          </a:p>
        </p:txBody>
      </p:sp>
      <p:sp>
        <p:nvSpPr>
          <p:cNvPr id="45" name="addin_colorbox" hidden="1">
            <a:extLst>
              <a:ext uri="{FF2B5EF4-FFF2-40B4-BE49-F238E27FC236}">
                <a16:creationId xmlns:a16="http://schemas.microsoft.com/office/drawing/2014/main" id="{4647CBF0-028B-48BC-8377-8664458D9C7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46" name="addin_background" hidden="1">
            <a:extLst>
              <a:ext uri="{FF2B5EF4-FFF2-40B4-BE49-F238E27FC236}">
                <a16:creationId xmlns:a16="http://schemas.microsoft.com/office/drawing/2014/main" id="{A4BBCABF-1EAD-4EE4-9436-DCF1D624554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56" name="addin_logo" hidden="1">
            <a:extLst>
              <a:ext uri="{FF2B5EF4-FFF2-40B4-BE49-F238E27FC236}">
                <a16:creationId xmlns:a16="http://schemas.microsoft.com/office/drawing/2014/main" id="{53D5C84E-F74F-4DE1-B8BD-09B906AD981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57" name="addin_title" hidden="1">
            <a:extLst>
              <a:ext uri="{FF2B5EF4-FFF2-40B4-BE49-F238E27FC236}">
                <a16:creationId xmlns:a16="http://schemas.microsoft.com/office/drawing/2014/main" id="{6A4887B0-59E8-4459-A232-FBE56D3489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58" name="addin_text" hidden="1">
            <a:extLst>
              <a:ext uri="{FF2B5EF4-FFF2-40B4-BE49-F238E27FC236}">
                <a16:creationId xmlns:a16="http://schemas.microsoft.com/office/drawing/2014/main" id="{DFF3A27C-DEC0-4C13-A024-9CDA6FA62D2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59" name="DefLogoHvit" hidden="1">
            <a:extLst>
              <a:ext uri="{FF2B5EF4-FFF2-40B4-BE49-F238E27FC236}">
                <a16:creationId xmlns:a16="http://schemas.microsoft.com/office/drawing/2014/main" id="{E242F738-11B7-4699-ADA7-AD2F8082B21C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995E30AB-B684-49FE-AF36-03E8E3FF6055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938CAF34-BD44-4F21-845B-9FC7C8B252DC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2474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0D86FDA6-32A9-4186-AFB3-2EB461FDB82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0918BD1B-00D5-42DF-8027-0E271560CF36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0184F0D-42BD-4F7D-A667-285A14FFD8D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0FE005F2-94D0-48ED-8E0B-9E95AB0F7A8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DABB563F-C536-4E6B-8FAB-1661085EA02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4942B9FD-E5B3-491C-8BD8-EF75F4DDADF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53812EEB-671E-4246-B775-9DDF0E16485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4DFAB5E3-9CBE-4BC7-B63B-591246D541D2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16840" y="1695769"/>
            <a:ext cx="8237830" cy="4335803"/>
          </a:xfrm>
          <a:prstGeom prst="rect">
            <a:avLst/>
          </a:prstGeom>
        </p:spPr>
        <p:txBody>
          <a:bodyPr lIns="0" tIns="0" rIns="0" bIns="0"/>
          <a:lstStyle>
            <a:lvl1pPr marL="2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 i="0" u="none" cap="none">
                <a:solidFill>
                  <a:srgbClr val="00207D"/>
                </a:solidFill>
                <a:latin typeface="+mn-lt"/>
              </a:defRPr>
            </a:lvl1pPr>
            <a:lvl2pPr marL="7452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207D"/>
                </a:solidFill>
                <a:latin typeface="+mn-lt"/>
              </a:defRPr>
            </a:lvl2pPr>
            <a:lvl3pPr marL="114300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100" b="0" i="0" u="none" cap="none">
                <a:solidFill>
                  <a:srgbClr val="00207D"/>
                </a:solidFill>
                <a:latin typeface="+mn-lt"/>
              </a:defRPr>
            </a:lvl3pPr>
            <a:lvl4pPr marL="163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000" b="0" i="0" u="none" cap="none">
                <a:solidFill>
                  <a:srgbClr val="00207D"/>
                </a:solidFill>
                <a:latin typeface="+mn-lt"/>
              </a:defRPr>
            </a:lvl4pPr>
            <a:lvl5pPr marL="20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900" b="0" i="0" u="none" cap="none">
                <a:solidFill>
                  <a:srgbClr val="00207D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57F5F5EE-735C-21EB-B0AC-340341BFF41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1" name="logo_hvit" hidden="1">
            <a:extLst>
              <a:ext uri="{FF2B5EF4-FFF2-40B4-BE49-F238E27FC236}">
                <a16:creationId xmlns:a16="http://schemas.microsoft.com/office/drawing/2014/main" id="{5EA39D16-521C-36DD-C6D4-2E1059ECA094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65975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CBE4C0-AD7E-4767-A37B-3C4FCC55BF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09692" y="1238672"/>
            <a:ext cx="5242508" cy="5242256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242492" y="566738"/>
            <a:ext cx="2775947" cy="5931262"/>
          </a:xfrm>
          <a:custGeom>
            <a:avLst/>
            <a:gdLst>
              <a:gd name="connsiteX0" fmla="*/ 0 w 2775947"/>
              <a:gd name="connsiteY0" fmla="*/ 0 h 5931262"/>
              <a:gd name="connsiteX1" fmla="*/ 2775947 w 2775947"/>
              <a:gd name="connsiteY1" fmla="*/ 0 h 5931262"/>
              <a:gd name="connsiteX2" fmla="*/ 2775947 w 2775947"/>
              <a:gd name="connsiteY2" fmla="*/ 5516988 h 5931262"/>
              <a:gd name="connsiteX3" fmla="*/ 2725403 w 2775947"/>
              <a:gd name="connsiteY3" fmla="*/ 5551158 h 5931262"/>
              <a:gd name="connsiteX4" fmla="*/ 1388454 w 2775947"/>
              <a:gd name="connsiteY4" fmla="*/ 5931262 h 5931262"/>
              <a:gd name="connsiteX5" fmla="*/ 51506 w 2775947"/>
              <a:gd name="connsiteY5" fmla="*/ 5551158 h 5931262"/>
              <a:gd name="connsiteX6" fmla="*/ 0 w 2775947"/>
              <a:gd name="connsiteY6" fmla="*/ 5516338 h 593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75947" h="5931262">
                <a:moveTo>
                  <a:pt x="0" y="0"/>
                </a:moveTo>
                <a:lnTo>
                  <a:pt x="2775947" y="0"/>
                </a:lnTo>
                <a:lnTo>
                  <a:pt x="2775947" y="5516988"/>
                </a:lnTo>
                <a:lnTo>
                  <a:pt x="2725403" y="5551158"/>
                </a:lnTo>
                <a:cubicBezTo>
                  <a:pt x="2330248" y="5793781"/>
                  <a:pt x="1872419" y="5931262"/>
                  <a:pt x="1388454" y="5931262"/>
                </a:cubicBezTo>
                <a:cubicBezTo>
                  <a:pt x="904490" y="5931262"/>
                  <a:pt x="446660" y="5793781"/>
                  <a:pt x="51506" y="5551158"/>
                </a:cubicBezTo>
                <a:lnTo>
                  <a:pt x="0" y="5516338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spcBef>
                <a:spcPts val="1800"/>
              </a:spcBef>
              <a:buNone/>
              <a:defRPr sz="440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C83D3ED5-C123-48D8-BF8E-0476E8596C82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Title 13">
            <a:extLst>
              <a:ext uri="{FF2B5EF4-FFF2-40B4-BE49-F238E27FC236}">
                <a16:creationId xmlns:a16="http://schemas.microsoft.com/office/drawing/2014/main" id="{02A992B5-F485-45DA-B617-5194C3E6D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206151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4" name="Text Placeholder 27">
            <a:extLst>
              <a:ext uri="{FF2B5EF4-FFF2-40B4-BE49-F238E27FC236}">
                <a16:creationId xmlns:a16="http://schemas.microsoft.com/office/drawing/2014/main" id="{28E5F674-4C79-44C3-8673-EC472B01890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913" y="2819152"/>
            <a:ext cx="4695079" cy="268763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FFF9BE07-6D50-4E95-ABFB-67A93A07F5A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42044" y="5886736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7CB38BD-06CD-4641-A90C-18CE66C56A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93199" y="391996"/>
            <a:ext cx="3269209" cy="6423203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E91E3A3D-8D2C-4873-A73B-85EF666519F9}"/>
              </a:ext>
            </a:extLst>
          </p:cNvPr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043" y="5886736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EA6D6426-6EFC-446B-AC08-7E26A258B55E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043" y="5886736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7646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side (Neste sid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CBE4C0-AD7E-4767-A37B-3C4FCC55BF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08867" y="1283854"/>
            <a:ext cx="5242508" cy="5242256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341667" y="609539"/>
            <a:ext cx="2775947" cy="5931262"/>
          </a:xfrm>
          <a:custGeom>
            <a:avLst/>
            <a:gdLst>
              <a:gd name="connsiteX0" fmla="*/ 0 w 2775947"/>
              <a:gd name="connsiteY0" fmla="*/ 0 h 5931262"/>
              <a:gd name="connsiteX1" fmla="*/ 2775947 w 2775947"/>
              <a:gd name="connsiteY1" fmla="*/ 0 h 5931262"/>
              <a:gd name="connsiteX2" fmla="*/ 2775947 w 2775947"/>
              <a:gd name="connsiteY2" fmla="*/ 5516988 h 5931262"/>
              <a:gd name="connsiteX3" fmla="*/ 2725403 w 2775947"/>
              <a:gd name="connsiteY3" fmla="*/ 5551158 h 5931262"/>
              <a:gd name="connsiteX4" fmla="*/ 1388454 w 2775947"/>
              <a:gd name="connsiteY4" fmla="*/ 5931262 h 5931262"/>
              <a:gd name="connsiteX5" fmla="*/ 51506 w 2775947"/>
              <a:gd name="connsiteY5" fmla="*/ 5551158 h 5931262"/>
              <a:gd name="connsiteX6" fmla="*/ 0 w 2775947"/>
              <a:gd name="connsiteY6" fmla="*/ 5516338 h 593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75947" h="5931262">
                <a:moveTo>
                  <a:pt x="0" y="0"/>
                </a:moveTo>
                <a:lnTo>
                  <a:pt x="2775947" y="0"/>
                </a:lnTo>
                <a:lnTo>
                  <a:pt x="2775947" y="5516988"/>
                </a:lnTo>
                <a:lnTo>
                  <a:pt x="2725403" y="5551158"/>
                </a:lnTo>
                <a:cubicBezTo>
                  <a:pt x="2330248" y="5793781"/>
                  <a:pt x="1872419" y="5931262"/>
                  <a:pt x="1388454" y="5931262"/>
                </a:cubicBezTo>
                <a:cubicBezTo>
                  <a:pt x="904490" y="5931262"/>
                  <a:pt x="446660" y="5793781"/>
                  <a:pt x="51506" y="5551158"/>
                </a:cubicBezTo>
                <a:lnTo>
                  <a:pt x="0" y="5516338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82495" y="2162175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6F47EA2-9057-40E9-8497-026110B55D1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82495" y="3590080"/>
            <a:ext cx="4695079" cy="268763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7CB38BD-06CD-4641-A90C-18CE66C56A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092374" y="434797"/>
            <a:ext cx="3269209" cy="6423203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DA2EDFEE-A606-400C-BA08-036FC2EA105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F6AAD60C-7E9D-4505-975D-8C6C00C76F07}"/>
              </a:ext>
            </a:extLst>
          </p:cNvPr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1CBBAF8A-F859-4061-8BD1-F2A07DBEABA6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949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CBE4C0-AD7E-4767-A37B-3C4FCC55BF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08867" y="1283854"/>
            <a:ext cx="5242508" cy="5242256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82495" y="2162175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6F47EA2-9057-40E9-8497-026110B55D1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82495" y="3590080"/>
            <a:ext cx="4695079" cy="268763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22" name="Circle 2">
            <a:extLst>
              <a:ext uri="{FF2B5EF4-FFF2-40B4-BE49-F238E27FC236}">
                <a16:creationId xmlns:a16="http://schemas.microsoft.com/office/drawing/2014/main" id="{643EB9AF-85D6-452D-8D92-900AFF59F2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5075" y="1303425"/>
            <a:ext cx="5019194" cy="5019194"/>
          </a:xfrm>
          <a:prstGeom prst="rect">
            <a:avLst/>
          </a:prstGeom>
        </p:spPr>
      </p:pic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1127143">
            <a:off x="1557912" y="3841396"/>
            <a:ext cx="4211870" cy="2376818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0D2883-1DBB-4A89-BE2A-3AB6A6803EC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236677" y="3408539"/>
            <a:ext cx="4968936" cy="409006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27992AFA-D68E-40D7-87D9-86BD816FECE3}"/>
              </a:ext>
            </a:extLst>
          </p:cNvPr>
          <p:cNvPicPr>
            <a:picLocks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823D5C2E-971C-4F12-A4AF-FFB184D13360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06055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81 " pathEditMode="relative" ptsTypes="AA">
                                      <p:cBhvr>
                                        <p:cTn id="6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81 " pathEditMode="relative" ptsTypes="AA">
                                      <p:cBhvr>
                                        <p:cTn id="8" dur="2000" fill="hold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81 " pathEditMode="relative" ptsTypes="AA">
                                      <p:cBhvr>
                                        <p:cTn id="10" dur="2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5" grpId="0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0 -0.2581 " pathEditMode="relative" ptsTypes="AA">
                      <p:cBhvr>
                        <p:cTn dur="20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0 -0.2581 " pathEditMode="relative" ptsTypes="AA">
                      <p:cBhvr>
                        <p:cTn dur="20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side (Animasjon)">
    <p:bg>
      <p:bgPr>
        <a:solidFill>
          <a:srgbClr val="F8E9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5BB0CE27-C394-4607-98BB-7BA11CE74F4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96002" y="1"/>
            <a:ext cx="6095999" cy="6857998"/>
          </a:xfrm>
          <a:custGeom>
            <a:avLst/>
            <a:gdLst>
              <a:gd name="connsiteX0" fmla="*/ 1649621 w 6095999"/>
              <a:gd name="connsiteY0" fmla="*/ 0 h 6857998"/>
              <a:gd name="connsiteX1" fmla="*/ 6095999 w 6095999"/>
              <a:gd name="connsiteY1" fmla="*/ 0 h 6857998"/>
              <a:gd name="connsiteX2" fmla="*/ 6095999 w 6095999"/>
              <a:gd name="connsiteY2" fmla="*/ 6857998 h 6857998"/>
              <a:gd name="connsiteX3" fmla="*/ 1650155 w 6095999"/>
              <a:gd name="connsiteY3" fmla="*/ 6857998 h 6857998"/>
              <a:gd name="connsiteX4" fmla="*/ 1597925 w 6095999"/>
              <a:gd name="connsiteY4" fmla="*/ 6816955 h 6857998"/>
              <a:gd name="connsiteX5" fmla="*/ 0 w 6095999"/>
              <a:gd name="connsiteY5" fmla="*/ 3428789 h 6857998"/>
              <a:gd name="connsiteX6" fmla="*/ 1597925 w 6095999"/>
              <a:gd name="connsiteY6" fmla="*/ 40623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5999" h="6857998">
                <a:moveTo>
                  <a:pt x="1649621" y="0"/>
                </a:moveTo>
                <a:lnTo>
                  <a:pt x="6095999" y="0"/>
                </a:lnTo>
                <a:lnTo>
                  <a:pt x="6095999" y="6857998"/>
                </a:lnTo>
                <a:lnTo>
                  <a:pt x="1650155" y="6857998"/>
                </a:lnTo>
                <a:lnTo>
                  <a:pt x="1597925" y="6816955"/>
                </a:lnTo>
                <a:cubicBezTo>
                  <a:pt x="622032" y="6011615"/>
                  <a:pt x="0" y="4792841"/>
                  <a:pt x="0" y="3428789"/>
                </a:cubicBezTo>
                <a:cubicBezTo>
                  <a:pt x="0" y="2064738"/>
                  <a:pt x="622032" y="845963"/>
                  <a:pt x="1597925" y="40623"/>
                </a:cubicBezTo>
                <a:close/>
              </a:path>
            </a:pathLst>
          </a:custGeom>
          <a:solidFill>
            <a:srgbClr val="042478"/>
          </a:solidFill>
        </p:spPr>
        <p:txBody>
          <a:bodyPr wrap="square">
            <a:noAutofit/>
          </a:bodyPr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526EE899-D5E9-4D5E-880C-C006EB3F14F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itle 13">
            <a:extLst>
              <a:ext uri="{FF2B5EF4-FFF2-40B4-BE49-F238E27FC236}">
                <a16:creationId xmlns:a16="http://schemas.microsoft.com/office/drawing/2014/main" id="{F2EC2875-A8E4-4C69-9D40-24A9CCC2F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206151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42478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3" name="Text Placeholder 27">
            <a:extLst>
              <a:ext uri="{FF2B5EF4-FFF2-40B4-BE49-F238E27FC236}">
                <a16:creationId xmlns:a16="http://schemas.microsoft.com/office/drawing/2014/main" id="{C6E809E9-2EE0-4D5E-ABD5-7560E83DF04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913" y="2819152"/>
            <a:ext cx="4695079" cy="2687638"/>
          </a:xfrm>
        </p:spPr>
        <p:txBody>
          <a:bodyPr/>
          <a:lstStyle>
            <a:lvl1pPr>
              <a:defRPr sz="1400">
                <a:solidFill>
                  <a:srgbClr val="042478"/>
                </a:solidFill>
              </a:defRPr>
            </a:lvl1pPr>
            <a:lvl2pPr>
              <a:defRPr sz="1200">
                <a:solidFill>
                  <a:srgbClr val="042478"/>
                </a:solidFill>
              </a:defRPr>
            </a:lvl2pPr>
            <a:lvl3pPr>
              <a:defRPr sz="1100">
                <a:solidFill>
                  <a:srgbClr val="042478"/>
                </a:solidFill>
              </a:defRPr>
            </a:lvl3pPr>
            <a:lvl4pPr>
              <a:defRPr sz="1000">
                <a:solidFill>
                  <a:srgbClr val="042478"/>
                </a:solidFill>
              </a:defRPr>
            </a:lvl4pPr>
            <a:lvl5pPr>
              <a:defRPr sz="900">
                <a:solidFill>
                  <a:srgbClr val="042478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0095499">
            <a:off x="7470934" y="2251972"/>
            <a:ext cx="2477110" cy="5326551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7CB38BD-06CD-4641-A90C-18CE66C56A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20087460">
            <a:off x="7250598" y="2087988"/>
            <a:ext cx="2902052" cy="563668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8" name="Picture Placeholder 31">
            <a:extLst>
              <a:ext uri="{FF2B5EF4-FFF2-40B4-BE49-F238E27FC236}">
                <a16:creationId xmlns:a16="http://schemas.microsoft.com/office/drawing/2014/main" id="{81C825AF-C1C5-44BB-9F0A-1E28516D9E18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 rot="20095499">
            <a:off x="11413087" y="3189250"/>
            <a:ext cx="2480710" cy="5321378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6" name="Text Placeholder 64">
            <a:extLst>
              <a:ext uri="{FF2B5EF4-FFF2-40B4-BE49-F238E27FC236}">
                <a16:creationId xmlns:a16="http://schemas.microsoft.com/office/drawing/2014/main" id="{8001664F-BDA3-427D-9F79-FBB525E0DF0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 rot="20087460">
            <a:off x="11194429" y="3019296"/>
            <a:ext cx="2902052" cy="563668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79E04B0B-6D10-4EC9-BB96-507F599A1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044" y="5886736"/>
            <a:ext cx="1735008" cy="396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C4C0F59E-815A-49A1-9BBD-B7CC950E4BA9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043" y="5886736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BF3DC9F2-1BC9-4852-8D2F-8BE2948CF4EC}"/>
              </a:ext>
            </a:extLst>
          </p:cNvPr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043" y="5886736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153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3.33333E-6 L -0.0625 -0.2388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25" y="-11944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8" dur="2000" fill="hold"/>
                                        <p:tgtEl>
                                          <p:spTgt spid="6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10" dur="2000" fill="hold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7.40741E-7 L -0.0625 -0.23889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25" y="-11944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14" dur="2000" fill="hold"/>
                                        <p:tgtEl>
                                          <p:spTgt spid="2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18" dur="2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65" grpId="0" uiExpand="1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6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6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  <p:bldP spid="28" grpId="0"/>
      <p:bldP spid="26" grpId="0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click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c (Animasjon)">
    <p:bg>
      <p:bgPr>
        <a:solidFill>
          <a:srgbClr val="F8E9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4A80CED5-AB6B-4994-B3E6-B97FBE16A8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96002" y="1"/>
            <a:ext cx="6095999" cy="6857998"/>
          </a:xfrm>
          <a:custGeom>
            <a:avLst/>
            <a:gdLst>
              <a:gd name="connsiteX0" fmla="*/ 1649621 w 6095999"/>
              <a:gd name="connsiteY0" fmla="*/ 0 h 6857998"/>
              <a:gd name="connsiteX1" fmla="*/ 6095999 w 6095999"/>
              <a:gd name="connsiteY1" fmla="*/ 0 h 6857998"/>
              <a:gd name="connsiteX2" fmla="*/ 6095999 w 6095999"/>
              <a:gd name="connsiteY2" fmla="*/ 6857998 h 6857998"/>
              <a:gd name="connsiteX3" fmla="*/ 1650155 w 6095999"/>
              <a:gd name="connsiteY3" fmla="*/ 6857998 h 6857998"/>
              <a:gd name="connsiteX4" fmla="*/ 1597925 w 6095999"/>
              <a:gd name="connsiteY4" fmla="*/ 6816955 h 6857998"/>
              <a:gd name="connsiteX5" fmla="*/ 0 w 6095999"/>
              <a:gd name="connsiteY5" fmla="*/ 3428789 h 6857998"/>
              <a:gd name="connsiteX6" fmla="*/ 1597925 w 6095999"/>
              <a:gd name="connsiteY6" fmla="*/ 40623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5999" h="6857998">
                <a:moveTo>
                  <a:pt x="1649621" y="0"/>
                </a:moveTo>
                <a:lnTo>
                  <a:pt x="6095999" y="0"/>
                </a:lnTo>
                <a:lnTo>
                  <a:pt x="6095999" y="6857998"/>
                </a:lnTo>
                <a:lnTo>
                  <a:pt x="1650155" y="6857998"/>
                </a:lnTo>
                <a:lnTo>
                  <a:pt x="1597925" y="6816955"/>
                </a:lnTo>
                <a:cubicBezTo>
                  <a:pt x="622032" y="6011615"/>
                  <a:pt x="0" y="4792841"/>
                  <a:pt x="0" y="3428789"/>
                </a:cubicBezTo>
                <a:cubicBezTo>
                  <a:pt x="0" y="2064738"/>
                  <a:pt x="622032" y="845963"/>
                  <a:pt x="1597925" y="40623"/>
                </a:cubicBezTo>
                <a:close/>
              </a:path>
            </a:pathLst>
          </a:custGeom>
          <a:solidFill>
            <a:srgbClr val="042478"/>
          </a:solidFill>
        </p:spPr>
        <p:txBody>
          <a:bodyPr wrap="square">
            <a:noAutofit/>
          </a:bodyPr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526EE899-D5E9-4D5E-880C-C006EB3F14F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itle 13">
            <a:extLst>
              <a:ext uri="{FF2B5EF4-FFF2-40B4-BE49-F238E27FC236}">
                <a16:creationId xmlns:a16="http://schemas.microsoft.com/office/drawing/2014/main" id="{F2EC2875-A8E4-4C69-9D40-24A9CCC2F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206151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42478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3" name="Text Placeholder 27">
            <a:extLst>
              <a:ext uri="{FF2B5EF4-FFF2-40B4-BE49-F238E27FC236}">
                <a16:creationId xmlns:a16="http://schemas.microsoft.com/office/drawing/2014/main" id="{C6E809E9-2EE0-4D5E-ABD5-7560E83DF04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913" y="2819152"/>
            <a:ext cx="4695079" cy="2687638"/>
          </a:xfrm>
        </p:spPr>
        <p:txBody>
          <a:bodyPr/>
          <a:lstStyle>
            <a:lvl1pPr>
              <a:defRPr sz="1400">
                <a:solidFill>
                  <a:srgbClr val="042478"/>
                </a:solidFill>
              </a:defRPr>
            </a:lvl1pPr>
            <a:lvl2pPr>
              <a:defRPr sz="1200">
                <a:solidFill>
                  <a:srgbClr val="042478"/>
                </a:solidFill>
              </a:defRPr>
            </a:lvl2pPr>
            <a:lvl3pPr>
              <a:defRPr sz="1100">
                <a:solidFill>
                  <a:srgbClr val="042478"/>
                </a:solidFill>
              </a:defRPr>
            </a:lvl3pPr>
            <a:lvl4pPr>
              <a:defRPr sz="1000">
                <a:solidFill>
                  <a:srgbClr val="042478"/>
                </a:solidFill>
              </a:defRPr>
            </a:lvl4pPr>
            <a:lvl5pPr>
              <a:defRPr sz="900">
                <a:solidFill>
                  <a:srgbClr val="042478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EDD01A2-4366-4D2C-A0E7-B1B95B71D09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844477" y="1750446"/>
            <a:ext cx="5995752" cy="493526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Picture Placeholder 31">
            <a:extLst>
              <a:ext uri="{FF2B5EF4-FFF2-40B4-BE49-F238E27FC236}">
                <a16:creationId xmlns:a16="http://schemas.microsoft.com/office/drawing/2014/main" id="{26E0B4AE-3913-4C0F-A569-2625D1C2CEE1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1127143">
            <a:off x="7230274" y="2275124"/>
            <a:ext cx="5097572" cy="2882167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r>
              <a:rPr lang="en-US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7622D3-E2C3-498F-9799-B2CB374E63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25569" y="5636682"/>
            <a:ext cx="3947160" cy="646518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CCB4E4-C2B8-4505-B3B2-E7A16D1D597F}"/>
              </a:ext>
            </a:extLst>
          </p:cNvPr>
          <p:cNvSpPr txBox="1"/>
          <p:nvPr userDrawn="1"/>
        </p:nvSpPr>
        <p:spPr>
          <a:xfrm>
            <a:off x="6821714" y="2445657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B9D396-4FA5-4E05-AA33-A3B2F34FDFD0}"/>
              </a:ext>
            </a:extLst>
          </p:cNvPr>
          <p:cNvSpPr txBox="1"/>
          <p:nvPr userDrawn="1"/>
        </p:nvSpPr>
        <p:spPr>
          <a:xfrm>
            <a:off x="6778171" y="2685142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65075B-279A-49F7-9EF7-C440206021BF}"/>
              </a:ext>
            </a:extLst>
          </p:cNvPr>
          <p:cNvSpPr txBox="1"/>
          <p:nvPr userDrawn="1"/>
        </p:nvSpPr>
        <p:spPr>
          <a:xfrm>
            <a:off x="6778171" y="2685142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D69F34-0256-46BB-95B6-72F3160484E5}"/>
              </a:ext>
            </a:extLst>
          </p:cNvPr>
          <p:cNvSpPr txBox="1"/>
          <p:nvPr userDrawn="1"/>
        </p:nvSpPr>
        <p:spPr>
          <a:xfrm>
            <a:off x="5054535" y="-24384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5798462A-FDC9-4067-81E1-BA3C406CDC5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044" y="5886736"/>
            <a:ext cx="1735008" cy="3960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4" name="logo_blaa" hidden="1">
            <a:extLst>
              <a:ext uri="{FF2B5EF4-FFF2-40B4-BE49-F238E27FC236}">
                <a16:creationId xmlns:a16="http://schemas.microsoft.com/office/drawing/2014/main" id="{984D0382-8680-4AC5-A1F3-BCC57D08DFDA}"/>
              </a:ext>
            </a:extLst>
          </p:cNvPr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043" y="5886736"/>
            <a:ext cx="1735008" cy="396000"/>
          </a:xfrm>
          <a:prstGeom prst="rect">
            <a:avLst/>
          </a:prstGeom>
        </p:spPr>
      </p:pic>
      <p:pic>
        <p:nvPicPr>
          <p:cNvPr id="12" name="logo_hvit" hidden="1">
            <a:extLst>
              <a:ext uri="{FF2B5EF4-FFF2-40B4-BE49-F238E27FC236}">
                <a16:creationId xmlns:a16="http://schemas.microsoft.com/office/drawing/2014/main" id="{0C8EAEF1-2D65-45EE-A92F-3C2232FC3E05}"/>
              </a:ext>
            </a:extLst>
          </p:cNvPr>
          <p:cNvPicPr>
            <a:picLocks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043" y="5886736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572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3437 -0.14167 " pathEditMode="relative" ptsTypes="AA">
                                      <p:cBhvr>
                                        <p:cTn id="6" dur="2000" fill="hold"/>
                                        <p:tgtEl>
                                          <p:spTgt spid="2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3437 -0.14167 " pathEditMode="relative" ptsTypes="AA">
                                      <p:cBhvr>
                                        <p:cTn id="8" dur="20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1.85185E-6 L -0.03437 -0.14167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19" y="-7083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8789 0.17593 L 4.58333E-6 -1.48148E-6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284" y="-9051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7383 0.10393 L 0.24388 0.20069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03" y="4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3437 -0.14167 " pathEditMode="relative" ptsTypes="AA">
                      <p:cBhvr>
                        <p:cTn dur="2000" fill="hold"/>
                        <p:tgtEl>
                          <p:spTgt spid="2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3437 -0.14167 " pathEditMode="relative" ptsTypes="AA">
                      <p:cBhvr>
                        <p:cTn dur="2000" fill="hold"/>
                        <p:tgtEl>
                          <p:spTgt spid="2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  <p:bldP spid="24" grpId="0"/>
      <p:bldP spid="3" grpId="0" uiExpand="1" build="p" animBg="1">
        <p:tmplLst>
          <p:tmpl>
            <p:tnLst>
              <p:par>
                <p:cTn presetID="42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.08789 0.17593 L 4.58333E-6 -1.48148E-6 " pathEditMode="relative" rAng="0" ptsTypes="AA">
                      <p:cBhvr>
                        <p:cTn dur="2000" fill="hold"/>
                        <p:tgtEl>
                          <p:spTgt spid="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4284" y="-9051"/>
                    </p:animMotion>
                  </p:childTnLst>
                </p:cTn>
              </p:par>
            </p:tnLst>
          </p:tmpl>
          <p:tmpl lvl="1">
            <p:tnLst>
              <p:par>
                <p:cTn presetID="42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.17383 0.10393 L 0.24388 0.20069 " pathEditMode="relative" rAng="0" ptsTypes="AA">
                      <p:cBhvr>
                        <p:cTn dur="2000" fill="hold"/>
                        <p:tgtEl>
                          <p:spTgt spid="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3503" y="4838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C3D015-6959-4408-9BF2-878E984CDA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27625" y="0"/>
            <a:ext cx="7064375" cy="6858000"/>
          </a:xfrm>
          <a:solidFill>
            <a:srgbClr val="00103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4E92E13-E931-494C-96DF-4A2421B6FE9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4381497" y="4038600"/>
            <a:ext cx="7810497" cy="2819400"/>
          </a:xfrm>
          <a:custGeom>
            <a:avLst/>
            <a:gdLst>
              <a:gd name="connsiteX0" fmla="*/ 6007097 w 7810497"/>
              <a:gd name="connsiteY0" fmla="*/ 0 h 2819400"/>
              <a:gd name="connsiteX1" fmla="*/ 0 w 7810497"/>
              <a:gd name="connsiteY1" fmla="*/ 0 h 2819400"/>
              <a:gd name="connsiteX2" fmla="*/ 0 w 7810497"/>
              <a:gd name="connsiteY2" fmla="*/ 2819400 h 2819400"/>
              <a:gd name="connsiteX3" fmla="*/ 7810497 w 7810497"/>
              <a:gd name="connsiteY3" fmla="*/ 2819400 h 2819400"/>
              <a:gd name="connsiteX4" fmla="*/ 7810497 w 7810497"/>
              <a:gd name="connsiteY4" fmla="*/ 1803400 h 2819400"/>
              <a:gd name="connsiteX5" fmla="*/ 6007097 w 7810497"/>
              <a:gd name="connsiteY5" fmla="*/ 0 h 281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10497" h="2819400">
                <a:moveTo>
                  <a:pt x="6007097" y="0"/>
                </a:moveTo>
                <a:lnTo>
                  <a:pt x="0" y="0"/>
                </a:lnTo>
                <a:lnTo>
                  <a:pt x="0" y="2819400"/>
                </a:lnTo>
                <a:lnTo>
                  <a:pt x="7810497" y="2819400"/>
                </a:lnTo>
                <a:lnTo>
                  <a:pt x="7810497" y="1803400"/>
                </a:lnTo>
                <a:cubicBezTo>
                  <a:pt x="7810497" y="807410"/>
                  <a:pt x="7003087" y="0"/>
                  <a:pt x="6007097" y="0"/>
                </a:cubicBezTo>
                <a:close/>
              </a:path>
            </a:pathLst>
          </a:custGeom>
          <a:solidFill>
            <a:srgbClr val="C3C2DC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ACC01-A937-4271-A7CA-BDC2D6D394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382641" y="5041029"/>
            <a:ext cx="1766888" cy="986907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82641" y="4611460"/>
            <a:ext cx="1766888" cy="338741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3828245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9EE6D194-429B-4CF9-A25A-D35D88FBF5E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15913" y="909186"/>
            <a:ext cx="3829036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77A88A4F-5ACA-4E7F-97B6-8D5BFDDB038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424801" y="5041029"/>
            <a:ext cx="1766888" cy="986907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199A3D1D-B068-40B9-94DE-750DA43F6A1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424801" y="4611460"/>
            <a:ext cx="1766888" cy="338741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AF12E05B-349E-468D-89CE-BFB1E0530AB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28236" y="5041029"/>
            <a:ext cx="1766888" cy="986907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B8ED6D48-CFEA-4D2F-80DC-CBDA51FDD93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428236" y="4611460"/>
            <a:ext cx="1766888" cy="338741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F91AA2C9-234E-4CCE-ABF3-86C69A1A96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6024" y="2249281"/>
            <a:ext cx="3438925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300">
                <a:solidFill>
                  <a:srgbClr val="00207D"/>
                </a:solidFill>
              </a:defRPr>
            </a:lvl2pPr>
            <a:lvl3pPr>
              <a:defRPr sz="1200">
                <a:solidFill>
                  <a:srgbClr val="00207D"/>
                </a:solidFill>
              </a:defRPr>
            </a:lvl3pPr>
            <a:lvl4pPr>
              <a:defRPr sz="1100">
                <a:solidFill>
                  <a:srgbClr val="00207D"/>
                </a:solidFill>
              </a:defRPr>
            </a:lvl4pPr>
            <a:lvl5pPr>
              <a:defRPr sz="10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C0D465B5-E891-45FD-B2CD-F7832BDB643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B652CA5B-091A-4E89-9203-486E5C39F485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A2D3D61E-049A-48E0-9986-95DEF9C8F2B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background" hidden="1">
            <a:extLst>
              <a:ext uri="{FF2B5EF4-FFF2-40B4-BE49-F238E27FC236}">
                <a16:creationId xmlns:a16="http://schemas.microsoft.com/office/drawing/2014/main" id="{122DD4A3-2094-47A6-87DB-03D72FCE8FB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9" name="addin_logo" hidden="1">
            <a:extLst>
              <a:ext uri="{FF2B5EF4-FFF2-40B4-BE49-F238E27FC236}">
                <a16:creationId xmlns:a16="http://schemas.microsoft.com/office/drawing/2014/main" id="{F2DDBE38-7E8E-4049-B6C7-D0729F6C696F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0" name="addin_title" hidden="1">
            <a:extLst>
              <a:ext uri="{FF2B5EF4-FFF2-40B4-BE49-F238E27FC236}">
                <a16:creationId xmlns:a16="http://schemas.microsoft.com/office/drawing/2014/main" id="{87107F74-6EEF-4C55-B579-31D86AEE85F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1" name="addin_text" hidden="1">
            <a:extLst>
              <a:ext uri="{FF2B5EF4-FFF2-40B4-BE49-F238E27FC236}">
                <a16:creationId xmlns:a16="http://schemas.microsoft.com/office/drawing/2014/main" id="{1CC0094A-8549-4644-B35B-BC8DAAA1AAB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A4670E69-80B5-4E22-8585-40E8404B9485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535E41EB-764A-462B-9C63-7AA81FAEEF81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57485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4 deler)">
    <p:bg>
      <p:bgPr>
        <a:solidFill>
          <a:srgbClr val="CECE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C455073B-9561-4C18-AE0B-2DBE98389CC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096000" y="1720850"/>
            <a:ext cx="6096000" cy="5137150"/>
          </a:xfr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6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6AEB2CF0-BD35-47EE-A838-C4F6293D9FC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7429500" y="-1333500"/>
            <a:ext cx="3429000" cy="6096000"/>
          </a:xfrm>
          <a:prstGeom prst="round1Rect">
            <a:avLst>
              <a:gd name="adj" fmla="val 38889"/>
            </a:avLst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5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DC774C79-16BF-402F-AB0F-4B3DDB76E4B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0" y="3429000"/>
            <a:ext cx="6096000" cy="3429000"/>
          </a:xfrm>
          <a:solidFill>
            <a:srgbClr val="0061A8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30D4A27-CB15-4024-A7B2-B0A0FBB527D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0" y="0"/>
            <a:ext cx="6096000" cy="3429000"/>
          </a:xfrm>
          <a:solidFill>
            <a:srgbClr val="FFF9F5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11600" y="3772800"/>
            <a:ext cx="5565974" cy="338741"/>
          </a:xfrm>
          <a:solidFill>
            <a:srgbClr val="0000FE">
              <a:alpha val="0"/>
            </a:srgbClr>
          </a:solidFill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3253810" cy="553998"/>
          </a:xfrm>
          <a:solidFill>
            <a:srgbClr val="0000FE">
              <a:alpha val="0"/>
            </a:srgbClr>
          </a:solidFill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9EE6D194-429B-4CF9-A25A-D35D88FBF5E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15913" y="909186"/>
            <a:ext cx="3253810" cy="430887"/>
          </a:xfrm>
          <a:solidFill>
            <a:srgbClr val="0000FE">
              <a:alpha val="0"/>
            </a:srgbClr>
          </a:solidFill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62251966-DC51-42A4-9D10-7A6D8F3A70A2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3579248" y="1073070"/>
            <a:ext cx="2032424" cy="2013995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8D8D130-C5B1-450A-822A-5F08E950A7F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29600" y="1846800"/>
            <a:ext cx="2713758" cy="1241425"/>
          </a:xfrm>
        </p:spPr>
        <p:txBody>
          <a:bodyPr/>
          <a:lstStyle>
            <a:lvl1pPr marL="0" indent="0">
              <a:buNone/>
              <a:defRPr sz="10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DAB914C2-BF35-4A59-AC94-D43C6D9E086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5913" y="3772800"/>
            <a:ext cx="4660900" cy="338741"/>
          </a:xfrm>
        </p:spPr>
        <p:txBody>
          <a:bodyPr lIns="79200" anchor="b"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45B7438E-AE75-4FF7-BC5E-B7C2C0CE59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A4BDD34D-E03D-4646-867F-0721BEFA75DC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firefarg1, firefarg2</a:t>
            </a:r>
          </a:p>
        </p:txBody>
      </p:sp>
      <p:sp>
        <p:nvSpPr>
          <p:cNvPr id="29" name="addin_colorbox" hidden="1">
            <a:extLst>
              <a:ext uri="{FF2B5EF4-FFF2-40B4-BE49-F238E27FC236}">
                <a16:creationId xmlns:a16="http://schemas.microsoft.com/office/drawing/2014/main" id="{9E04BAB5-E565-4580-A95D-A8DBBBA206C7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0" name="addin_background" hidden="1">
            <a:extLst>
              <a:ext uri="{FF2B5EF4-FFF2-40B4-BE49-F238E27FC236}">
                <a16:creationId xmlns:a16="http://schemas.microsoft.com/office/drawing/2014/main" id="{20312245-3B2C-45E0-A41F-9880DECB8AA3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31" name="addin_logo" hidden="1">
            <a:extLst>
              <a:ext uri="{FF2B5EF4-FFF2-40B4-BE49-F238E27FC236}">
                <a16:creationId xmlns:a16="http://schemas.microsoft.com/office/drawing/2014/main" id="{0555D013-45BB-4434-BCD4-CA50C4FDF50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2" name="addin_title" hidden="1">
            <a:extLst>
              <a:ext uri="{FF2B5EF4-FFF2-40B4-BE49-F238E27FC236}">
                <a16:creationId xmlns:a16="http://schemas.microsoft.com/office/drawing/2014/main" id="{3293E258-4BAB-4E3E-B382-2BF51368333C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3" name="addin_text" hidden="1">
            <a:extLst>
              <a:ext uri="{FF2B5EF4-FFF2-40B4-BE49-F238E27FC236}">
                <a16:creationId xmlns:a16="http://schemas.microsoft.com/office/drawing/2014/main" id="{F306448A-BC82-40F1-B842-B6DB578BF4F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4" name="addin_spestext" hidden="1">
            <a:extLst>
              <a:ext uri="{FF2B5EF4-FFF2-40B4-BE49-F238E27FC236}">
                <a16:creationId xmlns:a16="http://schemas.microsoft.com/office/drawing/2014/main" id="{28414EB4-7508-47EB-8178-87FDD9A0F47B}"/>
              </a:ext>
            </a:extLst>
          </p:cNvPr>
          <p:cNvSpPr/>
          <p:nvPr userDrawn="1"/>
        </p:nvSpPr>
        <p:spPr>
          <a:xfrm>
            <a:off x="2499793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spestext</a:t>
            </a:r>
            <a:endParaRPr lang="nb-NO" dirty="0"/>
          </a:p>
        </p:txBody>
      </p:sp>
      <p:sp>
        <p:nvSpPr>
          <p:cNvPr id="36" name="Rectangle 35" hidden="1">
            <a:extLst>
              <a:ext uri="{FF2B5EF4-FFF2-40B4-BE49-F238E27FC236}">
                <a16:creationId xmlns:a16="http://schemas.microsoft.com/office/drawing/2014/main" id="{E3844F34-BF24-4DE8-8F36-35D26CD26D68}"/>
              </a:ext>
            </a:extLst>
          </p:cNvPr>
          <p:cNvSpPr/>
          <p:nvPr userDrawn="1"/>
        </p:nvSpPr>
        <p:spPr>
          <a:xfrm>
            <a:off x="-598538" y="753"/>
            <a:ext cx="540068" cy="540068"/>
          </a:xfrm>
          <a:prstGeom prst="rect">
            <a:avLst/>
          </a:prstGeom>
          <a:solidFill>
            <a:srgbClr val="C3C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8CBF3C7C-55B9-484F-8323-BAF8BDA704CE}"/>
              </a:ext>
            </a:extLst>
          </p:cNvPr>
          <p:cNvSpPr/>
          <p:nvPr userDrawn="1"/>
        </p:nvSpPr>
        <p:spPr>
          <a:xfrm>
            <a:off x="-598538" y="275482"/>
            <a:ext cx="266019" cy="26533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 hidden="1">
            <a:extLst>
              <a:ext uri="{FF2B5EF4-FFF2-40B4-BE49-F238E27FC236}">
                <a16:creationId xmlns:a16="http://schemas.microsoft.com/office/drawing/2014/main" id="{106FD54A-FD2A-49F0-83FB-443C74F64F15}"/>
              </a:ext>
            </a:extLst>
          </p:cNvPr>
          <p:cNvSpPr/>
          <p:nvPr userDrawn="1"/>
        </p:nvSpPr>
        <p:spPr>
          <a:xfrm>
            <a:off x="-332519" y="275481"/>
            <a:ext cx="274049" cy="265338"/>
          </a:xfrm>
          <a:prstGeom prst="rect">
            <a:avLst/>
          </a:prstGeom>
          <a:solidFill>
            <a:srgbClr val="FFF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8FD9630B-D6BC-493A-BBE8-569F372E8290}"/>
              </a:ext>
            </a:extLst>
          </p:cNvPr>
          <p:cNvSpPr/>
          <p:nvPr userDrawn="1"/>
        </p:nvSpPr>
        <p:spPr>
          <a:xfrm>
            <a:off x="-332519" y="753"/>
            <a:ext cx="274049" cy="274726"/>
          </a:xfrm>
          <a:prstGeom prst="rect">
            <a:avLst/>
          </a:prstGeom>
          <a:solidFill>
            <a:srgbClr val="005A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id="{31A0D69A-9581-4EBF-B323-5DB0479996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5913" y="4194000"/>
            <a:ext cx="4660899" cy="131027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1" name="Text Placeholder 1">
            <a:extLst>
              <a:ext uri="{FF2B5EF4-FFF2-40B4-BE49-F238E27FC236}">
                <a16:creationId xmlns:a16="http://schemas.microsoft.com/office/drawing/2014/main" id="{EC8A8337-24E7-481A-8588-D5597050FC3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411600" y="4194000"/>
            <a:ext cx="5565974" cy="78556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2" name="Text Placeholder 1">
            <a:extLst>
              <a:ext uri="{FF2B5EF4-FFF2-40B4-BE49-F238E27FC236}">
                <a16:creationId xmlns:a16="http://schemas.microsoft.com/office/drawing/2014/main" id="{5F335A74-0045-4431-93C5-38BA94BA922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291600" y="910800"/>
            <a:ext cx="2685974" cy="48487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91A19E68-7550-4699-BF8C-73BB3FB9CA73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BBDA1B5D-21E3-44DB-8419-A89BE8C7DA93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071363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4 deler, med tekst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2F04CD96-D11A-4B44-912B-ADD88AA349C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20108" y="2411834"/>
            <a:ext cx="4077730" cy="4446166"/>
          </a:xfrm>
          <a:solidFill>
            <a:srgbClr val="FFF9F5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6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700E0BD-BA45-4A7E-A9CC-E715CDB8E7C2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077730" y="0"/>
            <a:ext cx="4036542" cy="4316164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CE894AE-F5A2-4709-A208-E529BF8713F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4400294" y="3144021"/>
            <a:ext cx="3397251" cy="4030705"/>
          </a:xfrm>
          <a:custGeom>
            <a:avLst/>
            <a:gdLst>
              <a:gd name="connsiteX0" fmla="*/ 0 w 3429000"/>
              <a:gd name="connsiteY0" fmla="*/ 4051300 h 4051300"/>
              <a:gd name="connsiteX1" fmla="*/ 0 w 3429000"/>
              <a:gd name="connsiteY1" fmla="*/ 0 h 4051300"/>
              <a:gd name="connsiteX2" fmla="*/ 2503239 w 3429000"/>
              <a:gd name="connsiteY2" fmla="*/ 0 h 4051300"/>
              <a:gd name="connsiteX3" fmla="*/ 3429000 w 3429000"/>
              <a:gd name="connsiteY3" fmla="*/ 925761 h 4051300"/>
              <a:gd name="connsiteX4" fmla="*/ 3429000 w 3429000"/>
              <a:gd name="connsiteY4" fmla="*/ 4051300 h 405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4051300">
                <a:moveTo>
                  <a:pt x="0" y="4051300"/>
                </a:moveTo>
                <a:lnTo>
                  <a:pt x="0" y="0"/>
                </a:lnTo>
                <a:lnTo>
                  <a:pt x="2503239" y="0"/>
                </a:lnTo>
                <a:cubicBezTo>
                  <a:pt x="3014523" y="0"/>
                  <a:pt x="3429000" y="414477"/>
                  <a:pt x="3429000" y="925761"/>
                </a:cubicBezTo>
                <a:lnTo>
                  <a:pt x="3429000" y="4051300"/>
                </a:lnTo>
                <a:close/>
              </a:path>
            </a:pathLst>
          </a:custGeom>
          <a:solidFill>
            <a:srgbClr val="00207D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460C567-3FD3-4899-98EB-BA303D6775D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422761" y="-308490"/>
            <a:ext cx="3460748" cy="4077730"/>
          </a:xfrm>
          <a:custGeom>
            <a:avLst/>
            <a:gdLst>
              <a:gd name="connsiteX0" fmla="*/ 0 w 3429000"/>
              <a:gd name="connsiteY0" fmla="*/ 4051300 h 4051300"/>
              <a:gd name="connsiteX1" fmla="*/ 0 w 3429000"/>
              <a:gd name="connsiteY1" fmla="*/ 0 h 4051300"/>
              <a:gd name="connsiteX2" fmla="*/ 2503239 w 3429000"/>
              <a:gd name="connsiteY2" fmla="*/ 0 h 4051300"/>
              <a:gd name="connsiteX3" fmla="*/ 3429000 w 3429000"/>
              <a:gd name="connsiteY3" fmla="*/ 925761 h 4051300"/>
              <a:gd name="connsiteX4" fmla="*/ 3429000 w 3429000"/>
              <a:gd name="connsiteY4" fmla="*/ 4051300 h 405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4051300">
                <a:moveTo>
                  <a:pt x="0" y="4051300"/>
                </a:moveTo>
                <a:lnTo>
                  <a:pt x="0" y="0"/>
                </a:lnTo>
                <a:lnTo>
                  <a:pt x="2503239" y="0"/>
                </a:lnTo>
                <a:cubicBezTo>
                  <a:pt x="3014523" y="0"/>
                  <a:pt x="3429000" y="414477"/>
                  <a:pt x="3429000" y="925761"/>
                </a:cubicBezTo>
                <a:lnTo>
                  <a:pt x="3429000" y="4051300"/>
                </a:lnTo>
                <a:close/>
              </a:path>
            </a:pathLst>
          </a:custGeom>
          <a:solidFill>
            <a:srgbClr val="CECDE7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5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DC774C79-16BF-402F-AB0F-4B3DDB76E4B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0" y="0"/>
            <a:ext cx="4083566" cy="6858000"/>
          </a:xfrm>
          <a:solidFill>
            <a:srgbClr val="0061A8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06959" y="4114895"/>
            <a:ext cx="3080679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32538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62251966-DC51-42A4-9D10-7A6D8F3A70A2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9182117" y="4069602"/>
            <a:ext cx="2032424" cy="2013995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DAB914C2-BF35-4A59-AC94-D43C6D9E086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5913" y="1228528"/>
            <a:ext cx="3253812" cy="338741"/>
          </a:xfrm>
        </p:spPr>
        <p:txBody>
          <a:bodyPr lIns="79200" anchor="b"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D7576959-282F-48A7-93E6-CDC621CBBB5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72509" y="167205"/>
            <a:ext cx="3505064" cy="338741"/>
          </a:xfrm>
          <a:solidFill>
            <a:srgbClr val="0000FE">
              <a:alpha val="0"/>
            </a:srgbClr>
          </a:solidFill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277FC5C6-3FFB-4293-812F-50F87293B3A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DE7A0B9B-A159-4769-AA7E-43F8A26DEAA5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firefarg3, firefarg4</a:t>
            </a:r>
          </a:p>
        </p:txBody>
      </p:sp>
      <p:sp>
        <p:nvSpPr>
          <p:cNvPr id="28" name="addin_colorbox" hidden="1">
            <a:extLst>
              <a:ext uri="{FF2B5EF4-FFF2-40B4-BE49-F238E27FC236}">
                <a16:creationId xmlns:a16="http://schemas.microsoft.com/office/drawing/2014/main" id="{A723CA78-23AE-48CA-B30D-BC65F7A9A3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background" hidden="1">
            <a:extLst>
              <a:ext uri="{FF2B5EF4-FFF2-40B4-BE49-F238E27FC236}">
                <a16:creationId xmlns:a16="http://schemas.microsoft.com/office/drawing/2014/main" id="{FDB0DF5E-1B59-4D22-8E8C-0E8E2795D31D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CC87C9FE-39EB-4A6D-868B-7B8E1B4B3B1C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3" name="addin_title" hidden="1">
            <a:extLst>
              <a:ext uri="{FF2B5EF4-FFF2-40B4-BE49-F238E27FC236}">
                <a16:creationId xmlns:a16="http://schemas.microsoft.com/office/drawing/2014/main" id="{2147B6EF-8E5B-42EE-B44C-8A50E0911D9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4" name="addin_text" hidden="1">
            <a:extLst>
              <a:ext uri="{FF2B5EF4-FFF2-40B4-BE49-F238E27FC236}">
                <a16:creationId xmlns:a16="http://schemas.microsoft.com/office/drawing/2014/main" id="{F117A96B-03C2-43F0-BDD8-8161858E432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6" name="addin_image" hidden="1">
            <a:extLst>
              <a:ext uri="{FF2B5EF4-FFF2-40B4-BE49-F238E27FC236}">
                <a16:creationId xmlns:a16="http://schemas.microsoft.com/office/drawing/2014/main" id="{870B3DFC-356E-466E-A04C-39E936E6E326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6D39FA83-C4E7-4637-ABFB-525099A04B9B}"/>
              </a:ext>
            </a:extLst>
          </p:cNvPr>
          <p:cNvSpPr/>
          <p:nvPr userDrawn="1"/>
        </p:nvSpPr>
        <p:spPr>
          <a:xfrm>
            <a:off x="-598538" y="753"/>
            <a:ext cx="540068" cy="540068"/>
          </a:xfrm>
          <a:prstGeom prst="rect">
            <a:avLst/>
          </a:prstGeom>
          <a:solidFill>
            <a:srgbClr val="C3C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 hidden="1">
            <a:extLst>
              <a:ext uri="{FF2B5EF4-FFF2-40B4-BE49-F238E27FC236}">
                <a16:creationId xmlns:a16="http://schemas.microsoft.com/office/drawing/2014/main" id="{A7530B15-9197-446D-BAD0-B354241C94F9}"/>
              </a:ext>
            </a:extLst>
          </p:cNvPr>
          <p:cNvSpPr/>
          <p:nvPr userDrawn="1"/>
        </p:nvSpPr>
        <p:spPr>
          <a:xfrm>
            <a:off x="-598538" y="275482"/>
            <a:ext cx="266019" cy="26533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12CFCD8F-01FE-4654-871C-7FF1504A9466}"/>
              </a:ext>
            </a:extLst>
          </p:cNvPr>
          <p:cNvSpPr/>
          <p:nvPr userDrawn="1"/>
        </p:nvSpPr>
        <p:spPr>
          <a:xfrm>
            <a:off x="-332519" y="275481"/>
            <a:ext cx="274049" cy="265338"/>
          </a:xfrm>
          <a:prstGeom prst="rect">
            <a:avLst/>
          </a:prstGeom>
          <a:solidFill>
            <a:srgbClr val="FFF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73D33CA6-FE73-4DD0-A18B-77AA905F72DD}"/>
              </a:ext>
            </a:extLst>
          </p:cNvPr>
          <p:cNvSpPr/>
          <p:nvPr userDrawn="1"/>
        </p:nvSpPr>
        <p:spPr>
          <a:xfrm>
            <a:off x="-332519" y="753"/>
            <a:ext cx="274049" cy="274726"/>
          </a:xfrm>
          <a:prstGeom prst="rect">
            <a:avLst/>
          </a:prstGeom>
          <a:solidFill>
            <a:srgbClr val="005A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1">
            <a:extLst>
              <a:ext uri="{FF2B5EF4-FFF2-40B4-BE49-F238E27FC236}">
                <a16:creationId xmlns:a16="http://schemas.microsoft.com/office/drawing/2014/main" id="{2CE2E79D-4BE6-4DCF-BE36-0B43C13C476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5913" y="1695722"/>
            <a:ext cx="3253811" cy="131027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2" name="Text Placeholder 1">
            <a:extLst>
              <a:ext uri="{FF2B5EF4-FFF2-40B4-BE49-F238E27FC236}">
                <a16:creationId xmlns:a16="http://schemas.microsoft.com/office/drawing/2014/main" id="{8AE6BBE8-A093-48FC-8519-587B0A829EB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8472510" y="603919"/>
            <a:ext cx="3505064" cy="180791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3" name="Text Placeholder 1">
            <a:extLst>
              <a:ext uri="{FF2B5EF4-FFF2-40B4-BE49-F238E27FC236}">
                <a16:creationId xmlns:a16="http://schemas.microsoft.com/office/drawing/2014/main" id="{08CD107A-6138-4458-8580-DDA462984F8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706960" y="4551609"/>
            <a:ext cx="3080680" cy="180791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DBF42D59-F0A5-42D6-BB8C-BABFC34A97EB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711E2053-6372-41BC-88BA-F5A961C78CF7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0245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CE894AE-F5A2-4709-A208-E529BF8713F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5270105" y="-63898"/>
            <a:ext cx="4292600" cy="9551195"/>
          </a:xfrm>
          <a:prstGeom prst="round1Rect">
            <a:avLst>
              <a:gd name="adj" fmla="val 43590"/>
            </a:avLst>
          </a:prstGeom>
          <a:solidFill>
            <a:srgbClr val="00207D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273029" y="6347818"/>
            <a:ext cx="1846659" cy="153888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73029" y="6112838"/>
            <a:ext cx="1846659" cy="153888"/>
          </a:xfrm>
          <a:solidFill>
            <a:srgbClr val="0000FF">
              <a:alpha val="0"/>
            </a:srgbClr>
          </a:solidFill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4328" y="407521"/>
            <a:ext cx="6746085" cy="1284754"/>
          </a:xfrm>
        </p:spPr>
        <p:txBody>
          <a:bodyPr anchor="ctr"/>
          <a:lstStyle>
            <a:lvl1pPr>
              <a:lnSpc>
                <a:spcPct val="90000"/>
              </a:lnSpc>
              <a:defRPr sz="10000"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68846015-2A3B-446D-A0B8-D29C61C01F9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263755" y="6112838"/>
            <a:ext cx="1846659" cy="153888"/>
          </a:xfrm>
          <a:solidFill>
            <a:srgbClr val="0000FF">
              <a:alpha val="0"/>
            </a:srgbClr>
          </a:solidFill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B9BD4B98-07E6-4F80-AF51-2316CD968B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63755" y="6347818"/>
            <a:ext cx="1846659" cy="153888"/>
          </a:xfrm>
          <a:prstGeom prst="rect">
            <a:avLst/>
          </a:prstGeom>
          <a:solidFill>
            <a:srgbClr val="0000FF">
              <a:alpha val="0"/>
            </a:srgbClr>
          </a:solidFill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9BF6C8A6-65BE-42D3-BEB6-7005D686B56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 rot="10800000">
            <a:off x="7561943" y="0"/>
            <a:ext cx="4630057" cy="6858001"/>
          </a:xfrm>
          <a:prstGeom prst="round1Rect">
            <a:avLst>
              <a:gd name="adj" fmla="val 47979"/>
            </a:avLst>
          </a:prstGeom>
          <a:solidFill>
            <a:srgbClr val="00579E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96F1FE8-28E4-4C92-9D93-7B8DCD670978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1BD38ED4-B725-4AAB-9487-255EBB7049C2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ste1, siste2, siste3, siste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6F4D908F-B453-4F18-BE82-ACB5B2DA82B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FC09F4C-2DCB-4C69-9F83-FBEF8B9EA1E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052BDCAC-5BC9-42C5-8C89-4398E2F45DAB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305CCF73-19C7-4C9B-893D-1D0A7E0B1B9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03A08D40-C143-4FDB-834C-4EDCBBAB098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spestext" hidden="1">
            <a:extLst>
              <a:ext uri="{FF2B5EF4-FFF2-40B4-BE49-F238E27FC236}">
                <a16:creationId xmlns:a16="http://schemas.microsoft.com/office/drawing/2014/main" id="{282BCBC8-4FEA-4F9A-A003-2C640A6FBC6E}"/>
              </a:ext>
            </a:extLst>
          </p:cNvPr>
          <p:cNvSpPr/>
          <p:nvPr userDrawn="1"/>
        </p:nvSpPr>
        <p:spPr>
          <a:xfrm>
            <a:off x="2499793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spestext</a:t>
            </a:r>
            <a:endParaRPr lang="nb-NO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157286-2074-4AB7-850D-1D7DDD1937DB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28608" y="6115219"/>
            <a:ext cx="1640683" cy="46166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z="1000" dirty="0">
                <a:solidFill>
                  <a:srgbClr val="00207D"/>
                </a:solidFill>
              </a:rPr>
              <a:t>Sparebank1.no</a:t>
            </a:r>
          </a:p>
          <a:p>
            <a:r>
              <a:rPr lang="en-US" sz="1000" dirty="0">
                <a:solidFill>
                  <a:srgbClr val="00207D"/>
                </a:solidFill>
              </a:rPr>
              <a:t>Facebook.com/sb1.no</a:t>
            </a:r>
          </a:p>
          <a:p>
            <a:r>
              <a:rPr lang="en-US" sz="1000" dirty="0">
                <a:solidFill>
                  <a:srgbClr val="00207D"/>
                </a:solidFill>
              </a:rPr>
              <a:t>@sb1ostlandet</a:t>
            </a:r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2DB8AE09-CD4A-45F7-950C-8FF439D201A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4" name="logo_blaa" hidden="1">
            <a:extLst>
              <a:ext uri="{FF2B5EF4-FFF2-40B4-BE49-F238E27FC236}">
                <a16:creationId xmlns:a16="http://schemas.microsoft.com/office/drawing/2014/main" id="{9B0A0F92-CFD1-43FB-A904-EDDF73757281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4EFA5080-DA3E-48F3-AE4E-6B8A5FFBE591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35790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FD75FC5D-6F55-45E1-BA2B-4AD0149F66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0B5EFC96-E4EE-4FE8-B92E-AF05CED0CD1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93031825-807F-472B-AF88-ED6DD1CD310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D84F1E6E-F1BA-4219-A7A6-F50B1C2A1EE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background" hidden="1">
            <a:extLst>
              <a:ext uri="{FF2B5EF4-FFF2-40B4-BE49-F238E27FC236}">
                <a16:creationId xmlns:a16="http://schemas.microsoft.com/office/drawing/2014/main" id="{DC5899DE-05C4-455E-9646-5E8813CF7104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2" name="addin_logo" hidden="1">
            <a:extLst>
              <a:ext uri="{FF2B5EF4-FFF2-40B4-BE49-F238E27FC236}">
                <a16:creationId xmlns:a16="http://schemas.microsoft.com/office/drawing/2014/main" id="{BACC81DC-258C-49C1-8853-1FE54172C6A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087211ED-582A-466E-942B-54ECB00D05C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81C5F396-DEF8-49C6-8C44-EC521A266BB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BB78D4CA-637C-4477-BB8E-A7ECD33F38DA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6D0BF25A-5A8D-48DE-AE1A-E9F9953D6C93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4282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stor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F8C82DF-AABB-4910-AAF7-401C50AD3C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607BA65C-409C-495A-A826-A9EC045259F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935AD07-038A-4101-8144-4B09CAED498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D357C967-5FB7-49AB-920C-1F53E57063A1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80019DA8-1266-4502-94C3-01CC09A2BD1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AA14CF9A-9970-43D9-92B0-5A729151571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E05A82BB-796B-4BD1-B6FA-858F3648C4E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FC4AA29A-0515-470D-9A65-B35D1360972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16840" y="1695769"/>
            <a:ext cx="10553558" cy="4335803"/>
          </a:xfrm>
          <a:prstGeom prst="rect">
            <a:avLst/>
          </a:prstGeom>
        </p:spPr>
        <p:txBody>
          <a:bodyPr lIns="0" tIns="0" rIns="0" bIns="0"/>
          <a:lstStyle>
            <a:lvl1pPr marL="2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 i="0" u="none" cap="none">
                <a:solidFill>
                  <a:srgbClr val="00207D"/>
                </a:solidFill>
                <a:latin typeface="+mn-lt"/>
              </a:defRPr>
            </a:lvl1pPr>
            <a:lvl2pPr marL="7452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207D"/>
                </a:solidFill>
                <a:latin typeface="+mn-lt"/>
              </a:defRPr>
            </a:lvl2pPr>
            <a:lvl3pPr marL="114300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100" b="0" i="0" u="none" cap="none">
                <a:solidFill>
                  <a:srgbClr val="00207D"/>
                </a:solidFill>
                <a:latin typeface="+mn-lt"/>
              </a:defRPr>
            </a:lvl3pPr>
            <a:lvl4pPr marL="163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000" b="0" i="0" u="none" cap="none">
                <a:solidFill>
                  <a:srgbClr val="00207D"/>
                </a:solidFill>
                <a:latin typeface="+mn-lt"/>
              </a:defRPr>
            </a:lvl4pPr>
            <a:lvl5pPr marL="20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900" b="0" i="0" u="none" cap="none">
                <a:solidFill>
                  <a:srgbClr val="00207D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40383463-27AC-390C-DBE1-AB332895A0A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1" name="logo_hvit" hidden="1">
            <a:extLst>
              <a:ext uri="{FF2B5EF4-FFF2-40B4-BE49-F238E27FC236}">
                <a16:creationId xmlns:a16="http://schemas.microsoft.com/office/drawing/2014/main" id="{09E2DDAB-39B1-43FE-902D-ABAD58C2FDAE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73638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933626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H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10B15B95-7E4F-49BD-86F8-CD48FDE599A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7" name="addin_colorbox" hidden="1">
            <a:extLst>
              <a:ext uri="{FF2B5EF4-FFF2-40B4-BE49-F238E27FC236}">
                <a16:creationId xmlns:a16="http://schemas.microsoft.com/office/drawing/2014/main" id="{60F511CE-520D-4D58-978B-A742962CBB1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8309DFEF-9575-4318-B437-CBFF2E4AF83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9" name="addin_logo" hidden="1">
            <a:extLst>
              <a:ext uri="{FF2B5EF4-FFF2-40B4-BE49-F238E27FC236}">
                <a16:creationId xmlns:a16="http://schemas.microsoft.com/office/drawing/2014/main" id="{67036A9A-33C9-40AC-910B-E05856E9B22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09D6E0DE-92FA-4CF9-95A6-8B562FF54A9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CCFE1FC6-4BD8-45F8-B934-22BCC395D00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6A144EF-35F3-4471-82EB-B8135768E0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E7F2D84C-0E2C-4F1C-9709-B4BB4BB2F15A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15" name="logo_hvit" hidden="1">
            <a:extLst>
              <a:ext uri="{FF2B5EF4-FFF2-40B4-BE49-F238E27FC236}">
                <a16:creationId xmlns:a16="http://schemas.microsoft.com/office/drawing/2014/main" id="{04F5BBD6-E79D-4AD6-829F-CAAA97E4570D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37373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Levende bakgrunn 1" descr="Levende bakgrunn 1">
            <a:hlinkClick r:id="" action="ppaction://media"/>
            <a:extLst>
              <a:ext uri="{FF2B5EF4-FFF2-40B4-BE49-F238E27FC236}">
                <a16:creationId xmlns:a16="http://schemas.microsoft.com/office/drawing/2014/main" id="{902AFA99-DB3C-4EA2-8EB5-150A887A506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41092" y="6245941"/>
            <a:ext cx="1735008" cy="396000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BDB705D4-301E-4A9A-B0CA-85132C564A97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0FE8DC82-6011-4958-B6CB-A0BE1CFE4ACC}"/>
              </a:ext>
            </a:extLst>
          </p:cNvPr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43F7EF5B-B69B-41A2-A31F-705DF0DB6F5D}"/>
              </a:ext>
            </a:extLst>
          </p:cNvPr>
          <p:cNvPicPr>
            <a:picLocks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2455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37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4"/>
                  </p:tgtEl>
                </p:cond>
              </p:nextCondLst>
            </p:seq>
          </p:childTnLst>
        </p:cTn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Levende bakgrunn 3_loop" descr="Levende bakgrunn 3_loop">
            <a:hlinkClick r:id="" action="ppaction://media"/>
            <a:extLst>
              <a:ext uri="{FF2B5EF4-FFF2-40B4-BE49-F238E27FC236}">
                <a16:creationId xmlns:a16="http://schemas.microsoft.com/office/drawing/2014/main" id="{172DB947-6D78-4E6D-8CC2-57FA8919CB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41092" y="6245941"/>
            <a:ext cx="1735008" cy="396000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5296276-6E45-4A1A-9B25-2A129A7D0E0C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4" name="logo_blaa" hidden="1">
            <a:extLst>
              <a:ext uri="{FF2B5EF4-FFF2-40B4-BE49-F238E27FC236}">
                <a16:creationId xmlns:a16="http://schemas.microsoft.com/office/drawing/2014/main" id="{E7D17E2D-0C32-46E3-BE67-9E3CED751C95}"/>
              </a:ext>
            </a:extLst>
          </p:cNvPr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1E6A3838-E812-4BBA-8FFB-4E87543C5B4A}"/>
              </a:ext>
            </a:extLst>
          </p:cNvPr>
          <p:cNvPicPr>
            <a:picLocks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4005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2042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41092" y="6245941"/>
            <a:ext cx="1735008" cy="3960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5296276-6E45-4A1A-9B25-2A129A7D0E0C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3" name="Animasjon_Én klar tale_Small">
            <a:hlinkClick r:id="" action="ppaction://media"/>
            <a:extLst>
              <a:ext uri="{FF2B5EF4-FFF2-40B4-BE49-F238E27FC236}">
                <a16:creationId xmlns:a16="http://schemas.microsoft.com/office/drawing/2014/main" id="{C4E7F5B9-7211-4D5E-9660-E42C89413EBE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logo_blaa" hidden="1">
            <a:extLst>
              <a:ext uri="{FF2B5EF4-FFF2-40B4-BE49-F238E27FC236}">
                <a16:creationId xmlns:a16="http://schemas.microsoft.com/office/drawing/2014/main" id="{8D4C2EBB-45AF-4766-8D7E-D81BA0935EC0}"/>
              </a:ext>
            </a:extLst>
          </p:cNvPr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7" name="logo_hvit" hidden="1">
            <a:extLst>
              <a:ext uri="{FF2B5EF4-FFF2-40B4-BE49-F238E27FC236}">
                <a16:creationId xmlns:a16="http://schemas.microsoft.com/office/drawing/2014/main" id="{AD5E3D0F-6A6C-467F-BA0B-70E56F684E00}"/>
              </a:ext>
            </a:extLst>
          </p:cNvPr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069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4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41092" y="6245941"/>
            <a:ext cx="1735008" cy="3960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5296276-6E45-4A1A-9B25-2A129A7D0E0C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3" name="Animasjon_Skape rom_Small">
            <a:hlinkClick r:id="" action="ppaction://media"/>
            <a:extLst>
              <a:ext uri="{FF2B5EF4-FFF2-40B4-BE49-F238E27FC236}">
                <a16:creationId xmlns:a16="http://schemas.microsoft.com/office/drawing/2014/main" id="{3334B1F6-4488-4769-89A9-8DE1F485628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80888" cy="6858000"/>
          </a:xfrm>
          <a:prstGeom prst="rect">
            <a:avLst/>
          </a:prstGeom>
        </p:spPr>
      </p:pic>
      <p:pic>
        <p:nvPicPr>
          <p:cNvPr id="5" name="logo_blaa" hidden="1">
            <a:extLst>
              <a:ext uri="{FF2B5EF4-FFF2-40B4-BE49-F238E27FC236}">
                <a16:creationId xmlns:a16="http://schemas.microsoft.com/office/drawing/2014/main" id="{74AEBFF3-0793-43A1-AF6C-4EA1536F3923}"/>
              </a:ext>
            </a:extLst>
          </p:cNvPr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7" name="logo_hvit" hidden="1">
            <a:extLst>
              <a:ext uri="{FF2B5EF4-FFF2-40B4-BE49-F238E27FC236}">
                <a16:creationId xmlns:a16="http://schemas.microsoft.com/office/drawing/2014/main" id="{D5AA2469-90AD-446D-B017-307C6BA8E6D8}"/>
              </a:ext>
            </a:extLst>
          </p:cNvPr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5639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68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41092" y="6245941"/>
            <a:ext cx="1735008" cy="3960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5296276-6E45-4A1A-9B25-2A129A7D0E0C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3" name="Sammen">
            <a:hlinkClick r:id="" action="ppaction://media"/>
            <a:extLst>
              <a:ext uri="{FF2B5EF4-FFF2-40B4-BE49-F238E27FC236}">
                <a16:creationId xmlns:a16="http://schemas.microsoft.com/office/drawing/2014/main" id="{E615C148-FB3A-4F63-88D8-B13C677070D5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logo_blaa" hidden="1">
            <a:extLst>
              <a:ext uri="{FF2B5EF4-FFF2-40B4-BE49-F238E27FC236}">
                <a16:creationId xmlns:a16="http://schemas.microsoft.com/office/drawing/2014/main" id="{E15FE12C-CBF4-4406-8774-563D33B787C9}"/>
              </a:ext>
            </a:extLst>
          </p:cNvPr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7" name="logo_hvit" hidden="1">
            <a:extLst>
              <a:ext uri="{FF2B5EF4-FFF2-40B4-BE49-F238E27FC236}">
                <a16:creationId xmlns:a16="http://schemas.microsoft.com/office/drawing/2014/main" id="{2650781B-C9B5-4B87-B7F4-CFB74E8CBCED}"/>
              </a:ext>
            </a:extLst>
          </p:cNvPr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120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296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9112441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1F008BBA-689F-42DB-913E-0747FEF2C9A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background" hidden="1">
            <a:extLst>
              <a:ext uri="{FF2B5EF4-FFF2-40B4-BE49-F238E27FC236}">
                <a16:creationId xmlns:a16="http://schemas.microsoft.com/office/drawing/2014/main" id="{20F64EEC-DBFB-4FDA-B7D3-2BFC8275B17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B4FB7D30-A58A-4C12-BA63-D7BD6F30D44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4B4ECA20-A19D-4A30-BCBE-5B85C7B9069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E0A27905-A053-4BA2-B313-CC93DDB1A4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F09D0317-D37C-4CB3-ACEF-438C4B052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62AE36E-9C13-4C22-9D9E-82AC72D8272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2336466F-2103-425B-87BE-18F3E57B9F81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1" name="logo_blaa" hidden="1">
            <a:extLst>
              <a:ext uri="{FF2B5EF4-FFF2-40B4-BE49-F238E27FC236}">
                <a16:creationId xmlns:a16="http://schemas.microsoft.com/office/drawing/2014/main" id="{3FEEEEE4-28A3-428A-29F1-3923A1C25830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2667000" cy="560754"/>
          </a:xfrm>
          <a:prstGeom prst="rect">
            <a:avLst/>
          </a:prstGeom>
        </p:spPr>
      </p:pic>
      <p:pic>
        <p:nvPicPr>
          <p:cNvPr id="25" name="logo_hvit" hidden="1">
            <a:extLst>
              <a:ext uri="{FF2B5EF4-FFF2-40B4-BE49-F238E27FC236}">
                <a16:creationId xmlns:a16="http://schemas.microsoft.com/office/drawing/2014/main" id="{B5F45B85-020E-017F-5125-BA901601C630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98049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ternativ forside uten bil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ihåndsform: figur 34">
            <a:extLst>
              <a:ext uri="{FF2B5EF4-FFF2-40B4-BE49-F238E27FC236}">
                <a16:creationId xmlns:a16="http://schemas.microsoft.com/office/drawing/2014/main" id="{FEC2C7E8-2BAA-4586-B492-F62F07C9E11E}"/>
              </a:ext>
            </a:extLst>
          </p:cNvPr>
          <p:cNvSpPr/>
          <p:nvPr userDrawn="1"/>
        </p:nvSpPr>
        <p:spPr>
          <a:xfrm>
            <a:off x="8643130" y="4478410"/>
            <a:ext cx="3548870" cy="2379590"/>
          </a:xfrm>
          <a:custGeom>
            <a:avLst/>
            <a:gdLst>
              <a:gd name="connsiteX0" fmla="*/ 3548870 w 3548870"/>
              <a:gd name="connsiteY0" fmla="*/ 0 h 2379590"/>
              <a:gd name="connsiteX1" fmla="*/ 3548870 w 3548870"/>
              <a:gd name="connsiteY1" fmla="*/ 2379590 h 2379590"/>
              <a:gd name="connsiteX2" fmla="*/ 0 w 3548870"/>
              <a:gd name="connsiteY2" fmla="*/ 2379590 h 2379590"/>
              <a:gd name="connsiteX3" fmla="*/ 72242 w 3548870"/>
              <a:gd name="connsiteY3" fmla="*/ 2218043 h 2379590"/>
              <a:gd name="connsiteX4" fmla="*/ 3364761 w 3548870"/>
              <a:gd name="connsiteY4" fmla="*/ 4706 h 2379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48870" h="2379590">
                <a:moveTo>
                  <a:pt x="3548870" y="0"/>
                </a:moveTo>
                <a:lnTo>
                  <a:pt x="3548870" y="2379590"/>
                </a:lnTo>
                <a:lnTo>
                  <a:pt x="0" y="2379590"/>
                </a:lnTo>
                <a:lnTo>
                  <a:pt x="72242" y="2218043"/>
                </a:lnTo>
                <a:cubicBezTo>
                  <a:pt x="670673" y="962488"/>
                  <a:pt x="1912166" y="79145"/>
                  <a:pt x="3364761" y="470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  <p:sp>
        <p:nvSpPr>
          <p:cNvPr id="28" name="Plassholder for tekst 27">
            <a:extLst>
              <a:ext uri="{FF2B5EF4-FFF2-40B4-BE49-F238E27FC236}">
                <a16:creationId xmlns:a16="http://schemas.microsoft.com/office/drawing/2014/main" id="{AC732900-C482-4FED-BE14-15E1B9D9A0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7094193" cy="5000626"/>
          </a:xfrm>
          <a:custGeom>
            <a:avLst/>
            <a:gdLst>
              <a:gd name="connsiteX0" fmla="*/ 0 w 7094193"/>
              <a:gd name="connsiteY0" fmla="*/ 0 h 5000626"/>
              <a:gd name="connsiteX1" fmla="*/ 7094193 w 7094193"/>
              <a:gd name="connsiteY1" fmla="*/ 0 h 5000626"/>
              <a:gd name="connsiteX2" fmla="*/ 7085079 w 7094193"/>
              <a:gd name="connsiteY2" fmla="*/ 52590 h 5000626"/>
              <a:gd name="connsiteX3" fmla="*/ 1193800 w 7094193"/>
              <a:gd name="connsiteY3" fmla="*/ 5000626 h 5000626"/>
              <a:gd name="connsiteX4" fmla="*/ 278011 w 7094193"/>
              <a:gd name="connsiteY4" fmla="*/ 4929224 h 5000626"/>
              <a:gd name="connsiteX5" fmla="*/ 0 w 7094193"/>
              <a:gd name="connsiteY5" fmla="*/ 4878061 h 5000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094193" h="5000626">
                <a:moveTo>
                  <a:pt x="0" y="0"/>
                </a:moveTo>
                <a:lnTo>
                  <a:pt x="7094193" y="0"/>
                </a:lnTo>
                <a:lnTo>
                  <a:pt x="7085079" y="52590"/>
                </a:lnTo>
                <a:cubicBezTo>
                  <a:pt x="6524347" y="2876429"/>
                  <a:pt x="4099795" y="5000626"/>
                  <a:pt x="1193800" y="5000626"/>
                </a:cubicBezTo>
                <a:cubicBezTo>
                  <a:pt x="882444" y="5000626"/>
                  <a:pt x="576614" y="4976241"/>
                  <a:pt x="278011" y="4929224"/>
                </a:cubicBezTo>
                <a:lnTo>
                  <a:pt x="0" y="487806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1F008BBA-689F-42DB-913E-0747FEF2C9A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4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F06E2D9-F070-4F9C-A1C6-8E39C20198F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background" hidden="1">
            <a:extLst>
              <a:ext uri="{FF2B5EF4-FFF2-40B4-BE49-F238E27FC236}">
                <a16:creationId xmlns:a16="http://schemas.microsoft.com/office/drawing/2014/main" id="{20F64EEC-DBFB-4FDA-B7D3-2BFC8275B17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B4FB7D30-A58A-4C12-BA63-D7BD6F30D44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4B4ECA20-A19D-4A30-BCBE-5B85C7B9069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E0A27905-A053-4BA2-B313-CC93DDB1A4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F09D0317-D37C-4CB3-ACEF-438C4B052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62AE36E-9C13-4C22-9D9E-82AC72D8272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2336466F-2103-425B-87BE-18F3E57B9F81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7" name="Ellipse 26" hidden="1">
            <a:extLst>
              <a:ext uri="{FF2B5EF4-FFF2-40B4-BE49-F238E27FC236}">
                <a16:creationId xmlns:a16="http://schemas.microsoft.com/office/drawing/2014/main" id="{C58EF7F7-76C4-4C70-91FC-28F032BC9284}"/>
              </a:ext>
            </a:extLst>
          </p:cNvPr>
          <p:cNvSpPr/>
          <p:nvPr userDrawn="1"/>
        </p:nvSpPr>
        <p:spPr>
          <a:xfrm>
            <a:off x="-4819651" y="-7393244"/>
            <a:ext cx="12026901" cy="12393870"/>
          </a:xfrm>
          <a:prstGeom prst="ellipse">
            <a:avLst/>
          </a:prstGeom>
          <a:noFill/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Ellipse 6" hidden="1">
            <a:extLst>
              <a:ext uri="{FF2B5EF4-FFF2-40B4-BE49-F238E27FC236}">
                <a16:creationId xmlns:a16="http://schemas.microsoft.com/office/drawing/2014/main" id="{E7AB5697-707D-455B-8619-528309D6ACBF}"/>
              </a:ext>
            </a:extLst>
          </p:cNvPr>
          <p:cNvSpPr/>
          <p:nvPr userDrawn="1"/>
        </p:nvSpPr>
        <p:spPr>
          <a:xfrm>
            <a:off x="8333366" y="4478020"/>
            <a:ext cx="7747747" cy="7832637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3" name="logo_blaa" hidden="1">
            <a:extLst>
              <a:ext uri="{FF2B5EF4-FFF2-40B4-BE49-F238E27FC236}">
                <a16:creationId xmlns:a16="http://schemas.microsoft.com/office/drawing/2014/main" id="{2115B0B2-46A2-AFE3-B823-D7E4B301C034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2667000" cy="560754"/>
          </a:xfrm>
          <a:prstGeom prst="rect">
            <a:avLst/>
          </a:prstGeom>
        </p:spPr>
      </p:pic>
      <p:pic>
        <p:nvPicPr>
          <p:cNvPr id="29" name="logo_hvit" hidden="1">
            <a:extLst>
              <a:ext uri="{FF2B5EF4-FFF2-40B4-BE49-F238E27FC236}">
                <a16:creationId xmlns:a16="http://schemas.microsoft.com/office/drawing/2014/main" id="{76E1BB52-4B84-627F-F892-875E3502B2D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8749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F8C82DF-AABB-4910-AAF7-401C50AD3C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607BA65C-409C-495A-A826-A9EC045259F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935AD07-038A-4101-8144-4B09CAED498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D357C967-5FB7-49AB-920C-1F53E57063A1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80019DA8-1266-4502-94C3-01CC09A2BD1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AA14CF9A-9970-43D9-92B0-5A729151571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E05A82BB-796B-4BD1-B6FA-858F3648C4E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FC4AA29A-0515-470D-9A65-B35D1360972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16842" y="1695769"/>
            <a:ext cx="5148643" cy="4335803"/>
          </a:xfrm>
          <a:prstGeom prst="rect">
            <a:avLst/>
          </a:prstGeom>
        </p:spPr>
        <p:txBody>
          <a:bodyPr lIns="0" tIns="0" rIns="0" bIns="0"/>
          <a:lstStyle>
            <a:lvl1pPr marL="2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 i="0" u="none" cap="none">
                <a:solidFill>
                  <a:srgbClr val="00207D"/>
                </a:solidFill>
                <a:latin typeface="+mn-lt"/>
              </a:defRPr>
            </a:lvl1pPr>
            <a:lvl2pPr marL="7452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207D"/>
                </a:solidFill>
                <a:latin typeface="+mn-lt"/>
              </a:defRPr>
            </a:lvl2pPr>
            <a:lvl3pPr marL="114300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100" b="0" i="0" u="none" cap="none">
                <a:solidFill>
                  <a:srgbClr val="00207D"/>
                </a:solidFill>
                <a:latin typeface="+mn-lt"/>
              </a:defRPr>
            </a:lvl3pPr>
            <a:lvl4pPr marL="163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000" b="0" i="0" u="none" cap="none">
                <a:solidFill>
                  <a:srgbClr val="00207D"/>
                </a:solidFill>
                <a:latin typeface="+mn-lt"/>
              </a:defRPr>
            </a:lvl4pPr>
            <a:lvl5pPr marL="20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900" b="0" i="0" u="none" cap="none">
                <a:solidFill>
                  <a:srgbClr val="00207D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0" name="Plassholder for innhold 1">
            <a:extLst>
              <a:ext uri="{FF2B5EF4-FFF2-40B4-BE49-F238E27FC236}">
                <a16:creationId xmlns:a16="http://schemas.microsoft.com/office/drawing/2014/main" id="{D75067CC-B9B0-4E2C-A856-0B89673E34E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5721755" y="1695768"/>
            <a:ext cx="5148643" cy="4335803"/>
          </a:xfrm>
          <a:prstGeom prst="rect">
            <a:avLst/>
          </a:prstGeom>
        </p:spPr>
        <p:txBody>
          <a:bodyPr lIns="0" tIns="0" rIns="0" bIns="0"/>
          <a:lstStyle>
            <a:lvl1pPr marL="2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 i="0" u="none" cap="none">
                <a:solidFill>
                  <a:srgbClr val="00207D"/>
                </a:solidFill>
                <a:latin typeface="+mn-lt"/>
              </a:defRPr>
            </a:lvl1pPr>
            <a:lvl2pPr marL="7452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207D"/>
                </a:solidFill>
                <a:latin typeface="+mn-lt"/>
              </a:defRPr>
            </a:lvl2pPr>
            <a:lvl3pPr marL="114300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100" b="0" i="0" u="none" cap="none">
                <a:solidFill>
                  <a:srgbClr val="00207D"/>
                </a:solidFill>
                <a:latin typeface="+mn-lt"/>
              </a:defRPr>
            </a:lvl3pPr>
            <a:lvl4pPr marL="163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000" b="0" i="0" u="none" cap="none">
                <a:solidFill>
                  <a:srgbClr val="00207D"/>
                </a:solidFill>
                <a:latin typeface="+mn-lt"/>
              </a:defRPr>
            </a:lvl4pPr>
            <a:lvl5pPr marL="20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900" b="0" i="0" u="none" cap="none">
                <a:solidFill>
                  <a:srgbClr val="00207D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B720A578-D46F-357F-D928-4BBBA7324B0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2" name="logo_hvit" hidden="1">
            <a:extLst>
              <a:ext uri="{FF2B5EF4-FFF2-40B4-BE49-F238E27FC236}">
                <a16:creationId xmlns:a16="http://schemas.microsoft.com/office/drawing/2014/main" id="{DB98371D-0417-8D27-D8B3-6DC41565EE08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34694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Høyre)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59095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6" y="4019550"/>
            <a:ext cx="5559095" cy="1708150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86664A-2EF2-43CB-A41F-676FF90963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19863" y="0"/>
            <a:ext cx="5672137" cy="6858000"/>
          </a:xfrm>
          <a:solidFill>
            <a:schemeClr val="accent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5B07D191-5165-41F0-9CA0-2D9A13FDE7A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48B445A7-2708-42E6-87CD-7BBE618FCB9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7AC23A7A-D883-4E96-90A1-C32758913D6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873DE8BD-C805-4280-9DAE-151FB5B3C74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B412EC9B-5739-4D54-AD85-89BAAB9B5DDC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DC8B4B2D-F48D-4D80-9952-A71F5977CA9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B4C581-6E50-4372-88CE-BC943FC4A2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3A06D244-5520-41C4-B5E5-C0A0DF4B407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404A2A7E-79DA-4E12-8A5E-415AF8F61F7A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3" name="logo_blaa" hidden="1">
            <a:extLst>
              <a:ext uri="{FF2B5EF4-FFF2-40B4-BE49-F238E27FC236}">
                <a16:creationId xmlns:a16="http://schemas.microsoft.com/office/drawing/2014/main" id="{76E1069F-FBCE-C231-B363-EAADB1DD1FEA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2667000" cy="560754"/>
          </a:xfrm>
          <a:prstGeom prst="rect">
            <a:avLst/>
          </a:prstGeom>
        </p:spPr>
      </p:pic>
      <p:pic>
        <p:nvPicPr>
          <p:cNvPr id="26" name="logo_hvit" hidden="1">
            <a:extLst>
              <a:ext uri="{FF2B5EF4-FFF2-40B4-BE49-F238E27FC236}">
                <a16:creationId xmlns:a16="http://schemas.microsoft.com/office/drawing/2014/main" id="{277C50C2-68FF-933B-6366-9CF0029A881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457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Høyre, sirkel)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B580BDA-A445-4961-A52C-2EBE49B4CCC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6888" y="0"/>
            <a:ext cx="6245112" cy="5842000"/>
          </a:xfrm>
          <a:custGeom>
            <a:avLst/>
            <a:gdLst>
              <a:gd name="connsiteX0" fmla="*/ 662015 w 6245112"/>
              <a:gd name="connsiteY0" fmla="*/ 0 h 5842000"/>
              <a:gd name="connsiteX1" fmla="*/ 6245112 w 6245112"/>
              <a:gd name="connsiteY1" fmla="*/ 0 h 5842000"/>
              <a:gd name="connsiteX2" fmla="*/ 6245112 w 6245112"/>
              <a:gd name="connsiteY2" fmla="*/ 4800066 h 5842000"/>
              <a:gd name="connsiteX3" fmla="*/ 6034914 w 6245112"/>
              <a:gd name="connsiteY3" fmla="*/ 4992696 h 5842000"/>
              <a:gd name="connsiteX4" fmla="*/ 3688613 w 6245112"/>
              <a:gd name="connsiteY4" fmla="*/ 5842000 h 5842000"/>
              <a:gd name="connsiteX5" fmla="*/ 0 w 6245112"/>
              <a:gd name="connsiteY5" fmla="*/ 2122714 h 5842000"/>
              <a:gd name="connsiteX6" fmla="*/ 629957 w 6245112"/>
              <a:gd name="connsiteY6" fmla="*/ 43226 h 58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5112" h="5842000">
                <a:moveTo>
                  <a:pt x="662015" y="0"/>
                </a:moveTo>
                <a:lnTo>
                  <a:pt x="6245112" y="0"/>
                </a:lnTo>
                <a:lnTo>
                  <a:pt x="6245112" y="4800066"/>
                </a:lnTo>
                <a:lnTo>
                  <a:pt x="6034914" y="4992696"/>
                </a:lnTo>
                <a:cubicBezTo>
                  <a:pt x="5397304" y="5523274"/>
                  <a:pt x="4579873" y="5842000"/>
                  <a:pt x="3688613" y="5842000"/>
                </a:cubicBezTo>
                <a:cubicBezTo>
                  <a:pt x="1651448" y="5842000"/>
                  <a:pt x="0" y="4176819"/>
                  <a:pt x="0" y="2122714"/>
                </a:cubicBezTo>
                <a:cubicBezTo>
                  <a:pt x="0" y="1352425"/>
                  <a:pt x="232235" y="636828"/>
                  <a:pt x="629957" y="43226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1F008BBA-689F-42DB-913E-0747FEF2C9A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F06E2D9-F070-4F9C-A1C6-8E39C20198F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background" hidden="1">
            <a:extLst>
              <a:ext uri="{FF2B5EF4-FFF2-40B4-BE49-F238E27FC236}">
                <a16:creationId xmlns:a16="http://schemas.microsoft.com/office/drawing/2014/main" id="{20F64EEC-DBFB-4FDA-B7D3-2BFC8275B17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B4FB7D30-A58A-4C12-BA63-D7BD6F30D44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4B4ECA20-A19D-4A30-BCBE-5B85C7B9069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E0A27905-A053-4BA2-B313-CC93DDB1A4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F09D0317-D37C-4CB3-ACEF-438C4B052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62AE36E-9C13-4C22-9D9E-82AC72D8272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2336466F-2103-425B-87BE-18F3E57B9F81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3" name="logo_blaa" hidden="1">
            <a:extLst>
              <a:ext uri="{FF2B5EF4-FFF2-40B4-BE49-F238E27FC236}">
                <a16:creationId xmlns:a16="http://schemas.microsoft.com/office/drawing/2014/main" id="{B592A463-4603-A9A2-A8EC-1C1D199C2C3B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2667000" cy="560754"/>
          </a:xfrm>
          <a:prstGeom prst="rect">
            <a:avLst/>
          </a:prstGeom>
        </p:spPr>
      </p:pic>
      <p:pic>
        <p:nvPicPr>
          <p:cNvPr id="26" name="logo_hvit" hidden="1">
            <a:extLst>
              <a:ext uri="{FF2B5EF4-FFF2-40B4-BE49-F238E27FC236}">
                <a16:creationId xmlns:a16="http://schemas.microsoft.com/office/drawing/2014/main" id="{695D0AF9-E4B5-5487-B7CB-68F880921EFE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76407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Bak)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86664A-2EF2-43CB-A41F-676FF90963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04DA4748-4F43-4F1B-AAEB-2ED411E524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C94E69BD-0A56-40F8-B68A-E3D823537E4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D1EDA5DC-474F-4369-8152-D656FEB6ADA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15396179-4FC6-46C7-82A4-0F380217A02E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5048B53-A7C6-4F18-96FB-30937FDBA63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5FF0EACC-C50A-44B5-8C4D-444ED159113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FCFE3393-AB3C-44EB-AFC3-F01B9D65C2D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49EF98D6-91C4-4ED8-AF8C-C1F414AB3967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7" name="logo_blaa" hidden="1">
            <a:extLst>
              <a:ext uri="{FF2B5EF4-FFF2-40B4-BE49-F238E27FC236}">
                <a16:creationId xmlns:a16="http://schemas.microsoft.com/office/drawing/2014/main" id="{BA4B48E7-481C-7AF3-0F38-8D1D39074E2D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2667000" cy="560754"/>
          </a:xfrm>
          <a:prstGeom prst="rect">
            <a:avLst/>
          </a:prstGeom>
        </p:spPr>
      </p:pic>
      <p:pic>
        <p:nvPicPr>
          <p:cNvPr id="26" name="logo_hvit" hidden="1">
            <a:extLst>
              <a:ext uri="{FF2B5EF4-FFF2-40B4-BE49-F238E27FC236}">
                <a16:creationId xmlns:a16="http://schemas.microsoft.com/office/drawing/2014/main" id="{5213B60A-FEBE-24F7-7B76-94AD84A8274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0040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(Bak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52763ED-CF70-4772-BB44-DC41205ED83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22415" y="2288796"/>
            <a:ext cx="5560333" cy="1938992"/>
          </a:xfrm>
        </p:spPr>
        <p:txBody>
          <a:bodyPr anchor="t">
            <a:noAutofit/>
          </a:bodyPr>
          <a:lstStyle>
            <a:lvl1pPr algn="ctr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2416" y="4338863"/>
            <a:ext cx="5560332" cy="1708150"/>
          </a:xfrm>
        </p:spPr>
        <p:txBody>
          <a:bodyPr anchor="t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8EE8199-86B9-4779-8FFF-E942D0D919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DC1C65D8-3327-4A0F-A16F-F092745C8256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E8AD148F-21A9-43AC-99D2-45BA43F665E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7418948F-C32B-4E23-AD6D-7451FE13932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9579EA3C-8EEC-474C-B378-87DCAEEDEED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170DAD57-37FB-44B9-AB07-2453F6D0428D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2128C84B-197A-4C62-8A3B-2AD4F5CFE1C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DefLogoHvit" hidden="1">
            <a:extLst>
              <a:ext uri="{FF2B5EF4-FFF2-40B4-BE49-F238E27FC236}">
                <a16:creationId xmlns:a16="http://schemas.microsoft.com/office/drawing/2014/main" id="{640345A6-8FBC-47B0-B8DD-333C5CBE232A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3" name="logo_blaa" hidden="1">
            <a:extLst>
              <a:ext uri="{FF2B5EF4-FFF2-40B4-BE49-F238E27FC236}">
                <a16:creationId xmlns:a16="http://schemas.microsoft.com/office/drawing/2014/main" id="{86C38409-3847-62E9-604E-F6B43BD90C11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2667000" cy="560754"/>
          </a:xfrm>
          <a:prstGeom prst="rect">
            <a:avLst/>
          </a:prstGeom>
        </p:spPr>
      </p:pic>
      <p:pic>
        <p:nvPicPr>
          <p:cNvPr id="25" name="logo_hvit" hidden="1">
            <a:extLst>
              <a:ext uri="{FF2B5EF4-FFF2-40B4-BE49-F238E27FC236}">
                <a16:creationId xmlns:a16="http://schemas.microsoft.com/office/drawing/2014/main" id="{8B86D5CD-26CB-818D-4C1C-6B740263D79B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53825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002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A3DDD0D1-7607-4D30-B017-29557565B7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724148" y="0"/>
            <a:ext cx="9467852" cy="5341258"/>
          </a:xfrm>
          <a:custGeom>
            <a:avLst/>
            <a:gdLst>
              <a:gd name="connsiteX0" fmla="*/ 13212 w 9467852"/>
              <a:gd name="connsiteY0" fmla="*/ 0 h 5341258"/>
              <a:gd name="connsiteX1" fmla="*/ 9467852 w 9467852"/>
              <a:gd name="connsiteY1" fmla="*/ 0 h 5341258"/>
              <a:gd name="connsiteX2" fmla="*/ 9467852 w 9467852"/>
              <a:gd name="connsiteY2" fmla="*/ 2559831 h 5341258"/>
              <a:gd name="connsiteX3" fmla="*/ 9387475 w 9467852"/>
              <a:gd name="connsiteY3" fmla="*/ 2726709 h 5341258"/>
              <a:gd name="connsiteX4" fmla="*/ 4995184 w 9467852"/>
              <a:gd name="connsiteY4" fmla="*/ 5341258 h 5341258"/>
              <a:gd name="connsiteX5" fmla="*/ 0 w 9467852"/>
              <a:gd name="connsiteY5" fmla="*/ 345373 h 5341258"/>
              <a:gd name="connsiteX6" fmla="*/ 6500 w 9467852"/>
              <a:gd name="connsiteY6" fmla="*/ 88286 h 5341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7852" h="5341258">
                <a:moveTo>
                  <a:pt x="13212" y="0"/>
                </a:moveTo>
                <a:lnTo>
                  <a:pt x="9467852" y="0"/>
                </a:lnTo>
                <a:lnTo>
                  <a:pt x="9467852" y="2559831"/>
                </a:lnTo>
                <a:lnTo>
                  <a:pt x="9387475" y="2726709"/>
                </a:lnTo>
                <a:cubicBezTo>
                  <a:pt x="8541594" y="4284052"/>
                  <a:pt x="6891833" y="5341258"/>
                  <a:pt x="4995184" y="5341258"/>
                </a:cubicBezTo>
                <a:cubicBezTo>
                  <a:pt x="2236421" y="5341258"/>
                  <a:pt x="0" y="3104524"/>
                  <a:pt x="0" y="345373"/>
                </a:cubicBezTo>
                <a:cubicBezTo>
                  <a:pt x="0" y="259150"/>
                  <a:pt x="2184" y="173436"/>
                  <a:pt x="6500" y="88286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4826796" cy="5539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59F704-09FE-40D6-8B3A-C17C4994A6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354327" y="50800"/>
            <a:ext cx="6837674" cy="6807200"/>
          </a:xfrm>
          <a:custGeom>
            <a:avLst/>
            <a:gdLst>
              <a:gd name="connsiteX0" fmla="*/ 6805412 w 6837674"/>
              <a:gd name="connsiteY0" fmla="*/ 0 h 6807200"/>
              <a:gd name="connsiteX1" fmla="*/ 6837674 w 6837674"/>
              <a:gd name="connsiteY1" fmla="*/ 822 h 6807200"/>
              <a:gd name="connsiteX2" fmla="*/ 6837674 w 6837674"/>
              <a:gd name="connsiteY2" fmla="*/ 6807200 h 6807200"/>
              <a:gd name="connsiteX3" fmla="*/ 0 w 6837674"/>
              <a:gd name="connsiteY3" fmla="*/ 6807200 h 6807200"/>
              <a:gd name="connsiteX4" fmla="*/ 7582 w 6837674"/>
              <a:gd name="connsiteY4" fmla="*/ 6505088 h 6807200"/>
              <a:gd name="connsiteX5" fmla="*/ 6805412 w 6837674"/>
              <a:gd name="connsiteY5" fmla="*/ 0 h 680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37674" h="6807200">
                <a:moveTo>
                  <a:pt x="6805412" y="0"/>
                </a:moveTo>
                <a:lnTo>
                  <a:pt x="6837674" y="822"/>
                </a:lnTo>
                <a:lnTo>
                  <a:pt x="6837674" y="6807200"/>
                </a:lnTo>
                <a:lnTo>
                  <a:pt x="0" y="6807200"/>
                </a:lnTo>
                <a:lnTo>
                  <a:pt x="7582" y="6505088"/>
                </a:lnTo>
                <a:cubicBezTo>
                  <a:pt x="189887" y="2881528"/>
                  <a:pt x="3163658" y="0"/>
                  <a:pt x="680541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6821C79A-09F0-415C-ABA8-F68C1FBFB8B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68399" y="2474118"/>
            <a:ext cx="2082800" cy="2398823"/>
          </a:xfrm>
        </p:spPr>
        <p:txBody>
          <a:bodyPr/>
          <a:lstStyle>
            <a:lvl1pPr marL="0" indent="0">
              <a:spcBef>
                <a:spcPts val="110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9" name="Text Placeholder 37">
            <a:extLst>
              <a:ext uri="{FF2B5EF4-FFF2-40B4-BE49-F238E27FC236}">
                <a16:creationId xmlns:a16="http://schemas.microsoft.com/office/drawing/2014/main" id="{9E87C030-834C-4DD1-ACF4-9E176AA7FB4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9635" y="2474118"/>
            <a:ext cx="308763" cy="2398823"/>
          </a:xfrm>
        </p:spPr>
        <p:txBody>
          <a:bodyPr/>
          <a:lstStyle>
            <a:lvl1pPr marL="0" indent="0">
              <a:spcBef>
                <a:spcPts val="1100"/>
              </a:spcBef>
              <a:buNone/>
              <a:defRPr sz="18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1A815E2-8392-4901-B494-FC72347B461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D4BFF5A0-D5F1-466F-8F8F-752A0CF7B9F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72703FF8-08E6-435B-BC69-B46322B3C88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86BCDAB5-94E1-4029-873A-6AAA0DF90FA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C420A2D1-A6FA-4817-8190-221B5B1AC7F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939DA551-001F-4769-BA32-95ED85E0D89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DA1777B3-13AE-4111-8C56-F4E837BF47B8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DefLogoHvit" hidden="1">
            <a:extLst>
              <a:ext uri="{FF2B5EF4-FFF2-40B4-BE49-F238E27FC236}">
                <a16:creationId xmlns:a16="http://schemas.microsoft.com/office/drawing/2014/main" id="{F74E35BB-3239-4B07-AEB8-6D0E5BDC1290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3C4D318A-EC61-2F8E-73BD-20E27C20AB69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2" name="logo_hvit" hidden="1">
            <a:extLst>
              <a:ext uri="{FF2B5EF4-FFF2-40B4-BE49-F238E27FC236}">
                <a16:creationId xmlns:a16="http://schemas.microsoft.com/office/drawing/2014/main" id="{711ACF64-D3CB-1759-0EBB-F46CA02C70D0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99105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Bullets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59F704-09FE-40D6-8B3A-C17C4994A6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5999" y="0"/>
            <a:ext cx="6096001" cy="6858000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4826796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FF05E5-4985-4C05-9562-7EDA2EA06FC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9635" y="2474119"/>
            <a:ext cx="4283866" cy="2398823"/>
          </a:xfrm>
          <a:prstGeom prst="rect">
            <a:avLst/>
          </a:prstGeom>
        </p:spPr>
        <p:txBody>
          <a:bodyPr lIns="0" tIns="0" rIns="0" bIns="0"/>
          <a:lstStyle>
            <a:lvl1pPr marL="2880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1pPr>
            <a:lvl2pPr marL="7452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3pPr>
            <a:lvl4pPr marL="16380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4pPr>
            <a:lvl5pPr marL="20880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3D9509D-1F87-4CAD-BC94-A4964D7947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74D0B008-DE7E-47CB-875B-CF47AB39A06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1BD67AD2-2095-475B-A5AD-628752A6DD2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7E11CD56-B9C0-419B-8A36-BB48536752F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C0093EA9-B48E-408D-BF34-563BEACBA4D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C32B9E1F-DA12-4F53-805F-DC377D7702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D6980C80-9C4B-40C0-9EBB-CAF66C85577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18C0116C-C2F0-4272-B65F-C60714918693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DefLogoHvit" hidden="1">
            <a:extLst>
              <a:ext uri="{FF2B5EF4-FFF2-40B4-BE49-F238E27FC236}">
                <a16:creationId xmlns:a16="http://schemas.microsoft.com/office/drawing/2014/main" id="{B7BC6600-B857-4DD2-B7C9-0E004A6DAE2C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AE965EA6-C018-4CBB-68E4-32BCD4BEC269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5" name="logo_hvit" hidden="1">
            <a:extLst>
              <a:ext uri="{FF2B5EF4-FFF2-40B4-BE49-F238E27FC236}">
                <a16:creationId xmlns:a16="http://schemas.microsoft.com/office/drawing/2014/main" id="{37BA5587-331D-08D3-EFEE-EB080A27B52B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90899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 med bilde (Høyre, sirkel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CDE15B9-BBD7-42A7-B667-4AABA43933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6118" y="0"/>
            <a:ext cx="6908798" cy="3589020"/>
          </a:xfrm>
          <a:custGeom>
            <a:avLst/>
            <a:gdLst>
              <a:gd name="connsiteX0" fmla="*/ 53674 w 6908798"/>
              <a:gd name="connsiteY0" fmla="*/ 0 h 3589020"/>
              <a:gd name="connsiteX1" fmla="*/ 6855124 w 6908798"/>
              <a:gd name="connsiteY1" fmla="*/ 0 h 3589020"/>
              <a:gd name="connsiteX2" fmla="*/ 6890963 w 6908798"/>
              <a:gd name="connsiteY2" fmla="*/ 208491 h 3589020"/>
              <a:gd name="connsiteX3" fmla="*/ 6908798 w 6908798"/>
              <a:gd name="connsiteY3" fmla="*/ 522069 h 3589020"/>
              <a:gd name="connsiteX4" fmla="*/ 3454399 w 6908798"/>
              <a:gd name="connsiteY4" fmla="*/ 3589020 h 3589020"/>
              <a:gd name="connsiteX5" fmla="*/ 0 w 6908798"/>
              <a:gd name="connsiteY5" fmla="*/ 522069 h 3589020"/>
              <a:gd name="connsiteX6" fmla="*/ 17835 w 6908798"/>
              <a:gd name="connsiteY6" fmla="*/ 208491 h 358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08798" h="3589020">
                <a:moveTo>
                  <a:pt x="53674" y="0"/>
                </a:moveTo>
                <a:lnTo>
                  <a:pt x="6855124" y="0"/>
                </a:lnTo>
                <a:lnTo>
                  <a:pt x="6890963" y="208491"/>
                </a:lnTo>
                <a:cubicBezTo>
                  <a:pt x="6902757" y="311593"/>
                  <a:pt x="6908798" y="416205"/>
                  <a:pt x="6908798" y="522069"/>
                </a:cubicBezTo>
                <a:cubicBezTo>
                  <a:pt x="6908798" y="2215899"/>
                  <a:pt x="5362211" y="3589020"/>
                  <a:pt x="3454399" y="3589020"/>
                </a:cubicBezTo>
                <a:cubicBezTo>
                  <a:pt x="1546587" y="3589020"/>
                  <a:pt x="0" y="2215899"/>
                  <a:pt x="0" y="522069"/>
                </a:cubicBezTo>
                <a:cubicBezTo>
                  <a:pt x="0" y="416205"/>
                  <a:pt x="6042" y="311593"/>
                  <a:pt x="17835" y="208491"/>
                </a:cubicBezTo>
                <a:close/>
              </a:path>
            </a:pathLst>
          </a:custGeom>
          <a:solidFill>
            <a:srgbClr val="F3DED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5C2C1ED-04B4-4BB0-995F-FBE0210316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89258" y="1"/>
            <a:ext cx="6502743" cy="5821831"/>
          </a:xfrm>
          <a:custGeom>
            <a:avLst/>
            <a:gdLst>
              <a:gd name="connsiteX0" fmla="*/ 641777 w 6502743"/>
              <a:gd name="connsiteY0" fmla="*/ 0 h 5821831"/>
              <a:gd name="connsiteX1" fmla="*/ 6502743 w 6502743"/>
              <a:gd name="connsiteY1" fmla="*/ 0 h 5821831"/>
              <a:gd name="connsiteX2" fmla="*/ 6502743 w 6502743"/>
              <a:gd name="connsiteY2" fmla="*/ 4581393 h 5821831"/>
              <a:gd name="connsiteX3" fmla="*/ 6368283 w 6502743"/>
              <a:gd name="connsiteY3" fmla="*/ 4729320 h 5821831"/>
              <a:gd name="connsiteX4" fmla="*/ 3730454 w 6502743"/>
              <a:gd name="connsiteY4" fmla="*/ 5821831 h 5821831"/>
              <a:gd name="connsiteX5" fmla="*/ 0 w 6502743"/>
              <a:gd name="connsiteY5" fmla="*/ 2091765 h 5821831"/>
              <a:gd name="connsiteX6" fmla="*/ 637103 w 6502743"/>
              <a:gd name="connsiteY6" fmla="*/ 6249 h 5821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02743" h="5821831">
                <a:moveTo>
                  <a:pt x="641777" y="0"/>
                </a:moveTo>
                <a:lnTo>
                  <a:pt x="6502743" y="0"/>
                </a:lnTo>
                <a:lnTo>
                  <a:pt x="6502743" y="4581393"/>
                </a:lnTo>
                <a:lnTo>
                  <a:pt x="6368283" y="4729320"/>
                </a:lnTo>
                <a:cubicBezTo>
                  <a:pt x="5693204" y="5404330"/>
                  <a:pt x="4760591" y="5821831"/>
                  <a:pt x="3730454" y="5821831"/>
                </a:cubicBezTo>
                <a:cubicBezTo>
                  <a:pt x="1670181" y="5821831"/>
                  <a:pt x="0" y="4151824"/>
                  <a:pt x="0" y="2091765"/>
                </a:cubicBezTo>
                <a:cubicBezTo>
                  <a:pt x="0" y="1319243"/>
                  <a:pt x="234870" y="601572"/>
                  <a:pt x="637103" y="6249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4952257"/>
            <a:ext cx="5912646" cy="969496"/>
          </a:xfrm>
        </p:spPr>
        <p:txBody>
          <a:bodyPr anchor="b">
            <a:noAutofit/>
          </a:bodyPr>
          <a:lstStyle>
            <a:lvl1pPr>
              <a:defRPr sz="7000">
                <a:solidFill>
                  <a:schemeClr val="accent2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kapittel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0EE1215-8BFC-4402-8AF8-777B7C8D6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6704" y="5976769"/>
            <a:ext cx="5912646" cy="432054"/>
          </a:xfrm>
        </p:spPr>
        <p:txBody>
          <a:bodyPr lIns="86400"/>
          <a:lstStyle>
            <a:lvl1pPr marL="0" indent="0" algn="l">
              <a:buNone/>
              <a:defRPr sz="1600">
                <a:solidFill>
                  <a:schemeClr val="accent2"/>
                </a:solidFill>
                <a:latin typeface="SpareBank 1 Light" panose="020B0500030000000000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E54C31-34D8-42E9-8DA6-17AEAE2973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6704" y="303620"/>
            <a:ext cx="1720380" cy="92333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accent2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7CC54D-2DC9-48B2-9120-D93F728550C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3B2FE8A8-D76E-449B-9226-24FC2258849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3E1D7BB8-B7E0-4C40-B081-6B8B4100FF7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61618193-91F3-4633-AF08-71C2D692B01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C1EA0EA8-9984-4892-BBD2-610B78FD97C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67C023F-45C9-4C10-A2C9-E1C6D66C3B1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76DF5DEA-4A8C-4684-BC3D-9C6A3A811E30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BA3F25F2-9508-42A0-840B-E7E985081894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28DDF88F-6B09-F250-440A-37260AC2511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6" name="logo_hvit" hidden="1">
            <a:extLst>
              <a:ext uri="{FF2B5EF4-FFF2-40B4-BE49-F238E27FC236}">
                <a16:creationId xmlns:a16="http://schemas.microsoft.com/office/drawing/2014/main" id="{A5CACE3A-EB3A-AC32-C486-22B0ACAD1C97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61484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 med bilde (Høyre nede, sirkel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D22E757-EFE7-4496-8FCA-C88C207173B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5310" y="0"/>
            <a:ext cx="5885376" cy="4521285"/>
          </a:xfrm>
          <a:custGeom>
            <a:avLst/>
            <a:gdLst>
              <a:gd name="connsiteX0" fmla="*/ 461865 w 5885376"/>
              <a:gd name="connsiteY0" fmla="*/ 0 h 4521285"/>
              <a:gd name="connsiteX1" fmla="*/ 5423511 w 5885376"/>
              <a:gd name="connsiteY1" fmla="*/ 0 h 4521285"/>
              <a:gd name="connsiteX2" fmla="*/ 5530209 w 5885376"/>
              <a:gd name="connsiteY2" fmla="*/ 175643 h 4521285"/>
              <a:gd name="connsiteX3" fmla="*/ 5885376 w 5885376"/>
              <a:gd name="connsiteY3" fmla="*/ 1578398 h 4521285"/>
              <a:gd name="connsiteX4" fmla="*/ 2942688 w 5885376"/>
              <a:gd name="connsiteY4" fmla="*/ 4521285 h 4521285"/>
              <a:gd name="connsiteX5" fmla="*/ 0 w 5885376"/>
              <a:gd name="connsiteY5" fmla="*/ 1578398 h 4521285"/>
              <a:gd name="connsiteX6" fmla="*/ 355167 w 5885376"/>
              <a:gd name="connsiteY6" fmla="*/ 175643 h 4521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85376" h="4521285">
                <a:moveTo>
                  <a:pt x="461865" y="0"/>
                </a:moveTo>
                <a:lnTo>
                  <a:pt x="5423511" y="0"/>
                </a:lnTo>
                <a:lnTo>
                  <a:pt x="5530209" y="175643"/>
                </a:lnTo>
                <a:cubicBezTo>
                  <a:pt x="5756715" y="592630"/>
                  <a:pt x="5885376" y="1070488"/>
                  <a:pt x="5885376" y="1578398"/>
                </a:cubicBezTo>
                <a:cubicBezTo>
                  <a:pt x="5885376" y="3203710"/>
                  <a:pt x="4567890" y="4521285"/>
                  <a:pt x="2942688" y="4521285"/>
                </a:cubicBezTo>
                <a:cubicBezTo>
                  <a:pt x="1317486" y="4521285"/>
                  <a:pt x="0" y="3203710"/>
                  <a:pt x="0" y="1578398"/>
                </a:cubicBezTo>
                <a:cubicBezTo>
                  <a:pt x="0" y="1070488"/>
                  <a:pt x="128661" y="592630"/>
                  <a:pt x="355167" y="175643"/>
                </a:cubicBezTo>
                <a:close/>
              </a:path>
            </a:pathLst>
          </a:custGeom>
          <a:solidFill>
            <a:srgbClr val="D9D8E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F73AC3B-A4A9-4926-98E2-D54C056F90E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34350" y="1270489"/>
            <a:ext cx="6757650" cy="5587512"/>
          </a:xfrm>
          <a:custGeom>
            <a:avLst/>
            <a:gdLst>
              <a:gd name="connsiteX0" fmla="*/ 3737429 w 6757650"/>
              <a:gd name="connsiteY0" fmla="*/ 0 h 5587512"/>
              <a:gd name="connsiteX1" fmla="*/ 6621411 w 6757650"/>
              <a:gd name="connsiteY1" fmla="*/ 1360397 h 5587512"/>
              <a:gd name="connsiteX2" fmla="*/ 6757650 w 6757650"/>
              <a:gd name="connsiteY2" fmla="*/ 1542630 h 5587512"/>
              <a:gd name="connsiteX3" fmla="*/ 6757650 w 6757650"/>
              <a:gd name="connsiteY3" fmla="*/ 5587512 h 5587512"/>
              <a:gd name="connsiteX4" fmla="*/ 491968 w 6757650"/>
              <a:gd name="connsiteY4" fmla="*/ 5587512 h 5587512"/>
              <a:gd name="connsiteX5" fmla="*/ 451088 w 6757650"/>
              <a:gd name="connsiteY5" fmla="*/ 5520206 h 5587512"/>
              <a:gd name="connsiteX6" fmla="*/ 0 w 6757650"/>
              <a:gd name="connsiteY6" fmla="*/ 3738307 h 5587512"/>
              <a:gd name="connsiteX7" fmla="*/ 3737429 w 6757650"/>
              <a:gd name="connsiteY7" fmla="*/ 0 h 5587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57650" h="5587512">
                <a:moveTo>
                  <a:pt x="3737429" y="0"/>
                </a:moveTo>
                <a:cubicBezTo>
                  <a:pt x="4898499" y="0"/>
                  <a:pt x="5935911" y="529568"/>
                  <a:pt x="6621411" y="1360397"/>
                </a:cubicBezTo>
                <a:lnTo>
                  <a:pt x="6757650" y="1542630"/>
                </a:lnTo>
                <a:lnTo>
                  <a:pt x="6757650" y="5587512"/>
                </a:lnTo>
                <a:lnTo>
                  <a:pt x="491968" y="5587512"/>
                </a:lnTo>
                <a:lnTo>
                  <a:pt x="451088" y="5520206"/>
                </a:lnTo>
                <a:cubicBezTo>
                  <a:pt x="163409" y="4990513"/>
                  <a:pt x="0" y="4383498"/>
                  <a:pt x="0" y="3738307"/>
                </a:cubicBezTo>
                <a:cubicBezTo>
                  <a:pt x="0" y="1673697"/>
                  <a:pt x="1673304" y="0"/>
                  <a:pt x="373742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E54C31-34D8-42E9-8DA6-17AEAE2973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6704" y="303620"/>
            <a:ext cx="1721015" cy="92333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accent2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1367221"/>
            <a:ext cx="5614196" cy="969496"/>
          </a:xfrm>
        </p:spPr>
        <p:txBody>
          <a:bodyPr anchor="ctr">
            <a:noAutofit/>
          </a:bodyPr>
          <a:lstStyle>
            <a:lvl1pPr>
              <a:defRPr sz="7000">
                <a:solidFill>
                  <a:schemeClr val="accent2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kapittel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0EE1215-8BFC-4402-8AF8-777B7C8D6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6704" y="2556833"/>
            <a:ext cx="5614196" cy="432054"/>
          </a:xfrm>
        </p:spPr>
        <p:txBody>
          <a:bodyPr lIns="86400"/>
          <a:lstStyle>
            <a:lvl1pPr marL="0" indent="0" algn="l">
              <a:buNone/>
              <a:defRPr sz="1600">
                <a:solidFill>
                  <a:schemeClr val="accent2"/>
                </a:solidFill>
                <a:latin typeface="SpareBank 1 Light" panose="020B0500030000000000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D3E1BA9-A908-4A48-A0A6-59B33BE169B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A1CC3DA1-6E86-4C3A-B22E-95896C5B284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AF58B9B1-B8B4-4686-95DA-24EC9795FA3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2F8CF7-A768-4FDA-B0E0-9D9BFBF0536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8EC9EC8E-BBE1-4C9B-B12F-C37E3754342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1D75CE87-EA9B-47E7-853C-FAC43232B17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F213F449-5667-488C-B67F-599AB7F3199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5" name="addin_image" hidden="1">
            <a:extLst>
              <a:ext uri="{FF2B5EF4-FFF2-40B4-BE49-F238E27FC236}">
                <a16:creationId xmlns:a16="http://schemas.microsoft.com/office/drawing/2014/main" id="{92472BBB-FF87-41B4-95E1-040D828D78AC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F92353C6-039E-6677-F3CE-FE56CC1B162B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7" name="logo_hvit" hidden="1">
            <a:extLst>
              <a:ext uri="{FF2B5EF4-FFF2-40B4-BE49-F238E27FC236}">
                <a16:creationId xmlns:a16="http://schemas.microsoft.com/office/drawing/2014/main" id="{86FB9DEF-5E03-88EB-B5A2-DA56CDBD2D06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60070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 med bilde (Bak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59BB2EB-AC30-458C-8A51-78396746304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C295C1-C2D0-4B81-AFB0-17F1A5F19B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4394140" y="3746500"/>
            <a:ext cx="7797860" cy="3111500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E54C31-34D8-42E9-8DA6-17AEAE2973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6704" y="129452"/>
            <a:ext cx="4077436" cy="2308324"/>
          </a:xfrm>
        </p:spPr>
        <p:txBody>
          <a:bodyPr>
            <a:noAutofit/>
          </a:bodyPr>
          <a:lstStyle>
            <a:lvl1pPr marL="0" indent="0">
              <a:buNone/>
              <a:defRPr sz="15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5900" y="4231704"/>
            <a:ext cx="6681674" cy="96852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5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kapittel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0EE1215-8BFC-4402-8AF8-777B7C8D6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95900" y="5385925"/>
            <a:ext cx="6681674" cy="432054"/>
          </a:xfrm>
        </p:spPr>
        <p:txBody>
          <a:bodyPr lIns="86400"/>
          <a:lstStyle>
            <a:lvl1pPr marL="0" indent="0" algn="l">
              <a:buNone/>
              <a:defRPr sz="1600">
                <a:solidFill>
                  <a:schemeClr val="bg1"/>
                </a:solidFill>
                <a:latin typeface="SpareBank 1 Light" panose="020B0500030000000000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D686DF5-6783-49D1-A41E-12D23A566AC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59C43119-D1A7-415A-9B56-BB4C24B48D44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B3653F2D-47AC-43E1-A4F9-A6890FE46B6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B6546765-0756-4B17-9E12-187EA7A828E9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184A1887-91A2-4FF0-90C1-337F68E109C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F5BC4CF7-4561-4A71-AF04-561C00C4AD4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7863F087-9D6E-4220-8839-5C80E284A31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84A80EA-372E-4020-AAFF-EA2E11888C88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DE3EFA86-4F0D-4D8F-A8A2-EC95FFEC0C4F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4" name="logo_blaa" hidden="1">
            <a:extLst>
              <a:ext uri="{FF2B5EF4-FFF2-40B4-BE49-F238E27FC236}">
                <a16:creationId xmlns:a16="http://schemas.microsoft.com/office/drawing/2014/main" id="{26128C8C-F35D-1D13-BFD4-8228FC05B375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8" name="logo_hvit" hidden="1">
            <a:extLst>
              <a:ext uri="{FF2B5EF4-FFF2-40B4-BE49-F238E27FC236}">
                <a16:creationId xmlns:a16="http://schemas.microsoft.com/office/drawing/2014/main" id="{F7BDA97E-26A9-8C05-BCEB-0B51336162EB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6735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tekst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7958934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89050" y="1695768"/>
            <a:ext cx="6986588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E6BAA0E-1B86-4920-A1B2-C297FAE1CDE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22FBF37D-5623-4C94-95F7-6B688EA5553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D34625E-682F-408E-9E14-44E86352C209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C088646E-0C10-49D0-94E8-3DB163FA2C4C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3FAED136-CB72-41E9-B69D-5D4265BCF28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030D9758-64E0-4C2C-B06A-CF33C984FB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1E9C160B-0092-42DA-9F24-0CD3E8D3FC8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AF8B621-0985-46F8-805B-7FF310B154A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89051" y="2216151"/>
            <a:ext cx="6986849" cy="333374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20" name="logo_blaa" hidden="1">
            <a:extLst>
              <a:ext uri="{FF2B5EF4-FFF2-40B4-BE49-F238E27FC236}">
                <a16:creationId xmlns:a16="http://schemas.microsoft.com/office/drawing/2014/main" id="{363C9E05-D965-514A-50D6-070DEB4E95E2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3" name="logo_hvit" hidden="1">
            <a:extLst>
              <a:ext uri="{FF2B5EF4-FFF2-40B4-BE49-F238E27FC236}">
                <a16:creationId xmlns:a16="http://schemas.microsoft.com/office/drawing/2014/main" id="{66AE1A33-C7E1-E457-F750-B0CC61592C47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9008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CF321DF-3A33-4CC1-B5B4-4FEC55D27EC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1306508"/>
            <a:ext cx="5588796" cy="553998"/>
          </a:xfrm>
        </p:spPr>
        <p:txBody>
          <a:bodyPr anchor="b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08CD17-0B38-4678-850D-681E5D48C3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466340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1985966"/>
            <a:ext cx="5589587" cy="341313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392F2E7-3B07-419D-B3BD-4D2B0A9B9A2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5912" y="233096"/>
            <a:ext cx="5589587" cy="341313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</a:lstStyle>
          <a:p>
            <a:pPr lvl="0"/>
            <a:r>
              <a:rPr lang="en-US" dirty="0" err="1"/>
              <a:t>Deskriptor</a:t>
            </a:r>
            <a:r>
              <a:rPr lang="en-US" dirty="0"/>
              <a:t> for </a:t>
            </a:r>
            <a:r>
              <a:rPr lang="en-US" dirty="0" err="1"/>
              <a:t>bilde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98628ED4-BEC0-4634-8E8D-6E8B1F0192A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A078E940-72D0-42A4-93F1-0ED159E95F5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D37F48B1-7ACE-4F4E-8A31-8FF315C54D1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5B8F4AEB-14D2-4216-AC0E-A75496A332B0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AC1F6EC1-046D-4D1B-ACDF-11EC0B74914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F98C4818-990B-4A03-A765-145459C6F9E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1DF3A714-D07A-4DCB-BE64-85ABAC3DA10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EA4FB2CF-9FF1-4850-8037-423724FE76A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577E44D0-6E18-4464-AA46-505BD8E43B3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3932BAD-EFF5-412E-A960-7D42348E32DD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25" name="logo_blaa" hidden="1">
            <a:extLst>
              <a:ext uri="{FF2B5EF4-FFF2-40B4-BE49-F238E27FC236}">
                <a16:creationId xmlns:a16="http://schemas.microsoft.com/office/drawing/2014/main" id="{574E2B7F-40AC-7748-2AFB-DDBE03BC72DE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9" name="logo_hvit" hidden="1">
            <a:extLst>
              <a:ext uri="{FF2B5EF4-FFF2-40B4-BE49-F238E27FC236}">
                <a16:creationId xmlns:a16="http://schemas.microsoft.com/office/drawing/2014/main" id="{B4F68DE2-8C53-B396-BCF7-C87AEEDF546A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04274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tekst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03984" y="1695768"/>
            <a:ext cx="8237830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0D86FDA6-32A9-4186-AFB3-2EB461FDB82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0918BD1B-00D5-42DF-8027-0E271560CF36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0184F0D-42BD-4F7D-A667-285A14FFD8D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0FE005F2-94D0-48ED-8E0B-9E95AB0F7A8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DABB563F-C536-4E6B-8FAB-1661085EA02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4942B9FD-E5B3-491C-8BD8-EF75F4DDADF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53812EEB-671E-4246-B775-9DDF0E16485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7FE5726C-38E7-483F-A737-043513F3D34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3983" y="2216149"/>
            <a:ext cx="8237830" cy="381542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3" name="logo_blaa" hidden="1">
            <a:extLst>
              <a:ext uri="{FF2B5EF4-FFF2-40B4-BE49-F238E27FC236}">
                <a16:creationId xmlns:a16="http://schemas.microsoft.com/office/drawing/2014/main" id="{4F6634E7-E00E-73DE-B290-487C9CFA8C21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3" name="logo_hvit" hidden="1">
            <a:extLst>
              <a:ext uri="{FF2B5EF4-FFF2-40B4-BE49-F238E27FC236}">
                <a16:creationId xmlns:a16="http://schemas.microsoft.com/office/drawing/2014/main" id="{2C7FB007-7A7F-AE80-B6B5-16401BCAB8A0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6044919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tekst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88256" y="1695768"/>
            <a:ext cx="10553558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F8C82DF-AABB-4910-AAF7-401C50AD3C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607BA65C-409C-495A-A826-A9EC045259F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935AD07-038A-4101-8144-4B09CAED498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D357C967-5FB7-49AB-920C-1F53E57063A1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80019DA8-1266-4502-94C3-01CC09A2BD1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AA14CF9A-9970-43D9-92B0-5A729151571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E05A82BB-796B-4BD1-B6FA-858F3648C4E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1F1C9804-CF58-42D2-9F31-B4AF21DCFDA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88255" y="2216149"/>
            <a:ext cx="10553558" cy="381542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78526989-A534-48DE-5DF7-025D00C66B8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3" name="logo_hvit" hidden="1">
            <a:extLst>
              <a:ext uri="{FF2B5EF4-FFF2-40B4-BE49-F238E27FC236}">
                <a16:creationId xmlns:a16="http://schemas.microsoft.com/office/drawing/2014/main" id="{4A97A013-E771-2551-7A11-49670EFC0D5C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16853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0D86FDA6-32A9-4186-AFB3-2EB461FDB82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0918BD1B-00D5-42DF-8027-0E271560CF36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0184F0D-42BD-4F7D-A667-285A14FFD8D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0FE005F2-94D0-48ED-8E0B-9E95AB0F7A8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DABB563F-C536-4E6B-8FAB-1661085EA02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4942B9FD-E5B3-491C-8BD8-EF75F4DDADF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53812EEB-671E-4246-B775-9DDF0E16485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4DFAB5E3-9CBE-4BC7-B63B-591246D541D2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16840" y="1695769"/>
            <a:ext cx="8237830" cy="4335803"/>
          </a:xfrm>
          <a:prstGeom prst="rect">
            <a:avLst/>
          </a:prstGeom>
        </p:spPr>
        <p:txBody>
          <a:bodyPr lIns="0" tIns="0" rIns="0" bIns="0"/>
          <a:lstStyle>
            <a:lvl1pPr marL="2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 i="0" u="none" cap="none">
                <a:solidFill>
                  <a:srgbClr val="00207D"/>
                </a:solidFill>
                <a:latin typeface="+mn-lt"/>
              </a:defRPr>
            </a:lvl1pPr>
            <a:lvl2pPr marL="7452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207D"/>
                </a:solidFill>
                <a:latin typeface="+mn-lt"/>
              </a:defRPr>
            </a:lvl2pPr>
            <a:lvl3pPr marL="114300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100" b="0" i="0" u="none" cap="none">
                <a:solidFill>
                  <a:srgbClr val="00207D"/>
                </a:solidFill>
                <a:latin typeface="+mn-lt"/>
              </a:defRPr>
            </a:lvl3pPr>
            <a:lvl4pPr marL="163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000" b="0" i="0" u="none" cap="none">
                <a:solidFill>
                  <a:srgbClr val="00207D"/>
                </a:solidFill>
                <a:latin typeface="+mn-lt"/>
              </a:defRPr>
            </a:lvl4pPr>
            <a:lvl5pPr marL="20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900" b="0" i="0" u="none" cap="none">
                <a:solidFill>
                  <a:srgbClr val="00207D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pic>
        <p:nvPicPr>
          <p:cNvPr id="13" name="logo_blaa" hidden="1">
            <a:extLst>
              <a:ext uri="{FF2B5EF4-FFF2-40B4-BE49-F238E27FC236}">
                <a16:creationId xmlns:a16="http://schemas.microsoft.com/office/drawing/2014/main" id="{445F0122-0E66-6343-CC95-5FA32C65A53E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2" name="logo_hvit" hidden="1">
            <a:extLst>
              <a:ext uri="{FF2B5EF4-FFF2-40B4-BE49-F238E27FC236}">
                <a16:creationId xmlns:a16="http://schemas.microsoft.com/office/drawing/2014/main" id="{C7B5D3EE-A886-CA40-49DB-FC12D51D2E3C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0959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stor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F8C82DF-AABB-4910-AAF7-401C50AD3C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607BA65C-409C-495A-A826-A9EC045259F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935AD07-038A-4101-8144-4B09CAED498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D357C967-5FB7-49AB-920C-1F53E57063A1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80019DA8-1266-4502-94C3-01CC09A2BD1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AA14CF9A-9970-43D9-92B0-5A729151571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E05A82BB-796B-4BD1-B6FA-858F3648C4E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FC4AA29A-0515-470D-9A65-B35D1360972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16840" y="1695769"/>
            <a:ext cx="10553558" cy="4335803"/>
          </a:xfrm>
          <a:prstGeom prst="rect">
            <a:avLst/>
          </a:prstGeom>
        </p:spPr>
        <p:txBody>
          <a:bodyPr lIns="0" tIns="0" rIns="0" bIns="0"/>
          <a:lstStyle>
            <a:lvl1pPr marL="2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 i="0" u="none" cap="none">
                <a:solidFill>
                  <a:srgbClr val="00207D"/>
                </a:solidFill>
                <a:latin typeface="+mn-lt"/>
              </a:defRPr>
            </a:lvl1pPr>
            <a:lvl2pPr marL="7452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207D"/>
                </a:solidFill>
                <a:latin typeface="+mn-lt"/>
              </a:defRPr>
            </a:lvl2pPr>
            <a:lvl3pPr marL="114300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100" b="0" i="0" u="none" cap="none">
                <a:solidFill>
                  <a:srgbClr val="00207D"/>
                </a:solidFill>
                <a:latin typeface="+mn-lt"/>
              </a:defRPr>
            </a:lvl3pPr>
            <a:lvl4pPr marL="163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000" b="0" i="0" u="none" cap="none">
                <a:solidFill>
                  <a:srgbClr val="00207D"/>
                </a:solidFill>
                <a:latin typeface="+mn-lt"/>
              </a:defRPr>
            </a:lvl4pPr>
            <a:lvl5pPr marL="20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900" b="0" i="0" u="none" cap="none">
                <a:solidFill>
                  <a:srgbClr val="00207D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996038D2-C990-3641-4AC3-22A69C76C1CA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2" name="logo_hvit" hidden="1">
            <a:extLst>
              <a:ext uri="{FF2B5EF4-FFF2-40B4-BE49-F238E27FC236}">
                <a16:creationId xmlns:a16="http://schemas.microsoft.com/office/drawing/2014/main" id="{DBE8FEE1-C0C4-62E8-F0FA-A904A1A6EAD2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16471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F8C82DF-AABB-4910-AAF7-401C50AD3C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607BA65C-409C-495A-A826-A9EC045259F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935AD07-038A-4101-8144-4B09CAED498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D357C967-5FB7-49AB-920C-1F53E57063A1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80019DA8-1266-4502-94C3-01CC09A2BD1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AA14CF9A-9970-43D9-92B0-5A729151571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E05A82BB-796B-4BD1-B6FA-858F3648C4E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FC4AA29A-0515-470D-9A65-B35D1360972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16842" y="1695769"/>
            <a:ext cx="5148643" cy="4335803"/>
          </a:xfrm>
          <a:prstGeom prst="rect">
            <a:avLst/>
          </a:prstGeom>
        </p:spPr>
        <p:txBody>
          <a:bodyPr lIns="0" tIns="0" rIns="0" bIns="0"/>
          <a:lstStyle>
            <a:lvl1pPr marL="2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 i="0" u="none" cap="none">
                <a:solidFill>
                  <a:srgbClr val="00207D"/>
                </a:solidFill>
                <a:latin typeface="+mn-lt"/>
              </a:defRPr>
            </a:lvl1pPr>
            <a:lvl2pPr marL="7452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207D"/>
                </a:solidFill>
                <a:latin typeface="+mn-lt"/>
              </a:defRPr>
            </a:lvl2pPr>
            <a:lvl3pPr marL="114300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100" b="0" i="0" u="none" cap="none">
                <a:solidFill>
                  <a:srgbClr val="00207D"/>
                </a:solidFill>
                <a:latin typeface="+mn-lt"/>
              </a:defRPr>
            </a:lvl3pPr>
            <a:lvl4pPr marL="163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000" b="0" i="0" u="none" cap="none">
                <a:solidFill>
                  <a:srgbClr val="00207D"/>
                </a:solidFill>
                <a:latin typeface="+mn-lt"/>
              </a:defRPr>
            </a:lvl4pPr>
            <a:lvl5pPr marL="20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900" b="0" i="0" u="none" cap="none">
                <a:solidFill>
                  <a:srgbClr val="00207D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0" name="Plassholder for innhold 1">
            <a:extLst>
              <a:ext uri="{FF2B5EF4-FFF2-40B4-BE49-F238E27FC236}">
                <a16:creationId xmlns:a16="http://schemas.microsoft.com/office/drawing/2014/main" id="{D75067CC-B9B0-4E2C-A856-0B89673E34E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5721755" y="1695768"/>
            <a:ext cx="5148643" cy="4335803"/>
          </a:xfrm>
          <a:prstGeom prst="rect">
            <a:avLst/>
          </a:prstGeom>
        </p:spPr>
        <p:txBody>
          <a:bodyPr lIns="0" tIns="0" rIns="0" bIns="0"/>
          <a:lstStyle>
            <a:lvl1pPr marL="2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 i="0" u="none" cap="none">
                <a:solidFill>
                  <a:srgbClr val="00207D"/>
                </a:solidFill>
                <a:latin typeface="+mn-lt"/>
              </a:defRPr>
            </a:lvl1pPr>
            <a:lvl2pPr marL="7452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207D"/>
                </a:solidFill>
                <a:latin typeface="+mn-lt"/>
              </a:defRPr>
            </a:lvl2pPr>
            <a:lvl3pPr marL="114300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100" b="0" i="0" u="none" cap="none">
                <a:solidFill>
                  <a:srgbClr val="00207D"/>
                </a:solidFill>
                <a:latin typeface="+mn-lt"/>
              </a:defRPr>
            </a:lvl3pPr>
            <a:lvl4pPr marL="163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000" b="0" i="0" u="none" cap="none">
                <a:solidFill>
                  <a:srgbClr val="00207D"/>
                </a:solidFill>
                <a:latin typeface="+mn-lt"/>
              </a:defRPr>
            </a:lvl4pPr>
            <a:lvl5pPr marL="20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900" b="0" i="0" u="none" cap="none">
                <a:solidFill>
                  <a:srgbClr val="00207D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FED28386-F90A-68B6-7BE3-759E3F6444F0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3" name="logo_hvit" hidden="1">
            <a:extLst>
              <a:ext uri="{FF2B5EF4-FFF2-40B4-BE49-F238E27FC236}">
                <a16:creationId xmlns:a16="http://schemas.microsoft.com/office/drawing/2014/main" id="{B895F5CD-F477-05F3-A6C6-6E51CCC4CC80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520033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CF321DF-3A33-4CC1-B5B4-4FEC55D27EC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1306508"/>
            <a:ext cx="5588796" cy="553998"/>
          </a:xfrm>
        </p:spPr>
        <p:txBody>
          <a:bodyPr anchor="b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08CD17-0B38-4678-850D-681E5D48C3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466340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1985966"/>
            <a:ext cx="5589587" cy="341313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392F2E7-3B07-419D-B3BD-4D2B0A9B9A2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5912" y="233096"/>
            <a:ext cx="5589587" cy="341313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</a:lstStyle>
          <a:p>
            <a:pPr lvl="0"/>
            <a:r>
              <a:rPr lang="en-US" dirty="0" err="1"/>
              <a:t>Deskriptor</a:t>
            </a:r>
            <a:r>
              <a:rPr lang="en-US" dirty="0"/>
              <a:t> for </a:t>
            </a:r>
            <a:r>
              <a:rPr lang="en-US" dirty="0" err="1"/>
              <a:t>bilde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98628ED4-BEC0-4634-8E8D-6E8B1F0192A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A078E940-72D0-42A4-93F1-0ED159E95F5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D37F48B1-7ACE-4F4E-8A31-8FF315C54D1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5B8F4AEB-14D2-4216-AC0E-A75496A332B0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AC1F6EC1-046D-4D1B-ACDF-11EC0B74914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F98C4818-990B-4A03-A765-145459C6F9E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1DF3A714-D07A-4DCB-BE64-85ABAC3DA10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EA4FB2CF-9FF1-4850-8037-423724FE76A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577E44D0-6E18-4464-AA46-505BD8E43B3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3932BAD-EFF5-412E-A960-7D42348E32DD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26" name="logo_blaa" hidden="1">
            <a:extLst>
              <a:ext uri="{FF2B5EF4-FFF2-40B4-BE49-F238E27FC236}">
                <a16:creationId xmlns:a16="http://schemas.microsoft.com/office/drawing/2014/main" id="{205710E2-A624-E43E-BF61-5CB99315D729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8" name="logo_hvit" hidden="1">
            <a:extLst>
              <a:ext uri="{FF2B5EF4-FFF2-40B4-BE49-F238E27FC236}">
                <a16:creationId xmlns:a16="http://schemas.microsoft.com/office/drawing/2014/main" id="{99D1EEC0-23E7-19CF-D948-DE5CD39FC9B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23231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)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6392DCB-D9F5-45C4-91D7-0EC3B95F3B0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999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5588796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5589587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B83287C-1B6D-42A7-B810-707CF60965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D52C60E8-6184-4E09-BFB9-914124AA58AF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4F4C1600-3FC9-4DE3-AE62-F70A46786D9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4F33EF02-B40B-40D4-BCF1-E6DD8A71FA09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3FDBBF1B-E505-4C56-B7B9-E7A60C1AB33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1A57301C-BDC3-4E80-B43E-AD9F9CA9505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D171F4EA-811C-4530-8202-F7F86CC5E3C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BED07210-E86B-4E5E-B346-60D1CAFCC62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4" name="DefLogoHvit" hidden="1">
            <a:extLst>
              <a:ext uri="{FF2B5EF4-FFF2-40B4-BE49-F238E27FC236}">
                <a16:creationId xmlns:a16="http://schemas.microsoft.com/office/drawing/2014/main" id="{BC632F05-D42F-449E-9874-9E9ECBD0D897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15EF44-DFF9-4153-9226-166E215234CD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25" name="logo_blaa" hidden="1">
            <a:extLst>
              <a:ext uri="{FF2B5EF4-FFF2-40B4-BE49-F238E27FC236}">
                <a16:creationId xmlns:a16="http://schemas.microsoft.com/office/drawing/2014/main" id="{C983DB0E-101E-8B3F-32B3-354CFD3DAA6B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8" name="logo_hvit" hidden="1">
            <a:extLst>
              <a:ext uri="{FF2B5EF4-FFF2-40B4-BE49-F238E27FC236}">
                <a16:creationId xmlns:a16="http://schemas.microsoft.com/office/drawing/2014/main" id="{F07176D3-1C76-206F-BD59-5BAF3DC1C97E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71301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 nede, sirkel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EA8A8A2A-6A3B-44AB-8647-260EC7923E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86502" y="1033150"/>
            <a:ext cx="5905498" cy="5824850"/>
          </a:xfrm>
          <a:custGeom>
            <a:avLst/>
            <a:gdLst>
              <a:gd name="connsiteX0" fmla="*/ 3467099 w 5905498"/>
              <a:gd name="connsiteY0" fmla="*/ 0 h 5824850"/>
              <a:gd name="connsiteX1" fmla="*/ 5672496 w 5905498"/>
              <a:gd name="connsiteY1" fmla="*/ 791717 h 5824850"/>
              <a:gd name="connsiteX2" fmla="*/ 5905498 w 5905498"/>
              <a:gd name="connsiteY2" fmla="*/ 1003484 h 5824850"/>
              <a:gd name="connsiteX3" fmla="*/ 5905498 w 5905498"/>
              <a:gd name="connsiteY3" fmla="*/ 5824850 h 5824850"/>
              <a:gd name="connsiteX4" fmla="*/ 930186 w 5905498"/>
              <a:gd name="connsiteY4" fmla="*/ 5824850 h 5824850"/>
              <a:gd name="connsiteX5" fmla="*/ 791717 w 5905498"/>
              <a:gd name="connsiteY5" fmla="*/ 5672496 h 5824850"/>
              <a:gd name="connsiteX6" fmla="*/ 0 w 5905498"/>
              <a:gd name="connsiteY6" fmla="*/ 3467100 h 5824850"/>
              <a:gd name="connsiteX7" fmla="*/ 3467099 w 5905498"/>
              <a:gd name="connsiteY7" fmla="*/ 0 h 582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05498" h="5824850">
                <a:moveTo>
                  <a:pt x="3467099" y="0"/>
                </a:moveTo>
                <a:cubicBezTo>
                  <a:pt x="4304836" y="0"/>
                  <a:pt x="5073177" y="297115"/>
                  <a:pt x="5672496" y="791717"/>
                </a:cubicBezTo>
                <a:lnTo>
                  <a:pt x="5905498" y="1003484"/>
                </a:lnTo>
                <a:lnTo>
                  <a:pt x="5905498" y="5824850"/>
                </a:lnTo>
                <a:lnTo>
                  <a:pt x="930186" y="5824850"/>
                </a:lnTo>
                <a:lnTo>
                  <a:pt x="791717" y="5672496"/>
                </a:lnTo>
                <a:cubicBezTo>
                  <a:pt x="297115" y="5073177"/>
                  <a:pt x="0" y="4304836"/>
                  <a:pt x="0" y="3467100"/>
                </a:cubicBezTo>
                <a:cubicBezTo>
                  <a:pt x="0" y="1552273"/>
                  <a:pt x="1552273" y="0"/>
                  <a:pt x="3467099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5588796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5589587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832CADD-DDDE-4851-8BD1-99710FABB5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DFDA5939-391C-41D0-8F21-DD084424DB5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41D1CBCC-8E3A-47BE-982B-49EC2954D30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6793D32F-7B07-46C0-A33B-03EB8B18EE8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D8764E46-805A-407F-96C5-5A83D097195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204C9A61-3DE7-4BB7-AD6F-13FF004746F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1359F353-A991-43DF-8E05-D685ABD656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DA7D6A04-F3CF-46DC-9183-2173EDE5C745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E7E4907A-1620-4FFD-9C4A-1747B90959E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53839F9B-ED44-48F4-B5D6-98DC325BA7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286502" y="1033150"/>
            <a:ext cx="5905498" cy="5824850"/>
          </a:xfrm>
          <a:custGeom>
            <a:avLst/>
            <a:gdLst>
              <a:gd name="connsiteX0" fmla="*/ 3467099 w 5905498"/>
              <a:gd name="connsiteY0" fmla="*/ 0 h 5824850"/>
              <a:gd name="connsiteX1" fmla="*/ 5672496 w 5905498"/>
              <a:gd name="connsiteY1" fmla="*/ 791717 h 5824850"/>
              <a:gd name="connsiteX2" fmla="*/ 5905498 w 5905498"/>
              <a:gd name="connsiteY2" fmla="*/ 1003484 h 5824850"/>
              <a:gd name="connsiteX3" fmla="*/ 5905498 w 5905498"/>
              <a:gd name="connsiteY3" fmla="*/ 5824850 h 5824850"/>
              <a:gd name="connsiteX4" fmla="*/ 930186 w 5905498"/>
              <a:gd name="connsiteY4" fmla="*/ 5824850 h 5824850"/>
              <a:gd name="connsiteX5" fmla="*/ 791717 w 5905498"/>
              <a:gd name="connsiteY5" fmla="*/ 5672496 h 5824850"/>
              <a:gd name="connsiteX6" fmla="*/ 0 w 5905498"/>
              <a:gd name="connsiteY6" fmla="*/ 3467099 h 5824850"/>
              <a:gd name="connsiteX7" fmla="*/ 3467099 w 5905498"/>
              <a:gd name="connsiteY7" fmla="*/ 0 h 582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05498" h="5824850">
                <a:moveTo>
                  <a:pt x="3467099" y="0"/>
                </a:moveTo>
                <a:cubicBezTo>
                  <a:pt x="4304836" y="0"/>
                  <a:pt x="5073177" y="297115"/>
                  <a:pt x="5672496" y="791717"/>
                </a:cubicBezTo>
                <a:lnTo>
                  <a:pt x="5905498" y="1003484"/>
                </a:lnTo>
                <a:lnTo>
                  <a:pt x="5905498" y="5824850"/>
                </a:lnTo>
                <a:lnTo>
                  <a:pt x="930186" y="5824850"/>
                </a:lnTo>
                <a:lnTo>
                  <a:pt x="791717" y="5672496"/>
                </a:lnTo>
                <a:cubicBezTo>
                  <a:pt x="297115" y="5073177"/>
                  <a:pt x="0" y="4304836"/>
                  <a:pt x="0" y="3467099"/>
                </a:cubicBezTo>
                <a:cubicBezTo>
                  <a:pt x="0" y="1552273"/>
                  <a:pt x="1552273" y="0"/>
                  <a:pt x="346709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pic>
        <p:nvPicPr>
          <p:cNvPr id="18" name="logo_blaa" hidden="1">
            <a:extLst>
              <a:ext uri="{FF2B5EF4-FFF2-40B4-BE49-F238E27FC236}">
                <a16:creationId xmlns:a16="http://schemas.microsoft.com/office/drawing/2014/main" id="{EE90C330-BC1A-F553-3041-983BCAF1E30F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6" name="logo_hvit" hidden="1">
            <a:extLst>
              <a:ext uri="{FF2B5EF4-FFF2-40B4-BE49-F238E27FC236}">
                <a16:creationId xmlns:a16="http://schemas.microsoft.com/office/drawing/2014/main" id="{51F972E8-A39A-BBB9-BB54-8BFDD81CB27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88830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 nede, sirkel, liten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6D115F76-499E-4BA8-ACCD-A3E76104C34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20288" y="2667000"/>
            <a:ext cx="4271712" cy="4191000"/>
          </a:xfrm>
          <a:custGeom>
            <a:avLst/>
            <a:gdLst>
              <a:gd name="connsiteX0" fmla="*/ 2654198 w 4271712"/>
              <a:gd name="connsiteY0" fmla="*/ 0 h 4191000"/>
              <a:gd name="connsiteX1" fmla="*/ 4138185 w 4271712"/>
              <a:gd name="connsiteY1" fmla="*/ 453313 h 4191000"/>
              <a:gd name="connsiteX2" fmla="*/ 4271712 w 4271712"/>
              <a:gd name="connsiteY2" fmla="*/ 553166 h 4191000"/>
              <a:gd name="connsiteX3" fmla="*/ 4271712 w 4271712"/>
              <a:gd name="connsiteY3" fmla="*/ 4191000 h 4191000"/>
              <a:gd name="connsiteX4" fmla="*/ 492669 w 4271712"/>
              <a:gd name="connsiteY4" fmla="*/ 4191000 h 4191000"/>
              <a:gd name="connsiteX5" fmla="*/ 453296 w 4271712"/>
              <a:gd name="connsiteY5" fmla="*/ 4138345 h 4191000"/>
              <a:gd name="connsiteX6" fmla="*/ 0 w 4271712"/>
              <a:gd name="connsiteY6" fmla="*/ 2654300 h 4191000"/>
              <a:gd name="connsiteX7" fmla="*/ 2654198 w 4271712"/>
              <a:gd name="connsiteY7" fmla="*/ 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71712" h="4191000">
                <a:moveTo>
                  <a:pt x="2654198" y="0"/>
                </a:moveTo>
                <a:cubicBezTo>
                  <a:pt x="3203901" y="0"/>
                  <a:pt x="3714573" y="167115"/>
                  <a:pt x="4138185" y="453313"/>
                </a:cubicBezTo>
                <a:lnTo>
                  <a:pt x="4271712" y="553166"/>
                </a:lnTo>
                <a:lnTo>
                  <a:pt x="4271712" y="4191000"/>
                </a:lnTo>
                <a:lnTo>
                  <a:pt x="492669" y="4191000"/>
                </a:lnTo>
                <a:lnTo>
                  <a:pt x="453296" y="4138345"/>
                </a:lnTo>
                <a:cubicBezTo>
                  <a:pt x="167108" y="3714716"/>
                  <a:pt x="0" y="3204024"/>
                  <a:pt x="0" y="2654300"/>
                </a:cubicBezTo>
                <a:cubicBezTo>
                  <a:pt x="0" y="1188371"/>
                  <a:pt x="1188325" y="0"/>
                  <a:pt x="2654198" y="0"/>
                </a:cubicBezTo>
                <a:close/>
              </a:path>
            </a:pathLst>
          </a:custGeom>
          <a:solidFill>
            <a:srgbClr val="002776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5588796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5589587" cy="430887"/>
          </a:xfrm>
        </p:spPr>
        <p:txBody>
          <a:bodyPr anchor="t"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832CADD-DDDE-4851-8BD1-99710FABB5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DFDA5939-391C-41D0-8F21-DD084424DB5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41D1CBCC-8E3A-47BE-982B-49EC2954D30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6793D32F-7B07-46C0-A33B-03EB8B18EE8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D8764E46-805A-407F-96C5-5A83D097195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204C9A61-3DE7-4BB7-AD6F-13FF004746F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1359F353-A991-43DF-8E05-D685ABD656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DA7D6A04-F3CF-46DC-9183-2173EDE5C745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E7E4907A-1620-4FFD-9C4A-1747B90959E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0041E85E-F425-444C-8552-A079AFFD576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920288" y="2667000"/>
            <a:ext cx="4271712" cy="4191000"/>
          </a:xfrm>
          <a:custGeom>
            <a:avLst/>
            <a:gdLst>
              <a:gd name="connsiteX0" fmla="*/ 2654198 w 4271712"/>
              <a:gd name="connsiteY0" fmla="*/ 0 h 4191000"/>
              <a:gd name="connsiteX1" fmla="*/ 4138185 w 4271712"/>
              <a:gd name="connsiteY1" fmla="*/ 453313 h 4191000"/>
              <a:gd name="connsiteX2" fmla="*/ 4271712 w 4271712"/>
              <a:gd name="connsiteY2" fmla="*/ 553166 h 4191000"/>
              <a:gd name="connsiteX3" fmla="*/ 4271712 w 4271712"/>
              <a:gd name="connsiteY3" fmla="*/ 4191000 h 4191000"/>
              <a:gd name="connsiteX4" fmla="*/ 492669 w 4271712"/>
              <a:gd name="connsiteY4" fmla="*/ 4191000 h 4191000"/>
              <a:gd name="connsiteX5" fmla="*/ 453296 w 4271712"/>
              <a:gd name="connsiteY5" fmla="*/ 4138345 h 4191000"/>
              <a:gd name="connsiteX6" fmla="*/ 0 w 4271712"/>
              <a:gd name="connsiteY6" fmla="*/ 2654300 h 4191000"/>
              <a:gd name="connsiteX7" fmla="*/ 2654198 w 4271712"/>
              <a:gd name="connsiteY7" fmla="*/ 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71712" h="4191000">
                <a:moveTo>
                  <a:pt x="2654198" y="0"/>
                </a:moveTo>
                <a:cubicBezTo>
                  <a:pt x="3203901" y="0"/>
                  <a:pt x="3714573" y="167115"/>
                  <a:pt x="4138185" y="453313"/>
                </a:cubicBezTo>
                <a:lnTo>
                  <a:pt x="4271712" y="553166"/>
                </a:lnTo>
                <a:lnTo>
                  <a:pt x="4271712" y="4191000"/>
                </a:lnTo>
                <a:lnTo>
                  <a:pt x="492669" y="4191000"/>
                </a:lnTo>
                <a:lnTo>
                  <a:pt x="453296" y="4138345"/>
                </a:lnTo>
                <a:cubicBezTo>
                  <a:pt x="167109" y="3714715"/>
                  <a:pt x="0" y="3204024"/>
                  <a:pt x="0" y="2654300"/>
                </a:cubicBezTo>
                <a:cubicBezTo>
                  <a:pt x="0" y="1188371"/>
                  <a:pt x="1188325" y="0"/>
                  <a:pt x="265419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18" name="logo_blaa" hidden="1">
            <a:extLst>
              <a:ext uri="{FF2B5EF4-FFF2-40B4-BE49-F238E27FC236}">
                <a16:creationId xmlns:a16="http://schemas.microsoft.com/office/drawing/2014/main" id="{9C9D718A-7E1B-9E13-033E-07B17A36B23F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6" name="logo_hvit" hidden="1">
            <a:extLst>
              <a:ext uri="{FF2B5EF4-FFF2-40B4-BE49-F238E27FC236}">
                <a16:creationId xmlns:a16="http://schemas.microsoft.com/office/drawing/2014/main" id="{EA267CB1-86AF-406B-5246-AB252993EEC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083696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)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8B906783-82F7-4F06-A909-92414CF278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0808" y="0"/>
            <a:ext cx="8281191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3378995" cy="430887"/>
          </a:xfrm>
        </p:spPr>
        <p:txBody>
          <a:bodyPr anchor="t"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33789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7372FE5E-CAA5-4EE3-813D-053EE9B99F5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DE1AB944-55F7-447E-B1B0-7777CEB8144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3C3E6D96-3091-423E-B530-6AA7F835351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865A7262-53CB-411A-B2DD-5D7B09996073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4363F96A-DC31-41C7-A2CA-C1A3F458F8B1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CE2A7C8C-4183-49E0-A81F-A87C95D40EC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8B17877C-C149-4333-893F-07266CF802A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139D70A2-5F98-4E2C-B189-EE2B4FDCCAD5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D390523-127C-4A96-AEC0-9D4C14B03B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3378203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3041F739-C6C8-45A7-9C0D-685B68A2F2DB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2E16B7E-1832-4A1C-881A-B121241BBC9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11600" y="0"/>
            <a:ext cx="8280400" cy="6858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16" name="logo_blaa" hidden="1">
            <a:extLst>
              <a:ext uri="{FF2B5EF4-FFF2-40B4-BE49-F238E27FC236}">
                <a16:creationId xmlns:a16="http://schemas.microsoft.com/office/drawing/2014/main" id="{C6D8709C-7920-2E0F-E50A-7D8252A81D92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8" name="logo_hvit" hidden="1">
            <a:extLst>
              <a:ext uri="{FF2B5EF4-FFF2-40B4-BE49-F238E27FC236}">
                <a16:creationId xmlns:a16="http://schemas.microsoft.com/office/drawing/2014/main" id="{D62EE86A-7956-DB46-5681-EE2E3CCF03C2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252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)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6392DCB-D9F5-45C4-91D7-0EC3B95F3B0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999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5588796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5589587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B83287C-1B6D-42A7-B810-707CF60965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D52C60E8-6184-4E09-BFB9-914124AA58AF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4F4C1600-3FC9-4DE3-AE62-F70A46786D9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4F33EF02-B40B-40D4-BCF1-E6DD8A71FA09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3FDBBF1B-E505-4C56-B7B9-E7A60C1AB33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1A57301C-BDC3-4E80-B43E-AD9F9CA9505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D171F4EA-811C-4530-8202-F7F86CC5E3C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BED07210-E86B-4E5E-B346-60D1CAFCC62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4" name="DefLogoHvit" hidden="1">
            <a:extLst>
              <a:ext uri="{FF2B5EF4-FFF2-40B4-BE49-F238E27FC236}">
                <a16:creationId xmlns:a16="http://schemas.microsoft.com/office/drawing/2014/main" id="{BC632F05-D42F-449E-9874-9E9ECBD0D897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15EF44-DFF9-4153-9226-166E215234CD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15" name="logo_blaa" hidden="1">
            <a:extLst>
              <a:ext uri="{FF2B5EF4-FFF2-40B4-BE49-F238E27FC236}">
                <a16:creationId xmlns:a16="http://schemas.microsoft.com/office/drawing/2014/main" id="{17B310FC-2B45-D1A2-332A-E04135CE3C23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7" name="logo_hvit" hidden="1">
            <a:extLst>
              <a:ext uri="{FF2B5EF4-FFF2-40B4-BE49-F238E27FC236}">
                <a16:creationId xmlns:a16="http://schemas.microsoft.com/office/drawing/2014/main" id="{EBD055C9-7593-2450-C0F4-D2BC5B866CAD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93161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innhold (Høyre) 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0D26DCF0-7676-47A4-8E76-C67AEF8C71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0808" y="0"/>
            <a:ext cx="8281191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3378995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33789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F9902AC6-0866-4866-BEB8-3EF36AE083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86E4A578-2604-4EF1-A112-B6EEBB1650DF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53BD8B14-1016-4228-ABB8-79ED792B2B6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9D41E301-6567-4BD4-9BF8-E8D9532FBFF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DBE22B59-58E2-4A77-A9D7-CC7F38F62F49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24E36FD8-70FB-44F5-8C26-61B5CE08134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8BD79908-CF76-4F3E-A9EC-C9C524CEFC5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A2CF66BD-25DA-4FF6-9589-251CB8ECC82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4914B5D-5A23-45A9-B953-59A3D98BDE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3378203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A9A38E28-BCBE-41B5-9F74-A416D15CB715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4013F9-6889-481B-A280-1985D2203EEC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3911600" y="0"/>
            <a:ext cx="8280400" cy="685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6" name="logo_blaa" hidden="1">
            <a:extLst>
              <a:ext uri="{FF2B5EF4-FFF2-40B4-BE49-F238E27FC236}">
                <a16:creationId xmlns:a16="http://schemas.microsoft.com/office/drawing/2014/main" id="{06A88187-E13C-2C55-7FEB-DA9F82D70703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8" name="logo_hvit" hidden="1">
            <a:extLst>
              <a:ext uri="{FF2B5EF4-FFF2-40B4-BE49-F238E27FC236}">
                <a16:creationId xmlns:a16="http://schemas.microsoft.com/office/drawing/2014/main" id="{B292F55C-BEB4-E584-3E96-A6B16EE292B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937683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innhold (Bak)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1BDE19F-A62C-4B9A-AABE-67AEE005F07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1306508"/>
            <a:ext cx="5588796" cy="553998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08CD17-0B38-4678-850D-681E5D48C3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466340"/>
            <a:ext cx="5588796" cy="3685222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1985966"/>
            <a:ext cx="5589587" cy="341313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EBDE9C1-A6AF-42BB-AD3E-EC5033DF7D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E881F7AB-121D-483A-BEEB-047633213E2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1F051DA2-02ED-4843-9F7B-A5F1B5FA1D47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737967A0-F11A-4DEB-8752-F51E6C30160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0BCBC18E-CFC3-4CBA-A77B-FCEE20A0D0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DAE9B024-9850-4644-969C-845FA2224C3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4C82FF42-4159-46F4-9A84-97CFCB2094A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A9A00501-7D4B-4A4A-9C7E-528975384D02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7EA08099-CF4B-47D5-AE1A-473F68B466AF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4" name="logo_blaa" hidden="1">
            <a:extLst>
              <a:ext uri="{FF2B5EF4-FFF2-40B4-BE49-F238E27FC236}">
                <a16:creationId xmlns:a16="http://schemas.microsoft.com/office/drawing/2014/main" id="{4CCB132E-541D-32B2-788A-423F914451E8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6" name="logo_hvit" hidden="1">
            <a:extLst>
              <a:ext uri="{FF2B5EF4-FFF2-40B4-BE49-F238E27FC236}">
                <a16:creationId xmlns:a16="http://schemas.microsoft.com/office/drawing/2014/main" id="{666A23CC-C2FF-5E75-C4E9-5003023AD912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73023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1BDE19F-A62C-4B9A-AABE-67AEE005F07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D5AB121-B777-4009-80C1-75B8761B0C1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138087C-6F4A-4D28-8FDF-F085F699A2C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6706D5D-D638-4DB1-9AC8-CD8309B275C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background" hidden="1">
            <a:extLst>
              <a:ext uri="{FF2B5EF4-FFF2-40B4-BE49-F238E27FC236}">
                <a16:creationId xmlns:a16="http://schemas.microsoft.com/office/drawing/2014/main" id="{06DEFD4A-FB2F-46A7-8EFB-9873F806D4F0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5848A094-42A0-4FA4-B133-A3B7A7B39B0F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15ECCDD0-B9DF-490B-8070-810E4261072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20FD1917-1441-4832-9EC0-0D1DABCB58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757AAD15-4D1F-4961-B536-5ECA1FDCBEF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8" name="DefLogoHvit" hidden="1">
            <a:extLst>
              <a:ext uri="{FF2B5EF4-FFF2-40B4-BE49-F238E27FC236}">
                <a16:creationId xmlns:a16="http://schemas.microsoft.com/office/drawing/2014/main" id="{9207E573-3D16-4F72-83D9-249A5604221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1" name="logo_blaa" hidden="1">
            <a:extLst>
              <a:ext uri="{FF2B5EF4-FFF2-40B4-BE49-F238E27FC236}">
                <a16:creationId xmlns:a16="http://schemas.microsoft.com/office/drawing/2014/main" id="{09B23D16-E652-D371-7B60-E200014F59A2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3" name="logo_hvit" hidden="1">
            <a:extLst>
              <a:ext uri="{FF2B5EF4-FFF2-40B4-BE49-F238E27FC236}">
                <a16:creationId xmlns:a16="http://schemas.microsoft.com/office/drawing/2014/main" id="{6431673A-6683-787D-B2B8-C73226DD057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1913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llomtittel, tekst og innhold (Bak)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2C17378-974D-4128-8D5E-84FC65123272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C295C1-C2D0-4B81-AFB0-17F1A5F19B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5326380" y="3247853"/>
            <a:ext cx="6865620" cy="3610147"/>
          </a:xfrm>
          <a:prstGeom prst="round1Rect">
            <a:avLst>
              <a:gd name="adj" fmla="val 39195"/>
            </a:avLst>
          </a:prstGeom>
          <a:solidFill>
            <a:srgbClr val="FDF3F2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69970" y="4257902"/>
            <a:ext cx="4607604" cy="394054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4B4CF32-5696-483C-9E36-AECAC554DB5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3718968E-017F-4F68-8388-B2E458897EF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95677D21-AB8E-4EAE-937F-550723AA605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0DA2D151-1A8B-4DE7-921B-4788399FB6A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A63A0026-16AF-4E57-831A-D74BAFCE142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5E142F18-FA97-44F7-B279-1943E3BC51B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366C5A4A-E52D-4E55-82D4-F2A3DEF0988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C71F8D16-8429-46C8-A55F-53113E72FB3A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F6D5F194-6865-43D1-A2E9-4920E38BE8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69971" y="4792663"/>
            <a:ext cx="4607718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CD7E94BC-22B1-0997-E9A4-F46C0407E14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6" name="logo_hvit" hidden="1">
            <a:extLst>
              <a:ext uri="{FF2B5EF4-FFF2-40B4-BE49-F238E27FC236}">
                <a16:creationId xmlns:a16="http://schemas.microsoft.com/office/drawing/2014/main" id="{3610C66A-EA4F-678B-B6C8-975CE5B58B07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460184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8E7BC67-93D3-4DE1-9069-B45F8FFA378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Content Placeholder 5" hidden="1">
            <a:extLst>
              <a:ext uri="{FF2B5EF4-FFF2-40B4-BE49-F238E27FC236}">
                <a16:creationId xmlns:a16="http://schemas.microsoft.com/office/drawing/2014/main" id="{AF9CB0EE-AD99-4A11-AADA-C4A4009C79B3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0" y="0"/>
            <a:ext cx="6096000" cy="685800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00C112-E41D-4154-A09B-F17BA74EE5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4419600" y="4651956"/>
            <a:ext cx="7772400" cy="2206044"/>
          </a:xfrm>
          <a:custGeom>
            <a:avLst/>
            <a:gdLst>
              <a:gd name="connsiteX0" fmla="*/ 6126453 w 7772400"/>
              <a:gd name="connsiteY0" fmla="*/ 0 h 2206044"/>
              <a:gd name="connsiteX1" fmla="*/ 0 w 7772400"/>
              <a:gd name="connsiteY1" fmla="*/ 0 h 2206044"/>
              <a:gd name="connsiteX2" fmla="*/ 0 w 7772400"/>
              <a:gd name="connsiteY2" fmla="*/ 2206044 h 2206044"/>
              <a:gd name="connsiteX3" fmla="*/ 7772400 w 7772400"/>
              <a:gd name="connsiteY3" fmla="*/ 2206044 h 2206044"/>
              <a:gd name="connsiteX4" fmla="*/ 7772400 w 7772400"/>
              <a:gd name="connsiteY4" fmla="*/ 1645947 h 2206044"/>
              <a:gd name="connsiteX5" fmla="*/ 6126453 w 7772400"/>
              <a:gd name="connsiteY5" fmla="*/ 0 h 2206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72400" h="2206044">
                <a:moveTo>
                  <a:pt x="6126453" y="0"/>
                </a:moveTo>
                <a:lnTo>
                  <a:pt x="0" y="0"/>
                </a:lnTo>
                <a:lnTo>
                  <a:pt x="0" y="2206044"/>
                </a:lnTo>
                <a:lnTo>
                  <a:pt x="7772400" y="2206044"/>
                </a:lnTo>
                <a:lnTo>
                  <a:pt x="7772400" y="1645947"/>
                </a:lnTo>
                <a:cubicBezTo>
                  <a:pt x="7772400" y="736916"/>
                  <a:pt x="7035484" y="0"/>
                  <a:pt x="6126453" y="0"/>
                </a:cubicBezTo>
                <a:close/>
              </a:path>
            </a:pathLst>
          </a:custGeom>
          <a:solidFill>
            <a:srgbClr val="D8D8E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5347826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5913" y="853321"/>
            <a:ext cx="5348287" cy="553998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85763" y="723901"/>
            <a:ext cx="4607762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CE135E41-F011-45ED-BC06-DEDEFCACBB2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C9EA006E-2080-4935-92C8-631EA67245C5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3" name="addin_colorbox" hidden="1">
            <a:extLst>
              <a:ext uri="{FF2B5EF4-FFF2-40B4-BE49-F238E27FC236}">
                <a16:creationId xmlns:a16="http://schemas.microsoft.com/office/drawing/2014/main" id="{2FC96FE8-006C-4558-8BA8-53291D4137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4" name="addin_background" hidden="1">
            <a:extLst>
              <a:ext uri="{FF2B5EF4-FFF2-40B4-BE49-F238E27FC236}">
                <a16:creationId xmlns:a16="http://schemas.microsoft.com/office/drawing/2014/main" id="{366A9094-1F57-4D0B-A622-EDA13749F054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5" name="addin_logo" hidden="1">
            <a:extLst>
              <a:ext uri="{FF2B5EF4-FFF2-40B4-BE49-F238E27FC236}">
                <a16:creationId xmlns:a16="http://schemas.microsoft.com/office/drawing/2014/main" id="{34FCEA06-8CAE-4214-8ECB-62EE1CDCC7A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title" hidden="1">
            <a:extLst>
              <a:ext uri="{FF2B5EF4-FFF2-40B4-BE49-F238E27FC236}">
                <a16:creationId xmlns:a16="http://schemas.microsoft.com/office/drawing/2014/main" id="{66A5CB83-A611-486A-A11E-524EC248C2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7" name="addin_text" hidden="1">
            <a:extLst>
              <a:ext uri="{FF2B5EF4-FFF2-40B4-BE49-F238E27FC236}">
                <a16:creationId xmlns:a16="http://schemas.microsoft.com/office/drawing/2014/main" id="{FF933DB9-766C-426B-B11E-45A6BA6095A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Text Placeholder 1" hidden="1">
            <a:extLst>
              <a:ext uri="{FF2B5EF4-FFF2-40B4-BE49-F238E27FC236}">
                <a16:creationId xmlns:a16="http://schemas.microsoft.com/office/drawing/2014/main" id="{4475D5B4-B04D-492A-BF9B-685A53F0430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15913" y="853321"/>
            <a:ext cx="5348287" cy="55399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2" name="Text Placeholder 1">
            <a:extLst>
              <a:ext uri="{FF2B5EF4-FFF2-40B4-BE49-F238E27FC236}">
                <a16:creationId xmlns:a16="http://schemas.microsoft.com/office/drawing/2014/main" id="{794821EF-9AF2-4167-BA65-8EAF8E8DEA4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085763" y="1196836"/>
            <a:ext cx="4607718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3" name="Text Placeholder 1">
            <a:extLst>
              <a:ext uri="{FF2B5EF4-FFF2-40B4-BE49-F238E27FC236}">
                <a16:creationId xmlns:a16="http://schemas.microsoft.com/office/drawing/2014/main" id="{CA42C7DF-ED2B-443A-9FB1-BC0F52E371D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976813" y="5544693"/>
            <a:ext cx="7000761" cy="59054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D4AF6266-31C9-74F0-DF48-9763ACBD295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8" name="logo_hvit" hidden="1">
            <a:extLst>
              <a:ext uri="{FF2B5EF4-FFF2-40B4-BE49-F238E27FC236}">
                <a16:creationId xmlns:a16="http://schemas.microsoft.com/office/drawing/2014/main" id="{C3A30C49-076F-E3DD-D287-18151AC0CA58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83713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Høyre og venstre)">
    <p:bg>
      <p:bgPr>
        <a:solidFill>
          <a:srgbClr val="FBF2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FD96C6F-2B95-4858-B2FD-E57FE81F27C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736080" y="0"/>
            <a:ext cx="545592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6F8DC9D5-24ED-458C-90BB-732F5F9D6BC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0" y="0"/>
            <a:ext cx="6587243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9CB0EE-AD99-4A11-AADA-C4A4009C79B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-1" y="0"/>
            <a:ext cx="658724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00C112-E41D-4154-A09B-F17BA74EE5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5341257" y="3730171"/>
            <a:ext cx="6850742" cy="3127829"/>
          </a:xfrm>
          <a:prstGeom prst="round1Rect">
            <a:avLst>
              <a:gd name="adj" fmla="val 44896"/>
            </a:avLst>
          </a:prstGeom>
          <a:solidFill>
            <a:srgbClr val="D8D8E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5347826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5913" y="853321"/>
            <a:ext cx="5348287" cy="553998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85763" y="4729846"/>
            <a:ext cx="4891810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46F41208-5C1D-4DD4-8A50-29FFF2F2242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736080" y="0"/>
            <a:ext cx="5455919" cy="3730171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744182F-BA54-48B0-B256-4947640EBAB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addin_colorlist" hidden="1">
            <a:extLst>
              <a:ext uri="{FF2B5EF4-FFF2-40B4-BE49-F238E27FC236}">
                <a16:creationId xmlns:a16="http://schemas.microsoft.com/office/drawing/2014/main" id="{C273E00C-50FC-4C09-837B-667751499D42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2" name="addin_colorbox" hidden="1">
            <a:extLst>
              <a:ext uri="{FF2B5EF4-FFF2-40B4-BE49-F238E27FC236}">
                <a16:creationId xmlns:a16="http://schemas.microsoft.com/office/drawing/2014/main" id="{1136DBA2-434B-4983-86EB-77F8FA3578A7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EEA2228F-8BF9-4C93-9035-4B6EF6481C8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4" name="addin_logo" hidden="1">
            <a:extLst>
              <a:ext uri="{FF2B5EF4-FFF2-40B4-BE49-F238E27FC236}">
                <a16:creationId xmlns:a16="http://schemas.microsoft.com/office/drawing/2014/main" id="{BF822C3C-A96D-4C31-9A95-60C5B3D4B251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addin_title" hidden="1">
            <a:extLst>
              <a:ext uri="{FF2B5EF4-FFF2-40B4-BE49-F238E27FC236}">
                <a16:creationId xmlns:a16="http://schemas.microsoft.com/office/drawing/2014/main" id="{E919718A-FF57-49A0-9771-B176C0DE0BB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6" name="addin_text" hidden="1">
            <a:extLst>
              <a:ext uri="{FF2B5EF4-FFF2-40B4-BE49-F238E27FC236}">
                <a16:creationId xmlns:a16="http://schemas.microsoft.com/office/drawing/2014/main" id="{84AA82A5-69A9-42C5-A00A-E051759316E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B4593EE2-8E41-475D-BA91-5A5948E62F1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085762" y="5202781"/>
            <a:ext cx="4891811" cy="82515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0EB77C8E-6D1A-02B7-C9FA-A478502D9C9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8" name="logo_hvit" hidden="1">
            <a:extLst>
              <a:ext uri="{FF2B5EF4-FFF2-40B4-BE49-F238E27FC236}">
                <a16:creationId xmlns:a16="http://schemas.microsoft.com/office/drawing/2014/main" id="{63E970E0-A179-A1C3-EF55-AE3D1875434F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153668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Venst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9CB0EE-AD99-4A11-AADA-C4A4009C79B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0" y="0"/>
            <a:ext cx="7353300" cy="6858000"/>
          </a:xfrm>
          <a:prstGeom prst="round1Rect">
            <a:avLst>
              <a:gd name="adj" fmla="val 38976"/>
            </a:avLst>
          </a:prstGeom>
          <a:solidFill>
            <a:srgbClr val="002060"/>
          </a:solidFill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00C112-E41D-4154-A09B-F17BA74EE5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5341257" y="3232150"/>
            <a:ext cx="6850742" cy="3625851"/>
          </a:xfrm>
          <a:prstGeom prst="round1Rect">
            <a:avLst>
              <a:gd name="adj" fmla="val 38591"/>
            </a:avLst>
          </a:prstGeom>
          <a:solidFill>
            <a:srgbClr val="FDF3F2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67069" y="2090825"/>
            <a:ext cx="4210504" cy="553998"/>
          </a:xfrm>
        </p:spPr>
        <p:txBody>
          <a:bodyPr anchor="b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767068" y="2766475"/>
            <a:ext cx="4210505" cy="392650"/>
          </a:xfrm>
        </p:spPr>
        <p:txBody>
          <a:bodyPr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67069" y="4179840"/>
            <a:ext cx="4210505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0E5897B-0128-4833-ABC7-9D5B944D43E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addin_colorlist" hidden="1">
            <a:extLst>
              <a:ext uri="{FF2B5EF4-FFF2-40B4-BE49-F238E27FC236}">
                <a16:creationId xmlns:a16="http://schemas.microsoft.com/office/drawing/2014/main" id="{7BD4C53C-108D-4394-8456-4042468C0E3E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B367CA8A-46EF-4B57-A802-BB29E53CA959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8EC9AE72-4105-48A6-A086-47AFE82C935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addin_logo" hidden="1">
            <a:extLst>
              <a:ext uri="{FF2B5EF4-FFF2-40B4-BE49-F238E27FC236}">
                <a16:creationId xmlns:a16="http://schemas.microsoft.com/office/drawing/2014/main" id="{2F1AA884-7DE6-4EAE-BF6F-1767EE3A5B0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addin_title" hidden="1">
            <a:extLst>
              <a:ext uri="{FF2B5EF4-FFF2-40B4-BE49-F238E27FC236}">
                <a16:creationId xmlns:a16="http://schemas.microsoft.com/office/drawing/2014/main" id="{B8B387BA-8B81-4475-9FC8-702C90AFA83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5" name="addin_text" hidden="1">
            <a:extLst>
              <a:ext uri="{FF2B5EF4-FFF2-40B4-BE49-F238E27FC236}">
                <a16:creationId xmlns:a16="http://schemas.microsoft.com/office/drawing/2014/main" id="{D9145AC7-3FAF-40CE-9C66-69B589F5679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6818D3C5-E00B-4293-821C-798C4F134E3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767025" y="4614675"/>
            <a:ext cx="4210549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27D20F31-F369-E120-408A-BAC8B480A7F0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A7FD8670-FF52-9DD7-FE71-FD80FA5A787A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44558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3 bokser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13DEE0-CCAF-47EA-A14D-D76793842F6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49008" y="-8758"/>
            <a:ext cx="3949700" cy="6866758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016FC5DA-8226-4CF8-B228-E01FC14873E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39200" y="3490090"/>
            <a:ext cx="3352800" cy="3367907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A51F98C5-2BE5-42D7-BB2F-61E1BA87BFA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839200" y="0"/>
            <a:ext cx="3352800" cy="3367907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5F59F70E-C806-43BD-9D89-C54E8C3B0DB3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8839200" y="3498849"/>
            <a:ext cx="3352799" cy="335914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2DCA02DF-93B7-429F-A0AD-D85D318A8EAB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4749800" y="-2"/>
            <a:ext cx="3949700" cy="685799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394970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5913" y="910471"/>
            <a:ext cx="3949701" cy="553998"/>
          </a:xfrm>
        </p:spPr>
        <p:txBody>
          <a:bodyPr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46F41208-5C1D-4DD4-8A50-29FFF2F2242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8839200" y="0"/>
            <a:ext cx="3352799" cy="335914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4D51EAA-A93B-4020-8227-613B86276B8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F919271A-D69E-44B1-9601-857C23308C2F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524CAE9B-B20C-4A8D-934B-59339B019D1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AC83C4E6-04D0-4072-8F3C-7976CB3356C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addin_logo" hidden="1">
            <a:extLst>
              <a:ext uri="{FF2B5EF4-FFF2-40B4-BE49-F238E27FC236}">
                <a16:creationId xmlns:a16="http://schemas.microsoft.com/office/drawing/2014/main" id="{6A95789E-F5A3-4946-AB59-D1C0D4FF1F3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addin_title" hidden="1">
            <a:extLst>
              <a:ext uri="{FF2B5EF4-FFF2-40B4-BE49-F238E27FC236}">
                <a16:creationId xmlns:a16="http://schemas.microsoft.com/office/drawing/2014/main" id="{3D365EEB-3C51-4BE4-88F0-1FC8A2B887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5" name="addin_text" hidden="1">
            <a:extLst>
              <a:ext uri="{FF2B5EF4-FFF2-40B4-BE49-F238E27FC236}">
                <a16:creationId xmlns:a16="http://schemas.microsoft.com/office/drawing/2014/main" id="{0B668723-1F65-41E9-8B0D-4C408D3AF15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DefLogoHvit" hidden="1">
            <a:extLst>
              <a:ext uri="{FF2B5EF4-FFF2-40B4-BE49-F238E27FC236}">
                <a16:creationId xmlns:a16="http://schemas.microsoft.com/office/drawing/2014/main" id="{1B4E343D-3448-4288-96A0-8161A1BCA02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0" name="Text Placeholder 1">
            <a:extLst>
              <a:ext uri="{FF2B5EF4-FFF2-40B4-BE49-F238E27FC236}">
                <a16:creationId xmlns:a16="http://schemas.microsoft.com/office/drawing/2014/main" id="{549804D6-DBC7-4F01-9B86-DCB54C291E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5913" y="2121720"/>
            <a:ext cx="3949700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5C00DA6F-62A6-4626-43B9-C7FCFDA5C350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1" name="logo_hvit" hidden="1">
            <a:extLst>
              <a:ext uri="{FF2B5EF4-FFF2-40B4-BE49-F238E27FC236}">
                <a16:creationId xmlns:a16="http://schemas.microsoft.com/office/drawing/2014/main" id="{3A42561D-F46E-E57A-99E2-7C6176809AD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35055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innhold (Høy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BBFA32DA-0415-49CF-BCF9-38F570B362B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25597" y="0"/>
            <a:ext cx="4266403" cy="6866758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2DCA02DF-93B7-429F-A0AD-D85D318A8EAB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7925597" y="1"/>
            <a:ext cx="4259939" cy="6857999"/>
          </a:xfrm>
          <a:prstGeom prst="rect">
            <a:avLst/>
          </a:prstGeom>
          <a:solidFill>
            <a:srgbClr val="002060"/>
          </a:solidFill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6163919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DD2C0544-2BE4-48B0-9C84-7496C2E325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E35BFD6A-9EBA-437D-94D3-A22AE9F3BF6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BE9F07D1-9FDA-4010-B64C-C1629BFE350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0B018755-7928-4745-9B40-F3496CA5DF1C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633A8CE6-D1F0-4276-AE71-8C8663E262E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FDD8280D-ED4A-4383-944E-05E4FE2BF96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994003EC-43C4-4410-B11C-73FEE191870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3341E66A-52C3-4488-998F-D252AB6C05BB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BAA402BF-A073-4F44-B5BE-D9D57BDB227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199256" y="1698171"/>
            <a:ext cx="4259939" cy="383902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8F875019-289F-A4FA-4A50-5BD940339EC8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5" name="logo_hvit" hidden="1">
            <a:extLst>
              <a:ext uri="{FF2B5EF4-FFF2-40B4-BE49-F238E27FC236}">
                <a16:creationId xmlns:a16="http://schemas.microsoft.com/office/drawing/2014/main" id="{48674CAF-6D89-839E-B44F-E4C19D472074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576128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mellomtittel, tekst og innhold (Bak)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8A1C56D-C7B2-4042-9CD8-AA509F79511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66087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D40B92AA-42BC-432B-8FCD-86D6CFD8E50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15913" y="909186"/>
            <a:ext cx="1166087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1E363977-D9F6-454E-A94B-C68902B9588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98220" y="2476500"/>
            <a:ext cx="3978593" cy="3555072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A81454-9B8B-4525-959D-5534FBD4C3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0F7888C7-E2BB-4F37-9548-732E47B2D66A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0D07F82-624B-4368-B875-4A5180E2445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EC608B2B-F460-4524-A128-B881BF70A79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61C83988-EF2B-4F8A-A221-FBA24707F9C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47B8B98E-1475-4FEF-A304-E855B226301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07811DB8-614D-4E24-9368-EBE38BEF6B9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3A47E8CE-2C1D-4AD7-95B9-E7E0918EBD50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A1C21033-AE64-EDF4-D37A-458BED4EB3CF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5" name="logo_hvit" hidden="1">
            <a:extLst>
              <a:ext uri="{FF2B5EF4-FFF2-40B4-BE49-F238E27FC236}">
                <a16:creationId xmlns:a16="http://schemas.microsoft.com/office/drawing/2014/main" id="{2DC6FCBD-284E-FC21-E8DD-E12B7F4E1E0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0178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ternativ forside uten bil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ihåndsform: figur 34">
            <a:extLst>
              <a:ext uri="{FF2B5EF4-FFF2-40B4-BE49-F238E27FC236}">
                <a16:creationId xmlns:a16="http://schemas.microsoft.com/office/drawing/2014/main" id="{FEC2C7E8-2BAA-4586-B492-F62F07C9E11E}"/>
              </a:ext>
            </a:extLst>
          </p:cNvPr>
          <p:cNvSpPr/>
          <p:nvPr userDrawn="1"/>
        </p:nvSpPr>
        <p:spPr>
          <a:xfrm>
            <a:off x="8643130" y="4478410"/>
            <a:ext cx="3548870" cy="2379590"/>
          </a:xfrm>
          <a:custGeom>
            <a:avLst/>
            <a:gdLst>
              <a:gd name="connsiteX0" fmla="*/ 3548870 w 3548870"/>
              <a:gd name="connsiteY0" fmla="*/ 0 h 2379590"/>
              <a:gd name="connsiteX1" fmla="*/ 3548870 w 3548870"/>
              <a:gd name="connsiteY1" fmla="*/ 2379590 h 2379590"/>
              <a:gd name="connsiteX2" fmla="*/ 0 w 3548870"/>
              <a:gd name="connsiteY2" fmla="*/ 2379590 h 2379590"/>
              <a:gd name="connsiteX3" fmla="*/ 72242 w 3548870"/>
              <a:gd name="connsiteY3" fmla="*/ 2218043 h 2379590"/>
              <a:gd name="connsiteX4" fmla="*/ 3364761 w 3548870"/>
              <a:gd name="connsiteY4" fmla="*/ 4706 h 2379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48870" h="2379590">
                <a:moveTo>
                  <a:pt x="3548870" y="0"/>
                </a:moveTo>
                <a:lnTo>
                  <a:pt x="3548870" y="2379590"/>
                </a:lnTo>
                <a:lnTo>
                  <a:pt x="0" y="2379590"/>
                </a:lnTo>
                <a:lnTo>
                  <a:pt x="72242" y="2218043"/>
                </a:lnTo>
                <a:cubicBezTo>
                  <a:pt x="670673" y="962488"/>
                  <a:pt x="1912166" y="79145"/>
                  <a:pt x="3364761" y="470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  <p:sp>
        <p:nvSpPr>
          <p:cNvPr id="28" name="Plassholder for tekst 27">
            <a:extLst>
              <a:ext uri="{FF2B5EF4-FFF2-40B4-BE49-F238E27FC236}">
                <a16:creationId xmlns:a16="http://schemas.microsoft.com/office/drawing/2014/main" id="{AC732900-C482-4FED-BE14-15E1B9D9A0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7094193" cy="5000626"/>
          </a:xfrm>
          <a:custGeom>
            <a:avLst/>
            <a:gdLst>
              <a:gd name="connsiteX0" fmla="*/ 0 w 7094193"/>
              <a:gd name="connsiteY0" fmla="*/ 0 h 5000626"/>
              <a:gd name="connsiteX1" fmla="*/ 7094193 w 7094193"/>
              <a:gd name="connsiteY1" fmla="*/ 0 h 5000626"/>
              <a:gd name="connsiteX2" fmla="*/ 7085079 w 7094193"/>
              <a:gd name="connsiteY2" fmla="*/ 52590 h 5000626"/>
              <a:gd name="connsiteX3" fmla="*/ 1193800 w 7094193"/>
              <a:gd name="connsiteY3" fmla="*/ 5000626 h 5000626"/>
              <a:gd name="connsiteX4" fmla="*/ 278011 w 7094193"/>
              <a:gd name="connsiteY4" fmla="*/ 4929224 h 5000626"/>
              <a:gd name="connsiteX5" fmla="*/ 0 w 7094193"/>
              <a:gd name="connsiteY5" fmla="*/ 4878061 h 5000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094193" h="5000626">
                <a:moveTo>
                  <a:pt x="0" y="0"/>
                </a:moveTo>
                <a:lnTo>
                  <a:pt x="7094193" y="0"/>
                </a:lnTo>
                <a:lnTo>
                  <a:pt x="7085079" y="52590"/>
                </a:lnTo>
                <a:cubicBezTo>
                  <a:pt x="6524347" y="2876429"/>
                  <a:pt x="4099795" y="5000626"/>
                  <a:pt x="1193800" y="5000626"/>
                </a:cubicBezTo>
                <a:cubicBezTo>
                  <a:pt x="882444" y="5000626"/>
                  <a:pt x="576614" y="4976241"/>
                  <a:pt x="278011" y="4929224"/>
                </a:cubicBezTo>
                <a:lnTo>
                  <a:pt x="0" y="487806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1F008BBA-689F-42DB-913E-0747FEF2C9A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4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F06E2D9-F070-4F9C-A1C6-8E39C20198F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background" hidden="1">
            <a:extLst>
              <a:ext uri="{FF2B5EF4-FFF2-40B4-BE49-F238E27FC236}">
                <a16:creationId xmlns:a16="http://schemas.microsoft.com/office/drawing/2014/main" id="{20F64EEC-DBFB-4FDA-B7D3-2BFC8275B17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B4FB7D30-A58A-4C12-BA63-D7BD6F30D44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4B4ECA20-A19D-4A30-BCBE-5B85C7B9069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E0A27905-A053-4BA2-B313-CC93DDB1A4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F09D0317-D37C-4CB3-ACEF-438C4B052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62AE36E-9C13-4C22-9D9E-82AC72D8272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2336466F-2103-425B-87BE-18F3E57B9F81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7" name="Ellipse 26" hidden="1">
            <a:extLst>
              <a:ext uri="{FF2B5EF4-FFF2-40B4-BE49-F238E27FC236}">
                <a16:creationId xmlns:a16="http://schemas.microsoft.com/office/drawing/2014/main" id="{C58EF7F7-76C4-4C70-91FC-28F032BC9284}"/>
              </a:ext>
            </a:extLst>
          </p:cNvPr>
          <p:cNvSpPr/>
          <p:nvPr userDrawn="1"/>
        </p:nvSpPr>
        <p:spPr>
          <a:xfrm>
            <a:off x="-4819651" y="-7393244"/>
            <a:ext cx="12026901" cy="12393870"/>
          </a:xfrm>
          <a:prstGeom prst="ellipse">
            <a:avLst/>
          </a:prstGeom>
          <a:noFill/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Ellipse 6" hidden="1">
            <a:extLst>
              <a:ext uri="{FF2B5EF4-FFF2-40B4-BE49-F238E27FC236}">
                <a16:creationId xmlns:a16="http://schemas.microsoft.com/office/drawing/2014/main" id="{E7AB5697-707D-455B-8619-528309D6ACBF}"/>
              </a:ext>
            </a:extLst>
          </p:cNvPr>
          <p:cNvSpPr/>
          <p:nvPr userDrawn="1"/>
        </p:nvSpPr>
        <p:spPr>
          <a:xfrm>
            <a:off x="8333366" y="4478020"/>
            <a:ext cx="7747747" cy="7832637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2" name="logo_blaa" hidden="1">
            <a:extLst>
              <a:ext uri="{FF2B5EF4-FFF2-40B4-BE49-F238E27FC236}">
                <a16:creationId xmlns:a16="http://schemas.microsoft.com/office/drawing/2014/main" id="{4CF99DCA-46BA-C8FC-B2B0-D7940A361E36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2667000" cy="560754"/>
          </a:xfrm>
          <a:prstGeom prst="rect">
            <a:avLst/>
          </a:prstGeom>
        </p:spPr>
      </p:pic>
      <p:pic>
        <p:nvPicPr>
          <p:cNvPr id="26" name="logo_hvit" hidden="1">
            <a:extLst>
              <a:ext uri="{FF2B5EF4-FFF2-40B4-BE49-F238E27FC236}">
                <a16:creationId xmlns:a16="http://schemas.microsoft.com/office/drawing/2014/main" id="{695C4662-3219-3BF3-7A92-28D5E9A417DE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6870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 nede, sirkel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EA8A8A2A-6A3B-44AB-8647-260EC7923E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86502" y="1033150"/>
            <a:ext cx="5905498" cy="5824850"/>
          </a:xfrm>
          <a:custGeom>
            <a:avLst/>
            <a:gdLst>
              <a:gd name="connsiteX0" fmla="*/ 3467099 w 5905498"/>
              <a:gd name="connsiteY0" fmla="*/ 0 h 5824850"/>
              <a:gd name="connsiteX1" fmla="*/ 5672496 w 5905498"/>
              <a:gd name="connsiteY1" fmla="*/ 791717 h 5824850"/>
              <a:gd name="connsiteX2" fmla="*/ 5905498 w 5905498"/>
              <a:gd name="connsiteY2" fmla="*/ 1003484 h 5824850"/>
              <a:gd name="connsiteX3" fmla="*/ 5905498 w 5905498"/>
              <a:gd name="connsiteY3" fmla="*/ 5824850 h 5824850"/>
              <a:gd name="connsiteX4" fmla="*/ 930186 w 5905498"/>
              <a:gd name="connsiteY4" fmla="*/ 5824850 h 5824850"/>
              <a:gd name="connsiteX5" fmla="*/ 791717 w 5905498"/>
              <a:gd name="connsiteY5" fmla="*/ 5672496 h 5824850"/>
              <a:gd name="connsiteX6" fmla="*/ 0 w 5905498"/>
              <a:gd name="connsiteY6" fmla="*/ 3467100 h 5824850"/>
              <a:gd name="connsiteX7" fmla="*/ 3467099 w 5905498"/>
              <a:gd name="connsiteY7" fmla="*/ 0 h 582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05498" h="5824850">
                <a:moveTo>
                  <a:pt x="3467099" y="0"/>
                </a:moveTo>
                <a:cubicBezTo>
                  <a:pt x="4304836" y="0"/>
                  <a:pt x="5073177" y="297115"/>
                  <a:pt x="5672496" y="791717"/>
                </a:cubicBezTo>
                <a:lnTo>
                  <a:pt x="5905498" y="1003484"/>
                </a:lnTo>
                <a:lnTo>
                  <a:pt x="5905498" y="5824850"/>
                </a:lnTo>
                <a:lnTo>
                  <a:pt x="930186" y="5824850"/>
                </a:lnTo>
                <a:lnTo>
                  <a:pt x="791717" y="5672496"/>
                </a:lnTo>
                <a:cubicBezTo>
                  <a:pt x="297115" y="5073177"/>
                  <a:pt x="0" y="4304836"/>
                  <a:pt x="0" y="3467100"/>
                </a:cubicBezTo>
                <a:cubicBezTo>
                  <a:pt x="0" y="1552273"/>
                  <a:pt x="1552273" y="0"/>
                  <a:pt x="3467099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5588796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5589587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832CADD-DDDE-4851-8BD1-99710FABB5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DFDA5939-391C-41D0-8F21-DD084424DB5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41D1CBCC-8E3A-47BE-982B-49EC2954D30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6793D32F-7B07-46C0-A33B-03EB8B18EE8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D8764E46-805A-407F-96C5-5A83D097195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204C9A61-3DE7-4BB7-AD6F-13FF004746F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1359F353-A991-43DF-8E05-D685ABD656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DA7D6A04-F3CF-46DC-9183-2173EDE5C745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E7E4907A-1620-4FFD-9C4A-1747B90959E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53839F9B-ED44-48F4-B5D6-98DC325BA7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286502" y="1033150"/>
            <a:ext cx="5905498" cy="5824850"/>
          </a:xfrm>
          <a:custGeom>
            <a:avLst/>
            <a:gdLst>
              <a:gd name="connsiteX0" fmla="*/ 3467099 w 5905498"/>
              <a:gd name="connsiteY0" fmla="*/ 0 h 5824850"/>
              <a:gd name="connsiteX1" fmla="*/ 5672496 w 5905498"/>
              <a:gd name="connsiteY1" fmla="*/ 791717 h 5824850"/>
              <a:gd name="connsiteX2" fmla="*/ 5905498 w 5905498"/>
              <a:gd name="connsiteY2" fmla="*/ 1003484 h 5824850"/>
              <a:gd name="connsiteX3" fmla="*/ 5905498 w 5905498"/>
              <a:gd name="connsiteY3" fmla="*/ 5824850 h 5824850"/>
              <a:gd name="connsiteX4" fmla="*/ 930186 w 5905498"/>
              <a:gd name="connsiteY4" fmla="*/ 5824850 h 5824850"/>
              <a:gd name="connsiteX5" fmla="*/ 791717 w 5905498"/>
              <a:gd name="connsiteY5" fmla="*/ 5672496 h 5824850"/>
              <a:gd name="connsiteX6" fmla="*/ 0 w 5905498"/>
              <a:gd name="connsiteY6" fmla="*/ 3467099 h 5824850"/>
              <a:gd name="connsiteX7" fmla="*/ 3467099 w 5905498"/>
              <a:gd name="connsiteY7" fmla="*/ 0 h 582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05498" h="5824850">
                <a:moveTo>
                  <a:pt x="3467099" y="0"/>
                </a:moveTo>
                <a:cubicBezTo>
                  <a:pt x="4304836" y="0"/>
                  <a:pt x="5073177" y="297115"/>
                  <a:pt x="5672496" y="791717"/>
                </a:cubicBezTo>
                <a:lnTo>
                  <a:pt x="5905498" y="1003484"/>
                </a:lnTo>
                <a:lnTo>
                  <a:pt x="5905498" y="5824850"/>
                </a:lnTo>
                <a:lnTo>
                  <a:pt x="930186" y="5824850"/>
                </a:lnTo>
                <a:lnTo>
                  <a:pt x="791717" y="5672496"/>
                </a:lnTo>
                <a:cubicBezTo>
                  <a:pt x="297115" y="5073177"/>
                  <a:pt x="0" y="4304836"/>
                  <a:pt x="0" y="3467099"/>
                </a:cubicBezTo>
                <a:cubicBezTo>
                  <a:pt x="0" y="1552273"/>
                  <a:pt x="1552273" y="0"/>
                  <a:pt x="346709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pic>
        <p:nvPicPr>
          <p:cNvPr id="13" name="logo_blaa" hidden="1">
            <a:extLst>
              <a:ext uri="{FF2B5EF4-FFF2-40B4-BE49-F238E27FC236}">
                <a16:creationId xmlns:a16="http://schemas.microsoft.com/office/drawing/2014/main" id="{B4E0FC2C-A8B7-EE5C-5247-A915C8CA92A6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5" name="logo_hvit" hidden="1">
            <a:extLst>
              <a:ext uri="{FF2B5EF4-FFF2-40B4-BE49-F238E27FC236}">
                <a16:creationId xmlns:a16="http://schemas.microsoft.com/office/drawing/2014/main" id="{AE3B176D-EC22-17A8-6426-471148D9C0A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16757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8A1C56D-C7B2-4042-9CD8-AA509F79511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5902DB0-F9C9-4208-AC04-F65B14A925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22416" y="2157469"/>
            <a:ext cx="5560333" cy="1938992"/>
          </a:xfrm>
        </p:spPr>
        <p:txBody>
          <a:bodyPr anchor="b">
            <a:noAutofit/>
          </a:bodyPr>
          <a:lstStyle>
            <a:lvl1pPr algn="ctr">
              <a:lnSpc>
                <a:spcPct val="90000"/>
              </a:lnSpc>
              <a:defRPr sz="3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“</a:t>
            </a:r>
            <a:r>
              <a:rPr lang="en-US" dirty="0" err="1"/>
              <a:t>Sitat</a:t>
            </a:r>
            <a:r>
              <a:rPr lang="en-US" dirty="0"/>
              <a:t>”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262E9EA-50DA-4C6F-BDBD-45D2CC16F55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2417" y="4498845"/>
            <a:ext cx="5560332" cy="215444"/>
          </a:xfr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8E93E590-141F-4D3A-BAE4-F780C71B13E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0359BBBD-8D4D-47A6-A6D2-15A5C12B778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91BDE199-DCB0-44B7-B468-DB0113CDAAD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5BC20023-01D6-43AC-AC9E-3D5BBB97537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9037258-551C-4040-900F-0E68A78A121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61EAB1CA-B254-4FF7-9B06-83529538730C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978D642-AF95-46D9-BDA8-AC5CCCB3ED30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E1023C14-08D5-4A55-A00C-020E6A8C9E4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F3F72667-40D6-E1DF-60FE-A517EADD3F3F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4" name="logo_hvit" hidden="1">
            <a:extLst>
              <a:ext uri="{FF2B5EF4-FFF2-40B4-BE49-F238E27FC236}">
                <a16:creationId xmlns:a16="http://schemas.microsoft.com/office/drawing/2014/main" id="{B5E89CDA-5C13-55EE-0925-A4ACB312746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071483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660079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84523D-32B3-42D2-9506-B4449EF1765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15913" y="909186"/>
            <a:ext cx="1166087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315913" y="1460500"/>
            <a:ext cx="6719887" cy="4784725"/>
          </a:xfrm>
        </p:spPr>
        <p:txBody>
          <a:bodyPr/>
          <a:lstStyle/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99981B97-0927-4AE0-B50C-C8C76D99F25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64499" y="2152968"/>
            <a:ext cx="3912283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294E24CE-73E5-478C-A0AE-B3FF6F4E4C8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531F68E2-5378-49F8-9089-CF82D4C5C37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A3B53C9F-AC67-475F-A1A3-7F754C8F112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42717750-4B12-4D91-8622-DC0D4272850D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CBF86961-0370-4940-A239-56F95E63CBDB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0AE0909F-FA8A-42B2-A5EA-7A13B05B37C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9400D268-CC84-41FD-B9A3-9510D85E407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0E2F7EB6-BD9A-4CAB-81C5-FA6F6D8726B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064499" y="2673350"/>
            <a:ext cx="3912283" cy="3275464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5" name="logo_blaa" hidden="1">
            <a:extLst>
              <a:ext uri="{FF2B5EF4-FFF2-40B4-BE49-F238E27FC236}">
                <a16:creationId xmlns:a16="http://schemas.microsoft.com/office/drawing/2014/main" id="{200A5CE9-339D-0F31-361F-8DEB472EE24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5" name="logo_hvit" hidden="1">
            <a:extLst>
              <a:ext uri="{FF2B5EF4-FFF2-40B4-BE49-F238E27FC236}">
                <a16:creationId xmlns:a16="http://schemas.microsoft.com/office/drawing/2014/main" id="{83C86A9C-B35B-11D5-8770-7192B574F687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513531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 (Høy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9DA6E-D112-4CF2-9E61-D2803FFC55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0"/>
            <a:ext cx="3343275" cy="6858000"/>
          </a:xfrm>
          <a:solidFill>
            <a:srgbClr val="EFEFEF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660079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3715658" y="1036637"/>
            <a:ext cx="8261126" cy="5364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95EA8AB-6B52-4A25-8679-9037A006B26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7" y="6245941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2C43F1F1-08A8-45E6-8709-A6CF646C389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29DE899F-C243-4AB6-84E9-84DD211AA6D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background" hidden="1">
            <a:extLst>
              <a:ext uri="{FF2B5EF4-FFF2-40B4-BE49-F238E27FC236}">
                <a16:creationId xmlns:a16="http://schemas.microsoft.com/office/drawing/2014/main" id="{FD84D5B2-05C4-4708-B0E6-8816C134C1A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BC7B844F-3B22-4BC5-AE8F-529F6F8103B2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91826AB-F933-47F3-A50A-E1A9C8C299C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882AA710-D5DF-4B9E-B682-8BC67348AB3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F27B46D2-22EB-487B-863E-8C88301E95B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6705" y="1191898"/>
            <a:ext cx="2822753" cy="462946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8" name="logo_blaa" hidden="1">
            <a:extLst>
              <a:ext uri="{FF2B5EF4-FFF2-40B4-BE49-F238E27FC236}">
                <a16:creationId xmlns:a16="http://schemas.microsoft.com/office/drawing/2014/main" id="{E824BAE2-D372-2D9B-5321-37A4F2FE2C3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2667000" cy="560754"/>
          </a:xfrm>
          <a:prstGeom prst="rect">
            <a:avLst/>
          </a:prstGeom>
        </p:spPr>
      </p:pic>
      <p:pic>
        <p:nvPicPr>
          <p:cNvPr id="21" name="logo_hvit" hidden="1">
            <a:extLst>
              <a:ext uri="{FF2B5EF4-FFF2-40B4-BE49-F238E27FC236}">
                <a16:creationId xmlns:a16="http://schemas.microsoft.com/office/drawing/2014/main" id="{38850A4D-D10E-24A3-ED70-4691D11860C2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917021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 (2 grafer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9DA6E-D112-4CF2-9E61-D2803FFC55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0"/>
            <a:ext cx="3343275" cy="6858000"/>
          </a:xfrm>
          <a:solidFill>
            <a:srgbClr val="EFEFEF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2821912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4281260" y="1036637"/>
            <a:ext cx="3343276" cy="5364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8" name="Chart Placeholder 5">
            <a:extLst>
              <a:ext uri="{FF2B5EF4-FFF2-40B4-BE49-F238E27FC236}">
                <a16:creationId xmlns:a16="http://schemas.microsoft.com/office/drawing/2014/main" id="{31484953-D908-4216-A821-FFF36AE77225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8418290" y="1036637"/>
            <a:ext cx="3343276" cy="5364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AF830C0-8048-4660-85F5-880345F1B2E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1260" y="445295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8373671-1454-4F00-862D-A2611E85FF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18290" y="445295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033B6724-4542-4E0D-A677-8E0AEC06B5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7" y="6245941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999124DB-8F02-409F-A729-E11030C3457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CD623913-286B-465D-A7E5-0DF3533D4623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CD92FFB2-664D-487F-A82D-D46DC13C7D0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A6BE133F-DD99-468C-8D55-748939F0F9C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AAE24BC9-EA40-4A42-B35A-A5F8924D3B2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2A25BEF6-DC40-4AF2-B91B-D50EB057310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171BDB52-B689-490F-A912-7D7E7080675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6704" y="1191898"/>
            <a:ext cx="2821911" cy="462946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5" name="logo_blaa" hidden="1">
            <a:extLst>
              <a:ext uri="{FF2B5EF4-FFF2-40B4-BE49-F238E27FC236}">
                <a16:creationId xmlns:a16="http://schemas.microsoft.com/office/drawing/2014/main" id="{B28E0006-4653-CA09-EB81-C877DDD99B5D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2667000" cy="560754"/>
          </a:xfrm>
          <a:prstGeom prst="rect">
            <a:avLst/>
          </a:prstGeom>
        </p:spPr>
      </p:pic>
      <p:pic>
        <p:nvPicPr>
          <p:cNvPr id="25" name="logo_hvit" hidden="1">
            <a:extLst>
              <a:ext uri="{FF2B5EF4-FFF2-40B4-BE49-F238E27FC236}">
                <a16:creationId xmlns:a16="http://schemas.microsoft.com/office/drawing/2014/main" id="{78E4A275-76E0-2FC4-7A65-F98ED6BA83F2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14599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 (4 grafer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9DA6E-D112-4CF2-9E61-D2803FFC55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0"/>
            <a:ext cx="3343275" cy="6858000"/>
          </a:xfrm>
          <a:solidFill>
            <a:srgbClr val="EFEFEF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2821912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4281260" y="851285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8" name="Chart Placeholder 5">
            <a:extLst>
              <a:ext uri="{FF2B5EF4-FFF2-40B4-BE49-F238E27FC236}">
                <a16:creationId xmlns:a16="http://schemas.microsoft.com/office/drawing/2014/main" id="{31484953-D908-4216-A821-FFF36AE77225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8418290" y="851285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AF830C0-8048-4660-85F5-880345F1B2E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1260" y="445295"/>
            <a:ext cx="3343275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8373671-1454-4F00-862D-A2611E85FF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18290" y="445295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8" name="Chart Placeholder 5">
            <a:extLst>
              <a:ext uri="{FF2B5EF4-FFF2-40B4-BE49-F238E27FC236}">
                <a16:creationId xmlns:a16="http://schemas.microsoft.com/office/drawing/2014/main" id="{67E0BF1E-FA82-4B7F-B923-BFDB61725C32}"/>
              </a:ext>
            </a:extLst>
          </p:cNvPr>
          <p:cNvSpPr>
            <a:spLocks noGrp="1"/>
          </p:cNvSpPr>
          <p:nvPr>
            <p:ph type="chart" sz="quarter" idx="36"/>
          </p:nvPr>
        </p:nvSpPr>
        <p:spPr>
          <a:xfrm>
            <a:off x="4281260" y="4113242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9" name="Chart Placeholder 5">
            <a:extLst>
              <a:ext uri="{FF2B5EF4-FFF2-40B4-BE49-F238E27FC236}">
                <a16:creationId xmlns:a16="http://schemas.microsoft.com/office/drawing/2014/main" id="{CA985493-FA53-488E-8517-92FC07AF2B01}"/>
              </a:ext>
            </a:extLst>
          </p:cNvPr>
          <p:cNvSpPr>
            <a:spLocks noGrp="1"/>
          </p:cNvSpPr>
          <p:nvPr>
            <p:ph type="chart" sz="quarter" idx="37"/>
          </p:nvPr>
        </p:nvSpPr>
        <p:spPr>
          <a:xfrm>
            <a:off x="8418290" y="4113242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BD22E512-6705-4C14-9589-C2DACC2CD1B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1260" y="3707252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1FD5F680-AEB8-4E1E-9514-7E53E039944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18290" y="3707252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D8FA83E3-5DF6-44FC-9818-DBD9AC1388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7" y="6245941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addin_colorlist" hidden="1">
            <a:extLst>
              <a:ext uri="{FF2B5EF4-FFF2-40B4-BE49-F238E27FC236}">
                <a16:creationId xmlns:a16="http://schemas.microsoft.com/office/drawing/2014/main" id="{026061BC-914B-4BA8-A2C4-CC0745516D4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7639C6D-46FA-4FA7-8EC0-21DEE11DB27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5" name="addin_background" hidden="1">
            <a:extLst>
              <a:ext uri="{FF2B5EF4-FFF2-40B4-BE49-F238E27FC236}">
                <a16:creationId xmlns:a16="http://schemas.microsoft.com/office/drawing/2014/main" id="{71D860E0-3EB4-4985-8611-DBB86048C27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040054D-988B-4548-8071-431E56D48E1E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3988038F-D2A8-423E-9DE1-C599EB065BA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7291C49E-6F93-4D1D-98F0-6D074E39ECF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2F7D3B47-0043-4A21-A582-E9A771DC02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6704" y="1191898"/>
            <a:ext cx="2821911" cy="462946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C5C69596-2B62-0E2F-742F-FA2F79CC21E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2667000" cy="560754"/>
          </a:xfrm>
          <a:prstGeom prst="rect">
            <a:avLst/>
          </a:prstGeom>
        </p:spPr>
      </p:pic>
      <p:pic>
        <p:nvPicPr>
          <p:cNvPr id="17" name="logo_hvit" hidden="1">
            <a:extLst>
              <a:ext uri="{FF2B5EF4-FFF2-40B4-BE49-F238E27FC236}">
                <a16:creationId xmlns:a16="http://schemas.microsoft.com/office/drawing/2014/main" id="{1521E841-AF12-F8A4-0F22-F3D9680E632A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215634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vikling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8A1C56D-C7B2-4042-9CD8-AA509F79511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5902DB0-F9C9-4208-AC04-F65B14A925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73134" y="2359798"/>
            <a:ext cx="4533908" cy="2354491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17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r>
              <a:rPr lang="en-US" dirty="0"/>
              <a:t>00</a:t>
            </a:r>
          </a:p>
        </p:txBody>
      </p:sp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4012ADA4-FF9C-4A9A-9D47-9F7DF4E17A6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707042" y="2359797"/>
            <a:ext cx="3978593" cy="184999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sz="1600"/>
              <a:t>Klikk for å redigere tekststiler i malen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BFCD7BF-3AB7-4429-8BC8-F8BC42C2A57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95E40C5A-6129-49F4-B4D2-D18CFE88C1D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6831A200-49F5-4645-BB55-B21422B4DD4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29F23ED3-8031-44D0-AF88-1C89758EB5A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696CEC71-F65A-43A1-962D-596ECDCFEFF5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19D9EC0F-9854-4585-BE93-674C85878F1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72B513AD-BD82-49A5-8EDC-A9F4BDC63D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DefLogoHvit" hidden="1">
            <a:extLst>
              <a:ext uri="{FF2B5EF4-FFF2-40B4-BE49-F238E27FC236}">
                <a16:creationId xmlns:a16="http://schemas.microsoft.com/office/drawing/2014/main" id="{0BB6941E-7A67-4E07-AB3F-FA53A5938919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733491A0-C7E1-C067-0016-79DE61793D42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4" name="logo_hvit" hidden="1">
            <a:extLst>
              <a:ext uri="{FF2B5EF4-FFF2-40B4-BE49-F238E27FC236}">
                <a16:creationId xmlns:a16="http://schemas.microsoft.com/office/drawing/2014/main" id="{5421BED6-D13D-AB11-6CD7-A94EBD47E2A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880618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ide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 hidden="1">
            <a:extLst>
              <a:ext uri="{FF2B5EF4-FFF2-40B4-BE49-F238E27FC236}">
                <a16:creationId xmlns:a16="http://schemas.microsoft.com/office/drawing/2014/main" id="{53E799FF-A7CB-461E-B019-32619A79E4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52511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26E3C71-6252-416E-BB06-9B02EAF49F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497807" y="4320383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497807" y="3894454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52B160-86DA-4012-954C-C6953026A9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15913" y="909186"/>
            <a:ext cx="1152511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E6A5C2C-D005-4D6A-B53B-999FAD2B2F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497807" y="2254021"/>
            <a:ext cx="1440180" cy="1439299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589B68B-6FC3-4A8E-A6B4-15BE438ABF2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981927" y="4320383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A88F8B5-8E03-43A4-B94C-726522E8C2B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81927" y="3894454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544BEA80-896A-4A78-A6E8-C08CC90D84B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81927" y="2254021"/>
            <a:ext cx="1440180" cy="1439299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3EFC636C-45F7-4D80-913A-E189DBD4B00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612058" y="4315621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2A3850B-57F8-4746-ABC4-07EFFB9552E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12058" y="3889692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BC51C625-F779-4CC0-B43C-69D91D5B9FB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12058" y="2249259"/>
            <a:ext cx="1440180" cy="1439299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F6F1C91C-5EFA-46E9-8499-1ACC2BBC19E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54053" y="4325288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38AB3A0E-5127-4287-9954-3E23BA96F27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154053" y="3899359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D4A5529C-9EF2-4C35-9351-C26E0DDC606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154053" y="2258926"/>
            <a:ext cx="1440180" cy="1439299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68C6EA9-B739-4680-AD52-7A2BDE15538B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1497807" y="2254021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KON SETTES INN HER</a:t>
            </a:r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B06652B2-4AB0-45B6-BED4-F119744C0781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3981927" y="2254021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32D361F0-26FD-42CA-ABD7-D4A1E734FBA4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9154053" y="2258926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r>
              <a:rPr lang="en-US" dirty="0"/>
              <a:t> </a:t>
            </a:r>
          </a:p>
        </p:txBody>
      </p:sp>
      <p:sp>
        <p:nvSpPr>
          <p:cNvPr id="30" name="Content Placeholder 8">
            <a:extLst>
              <a:ext uri="{FF2B5EF4-FFF2-40B4-BE49-F238E27FC236}">
                <a16:creationId xmlns:a16="http://schemas.microsoft.com/office/drawing/2014/main" id="{B832E9B8-520B-4E6D-956D-A9A1F8270D28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612058" y="2249259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D004951B-E132-4CB5-BE08-014909997C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4" name="addin_colorlist" hidden="1">
            <a:extLst>
              <a:ext uri="{FF2B5EF4-FFF2-40B4-BE49-F238E27FC236}">
                <a16:creationId xmlns:a16="http://schemas.microsoft.com/office/drawing/2014/main" id="{6E501A22-635E-4E52-A781-CEFE3AAF9E1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ikon1, ikon2, ikon3, ikon4</a:t>
            </a:r>
          </a:p>
        </p:txBody>
      </p:sp>
      <p:sp>
        <p:nvSpPr>
          <p:cNvPr id="35" name="addin_colorbox" hidden="1">
            <a:extLst>
              <a:ext uri="{FF2B5EF4-FFF2-40B4-BE49-F238E27FC236}">
                <a16:creationId xmlns:a16="http://schemas.microsoft.com/office/drawing/2014/main" id="{C152D6E7-5ABD-462F-B484-D3C5A98E30C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6" name="addin_background" hidden="1">
            <a:extLst>
              <a:ext uri="{FF2B5EF4-FFF2-40B4-BE49-F238E27FC236}">
                <a16:creationId xmlns:a16="http://schemas.microsoft.com/office/drawing/2014/main" id="{E380263D-5A13-44BA-8F84-CE8D468BF3F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37" name="addin_logo" hidden="1">
            <a:extLst>
              <a:ext uri="{FF2B5EF4-FFF2-40B4-BE49-F238E27FC236}">
                <a16:creationId xmlns:a16="http://schemas.microsoft.com/office/drawing/2014/main" id="{A47615AF-2F92-48F5-9427-DB7CDFC14D1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8" name="addin_title" hidden="1">
            <a:extLst>
              <a:ext uri="{FF2B5EF4-FFF2-40B4-BE49-F238E27FC236}">
                <a16:creationId xmlns:a16="http://schemas.microsoft.com/office/drawing/2014/main" id="{DE8F631C-E719-4912-BF9F-B8C23CA2B3F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9" name="addin_text" hidden="1">
            <a:extLst>
              <a:ext uri="{FF2B5EF4-FFF2-40B4-BE49-F238E27FC236}">
                <a16:creationId xmlns:a16="http://schemas.microsoft.com/office/drawing/2014/main" id="{7FC205FB-165B-4339-88D1-EF192C650B2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16" name="logo_blaa" hidden="1">
            <a:extLst>
              <a:ext uri="{FF2B5EF4-FFF2-40B4-BE49-F238E27FC236}">
                <a16:creationId xmlns:a16="http://schemas.microsoft.com/office/drawing/2014/main" id="{618FCBB7-BF6F-0E87-4426-E93947CB23A4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32" name="logo_hvit" hidden="1">
            <a:extLst>
              <a:ext uri="{FF2B5EF4-FFF2-40B4-BE49-F238E27FC236}">
                <a16:creationId xmlns:a16="http://schemas.microsoft.com/office/drawing/2014/main" id="{5A303B5D-C178-6E1F-4E54-C182932BFAE7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33194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ide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F73BE435-F82E-401E-BC8F-786DF65E161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542257" y="2161952"/>
            <a:ext cx="1440180" cy="1439299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3875DC22-FC29-439F-BE1C-C4CEEE74EFF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450495" y="2161952"/>
            <a:ext cx="1440180" cy="1439299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59238488-45B2-4EF9-9DCF-75A9D082AC0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367444" y="2161952"/>
            <a:ext cx="1440180" cy="1439299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12A2793-E8C0-4A44-AD6E-511C67CD47B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280970" y="2161952"/>
            <a:ext cx="1440180" cy="1439299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2EC5F670-0FCC-48B7-9C97-8A0ED134BF4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192632" y="2161952"/>
            <a:ext cx="1440180" cy="1439299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52511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26E3C71-6252-416E-BB06-9B02EAF49F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42258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42258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52B160-86DA-4012-954C-C6953026A9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15913" y="909186"/>
            <a:ext cx="1152511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589B68B-6FC3-4A8E-A6B4-15BE438ABF2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450495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A88F8B5-8E03-43A4-B94C-726522E8C2B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50495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3EFC636C-45F7-4D80-913A-E189DBD4B00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367444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2A3850B-57F8-4746-ABC4-07EFFB9552E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367444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F6F1C91C-5EFA-46E9-8499-1ACC2BBC19E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280970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38AB3A0E-5127-4287-9954-3E23BA96F27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80970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68C6EA9-B739-4680-AD52-7A2BDE15538B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1542257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B06652B2-4AB0-45B6-BED4-F119744C0781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3450495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32D361F0-26FD-42CA-ABD7-D4A1E734FBA4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7280970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0" name="Content Placeholder 8">
            <a:extLst>
              <a:ext uri="{FF2B5EF4-FFF2-40B4-BE49-F238E27FC236}">
                <a16:creationId xmlns:a16="http://schemas.microsoft.com/office/drawing/2014/main" id="{B832E9B8-520B-4E6D-956D-A9A1F8270D28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5367444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4" name="Content Placeholder 8">
            <a:extLst>
              <a:ext uri="{FF2B5EF4-FFF2-40B4-BE49-F238E27FC236}">
                <a16:creationId xmlns:a16="http://schemas.microsoft.com/office/drawing/2014/main" id="{3F540DE3-195D-4E6B-A7AF-31B5DF60F736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9192632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2F891B1A-3BF6-4C12-A12A-239C8FCE033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192632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4D5D28B2-0704-4803-A645-557CB31EE3D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92632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0EFE922-5D7E-4DE7-BDD3-B34758502BD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8" name="addin_colorlist" hidden="1">
            <a:extLst>
              <a:ext uri="{FF2B5EF4-FFF2-40B4-BE49-F238E27FC236}">
                <a16:creationId xmlns:a16="http://schemas.microsoft.com/office/drawing/2014/main" id="{075E0F79-D570-480C-8DF3-E58C21E1F61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ikon1, ikon2, ikon3, ikon4</a:t>
            </a:r>
          </a:p>
        </p:txBody>
      </p:sp>
      <p:sp>
        <p:nvSpPr>
          <p:cNvPr id="39" name="addin_colorbox" hidden="1">
            <a:extLst>
              <a:ext uri="{FF2B5EF4-FFF2-40B4-BE49-F238E27FC236}">
                <a16:creationId xmlns:a16="http://schemas.microsoft.com/office/drawing/2014/main" id="{67B923A1-1928-48F4-99F0-2BC992E26D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40" name="addin_background" hidden="1">
            <a:extLst>
              <a:ext uri="{FF2B5EF4-FFF2-40B4-BE49-F238E27FC236}">
                <a16:creationId xmlns:a16="http://schemas.microsoft.com/office/drawing/2014/main" id="{C8275DA9-4738-44F4-80E0-B95FD7F7669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41" name="addin_logo" hidden="1">
            <a:extLst>
              <a:ext uri="{FF2B5EF4-FFF2-40B4-BE49-F238E27FC236}">
                <a16:creationId xmlns:a16="http://schemas.microsoft.com/office/drawing/2014/main" id="{50E7F9FC-E5AD-43C9-9814-D45E18A0765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42" name="addin_title" hidden="1">
            <a:extLst>
              <a:ext uri="{FF2B5EF4-FFF2-40B4-BE49-F238E27FC236}">
                <a16:creationId xmlns:a16="http://schemas.microsoft.com/office/drawing/2014/main" id="{4E85F3F3-61FE-46B8-9DCC-8DF708F7EF3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43" name="addin_text" hidden="1">
            <a:extLst>
              <a:ext uri="{FF2B5EF4-FFF2-40B4-BE49-F238E27FC236}">
                <a16:creationId xmlns:a16="http://schemas.microsoft.com/office/drawing/2014/main" id="{CCB6333A-8809-4730-B12B-15E8A5FE960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13" name="logo_blaa" hidden="1">
            <a:extLst>
              <a:ext uri="{FF2B5EF4-FFF2-40B4-BE49-F238E27FC236}">
                <a16:creationId xmlns:a16="http://schemas.microsoft.com/office/drawing/2014/main" id="{503A4ED5-E3B9-3C35-4E74-1D137E333189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7" name="logo_hvit" hidden="1">
            <a:extLst>
              <a:ext uri="{FF2B5EF4-FFF2-40B4-BE49-F238E27FC236}">
                <a16:creationId xmlns:a16="http://schemas.microsoft.com/office/drawing/2014/main" id="{BD5B40E9-FB8E-6D34-D579-36F01627C644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50429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ide (Med tekst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7C3D8B82-1186-4182-B0A5-AF811E03AAA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238625" y="3795682"/>
            <a:ext cx="895350" cy="872978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80279050-A64A-4B83-A905-1B3FC387D1B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38625" y="1771827"/>
            <a:ext cx="895350" cy="872978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0D0A5540-DE13-4650-A761-05A3821451B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866900" y="3795682"/>
            <a:ext cx="895350" cy="872978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913F1418-8863-4CCE-A609-28E1F569F71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866900" y="1771827"/>
            <a:ext cx="895350" cy="872978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94062DE1-5A03-401B-828E-C09837CBE7B2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639050" y="0"/>
            <a:ext cx="4552950" cy="6858000"/>
          </a:xfrm>
          <a:solidFill>
            <a:srgbClr val="005AA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6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6579396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26E3C71-6252-416E-BB06-9B02EAF49F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42257" y="3286065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42257" y="2809079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52B160-86DA-4012-954C-C6953026A9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15913" y="909186"/>
            <a:ext cx="6579396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3FDEC93C-B0F9-43F6-9A2B-43486128B15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913982" y="3286065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BD64AEBB-F5C6-49BB-A8BD-743146A4CBF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913982" y="2809079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52CFF93E-569D-485C-9953-C19AC5E3C45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542257" y="5309920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C8A6D454-40E4-4EA2-B644-EDCFBBCB62B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42257" y="4832934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1A3C0572-03EF-4F24-A0B1-253B71A2C1F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913982" y="5309920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04A24DB8-42A3-44EC-A86F-652A8538749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913982" y="4832934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0A96C8D-EA7E-4A1A-9503-66E8E35B8CEC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8369300" y="1098550"/>
            <a:ext cx="3608274" cy="393700"/>
          </a:xfrm>
        </p:spPr>
        <p:txBody>
          <a:bodyPr anchor="b"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BDC22F2-8CFA-49E4-A541-56C2672DA8B9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8369300" y="1605457"/>
            <a:ext cx="3608274" cy="3937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25147704-1371-462B-8BE0-901BF4C6B9A5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8369300" y="2882345"/>
            <a:ext cx="3608274" cy="393700"/>
          </a:xfrm>
        </p:spPr>
        <p:txBody>
          <a:bodyPr anchor="b"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8" name="Text Placeholder 15">
            <a:extLst>
              <a:ext uri="{FF2B5EF4-FFF2-40B4-BE49-F238E27FC236}">
                <a16:creationId xmlns:a16="http://schemas.microsoft.com/office/drawing/2014/main" id="{1CCA3D76-ECCA-4308-8AF0-909FC8B26F8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369300" y="3389252"/>
            <a:ext cx="3608274" cy="3937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60A7792F-9090-4A87-8964-DF22B9449CE4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8369300" y="4922063"/>
            <a:ext cx="3608274" cy="393700"/>
          </a:xfrm>
        </p:spPr>
        <p:txBody>
          <a:bodyPr anchor="b"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0" name="Text Placeholder 15">
            <a:extLst>
              <a:ext uri="{FF2B5EF4-FFF2-40B4-BE49-F238E27FC236}">
                <a16:creationId xmlns:a16="http://schemas.microsoft.com/office/drawing/2014/main" id="{A80D731A-25DF-478D-9DD2-54A9511D84F4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8369300" y="5428970"/>
            <a:ext cx="3608274" cy="3937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9D6001A3-F024-4A8E-B5CF-D1D78B3F4E4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866900" y="1771827"/>
            <a:ext cx="895350" cy="872978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1" name="Content Placeholder 8">
            <a:extLst>
              <a:ext uri="{FF2B5EF4-FFF2-40B4-BE49-F238E27FC236}">
                <a16:creationId xmlns:a16="http://schemas.microsoft.com/office/drawing/2014/main" id="{FB244F5A-705A-48E8-927E-F279AC5F5FEC}"/>
              </a:ext>
            </a:extLst>
          </p:cNvPr>
          <p:cNvSpPr>
            <a:spLocks noGrp="1"/>
          </p:cNvSpPr>
          <p:nvPr>
            <p:ph sz="quarter" idx="59" hasCustomPrompt="1"/>
          </p:nvPr>
        </p:nvSpPr>
        <p:spPr>
          <a:xfrm>
            <a:off x="1866900" y="1771827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33" name="Content Placeholder 8">
            <a:extLst>
              <a:ext uri="{FF2B5EF4-FFF2-40B4-BE49-F238E27FC236}">
                <a16:creationId xmlns:a16="http://schemas.microsoft.com/office/drawing/2014/main" id="{3A7F4820-EF59-4DD5-A97C-2CBCBA008F35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4238625" y="1771827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F98FC926-9B84-46D8-89CC-E751E9D26AD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66900" y="3795682"/>
            <a:ext cx="895350" cy="872978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3" name="Content Placeholder 8">
            <a:extLst>
              <a:ext uri="{FF2B5EF4-FFF2-40B4-BE49-F238E27FC236}">
                <a16:creationId xmlns:a16="http://schemas.microsoft.com/office/drawing/2014/main" id="{EE315A61-2E68-4EB9-B2F9-BDF0F31BDE53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866900" y="3795682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1FAD39D5-056D-4EB9-8E8D-ACED66A3A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38625" y="3795682"/>
            <a:ext cx="895350" cy="872978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5" name="Content Placeholder 8">
            <a:extLst>
              <a:ext uri="{FF2B5EF4-FFF2-40B4-BE49-F238E27FC236}">
                <a16:creationId xmlns:a16="http://schemas.microsoft.com/office/drawing/2014/main" id="{769CDA1B-0410-4357-A97C-A7947A450081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4238625" y="3795682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41910E6F-A89F-470C-B8C5-2CA101D8ECC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2" name="addin_colorlist" hidden="1">
            <a:extLst>
              <a:ext uri="{FF2B5EF4-FFF2-40B4-BE49-F238E27FC236}">
                <a16:creationId xmlns:a16="http://schemas.microsoft.com/office/drawing/2014/main" id="{2530AF2D-9963-4853-BC15-8D5711DC97A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ikon1, ikon2, ikon3, ikon4</a:t>
            </a:r>
          </a:p>
        </p:txBody>
      </p:sp>
      <p:sp>
        <p:nvSpPr>
          <p:cNvPr id="45" name="addin_colorbox" hidden="1">
            <a:extLst>
              <a:ext uri="{FF2B5EF4-FFF2-40B4-BE49-F238E27FC236}">
                <a16:creationId xmlns:a16="http://schemas.microsoft.com/office/drawing/2014/main" id="{4647CBF0-028B-48BC-8377-8664458D9C7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46" name="addin_background" hidden="1">
            <a:extLst>
              <a:ext uri="{FF2B5EF4-FFF2-40B4-BE49-F238E27FC236}">
                <a16:creationId xmlns:a16="http://schemas.microsoft.com/office/drawing/2014/main" id="{A4BBCABF-1EAD-4EE4-9436-DCF1D624554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56" name="addin_logo" hidden="1">
            <a:extLst>
              <a:ext uri="{FF2B5EF4-FFF2-40B4-BE49-F238E27FC236}">
                <a16:creationId xmlns:a16="http://schemas.microsoft.com/office/drawing/2014/main" id="{53D5C84E-F74F-4DE1-B8BD-09B906AD981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57" name="addin_title" hidden="1">
            <a:extLst>
              <a:ext uri="{FF2B5EF4-FFF2-40B4-BE49-F238E27FC236}">
                <a16:creationId xmlns:a16="http://schemas.microsoft.com/office/drawing/2014/main" id="{6A4887B0-59E8-4459-A232-FBE56D3489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58" name="addin_text" hidden="1">
            <a:extLst>
              <a:ext uri="{FF2B5EF4-FFF2-40B4-BE49-F238E27FC236}">
                <a16:creationId xmlns:a16="http://schemas.microsoft.com/office/drawing/2014/main" id="{DFF3A27C-DEC0-4C13-A024-9CDA6FA62D2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59" name="DefLogoHvit" hidden="1">
            <a:extLst>
              <a:ext uri="{FF2B5EF4-FFF2-40B4-BE49-F238E27FC236}">
                <a16:creationId xmlns:a16="http://schemas.microsoft.com/office/drawing/2014/main" id="{E242F738-11B7-4699-ADA7-AD2F8082B21C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3" name="logo_blaa" hidden="1">
            <a:extLst>
              <a:ext uri="{FF2B5EF4-FFF2-40B4-BE49-F238E27FC236}">
                <a16:creationId xmlns:a16="http://schemas.microsoft.com/office/drawing/2014/main" id="{A224A6B7-0913-DF19-09EC-FC1417840EBE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8" name="logo_hvit" hidden="1">
            <a:extLst>
              <a:ext uri="{FF2B5EF4-FFF2-40B4-BE49-F238E27FC236}">
                <a16:creationId xmlns:a16="http://schemas.microsoft.com/office/drawing/2014/main" id="{401544F1-67D4-285F-E0F3-625928ADA11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49463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CBE4C0-AD7E-4767-A37B-3C4FCC55BF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09692" y="1238672"/>
            <a:ext cx="5242508" cy="5242256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242492" y="566738"/>
            <a:ext cx="2775947" cy="5931262"/>
          </a:xfrm>
          <a:custGeom>
            <a:avLst/>
            <a:gdLst>
              <a:gd name="connsiteX0" fmla="*/ 0 w 2775947"/>
              <a:gd name="connsiteY0" fmla="*/ 0 h 5931262"/>
              <a:gd name="connsiteX1" fmla="*/ 2775947 w 2775947"/>
              <a:gd name="connsiteY1" fmla="*/ 0 h 5931262"/>
              <a:gd name="connsiteX2" fmla="*/ 2775947 w 2775947"/>
              <a:gd name="connsiteY2" fmla="*/ 5516988 h 5931262"/>
              <a:gd name="connsiteX3" fmla="*/ 2725403 w 2775947"/>
              <a:gd name="connsiteY3" fmla="*/ 5551158 h 5931262"/>
              <a:gd name="connsiteX4" fmla="*/ 1388454 w 2775947"/>
              <a:gd name="connsiteY4" fmla="*/ 5931262 h 5931262"/>
              <a:gd name="connsiteX5" fmla="*/ 51506 w 2775947"/>
              <a:gd name="connsiteY5" fmla="*/ 5551158 h 5931262"/>
              <a:gd name="connsiteX6" fmla="*/ 0 w 2775947"/>
              <a:gd name="connsiteY6" fmla="*/ 5516338 h 593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75947" h="5931262">
                <a:moveTo>
                  <a:pt x="0" y="0"/>
                </a:moveTo>
                <a:lnTo>
                  <a:pt x="2775947" y="0"/>
                </a:lnTo>
                <a:lnTo>
                  <a:pt x="2775947" y="5516988"/>
                </a:lnTo>
                <a:lnTo>
                  <a:pt x="2725403" y="5551158"/>
                </a:lnTo>
                <a:cubicBezTo>
                  <a:pt x="2330248" y="5793781"/>
                  <a:pt x="1872419" y="5931262"/>
                  <a:pt x="1388454" y="5931262"/>
                </a:cubicBezTo>
                <a:cubicBezTo>
                  <a:pt x="904490" y="5931262"/>
                  <a:pt x="446660" y="5793781"/>
                  <a:pt x="51506" y="5551158"/>
                </a:cubicBezTo>
                <a:lnTo>
                  <a:pt x="0" y="5516338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spcBef>
                <a:spcPts val="1800"/>
              </a:spcBef>
              <a:buNone/>
              <a:defRPr sz="440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C83D3ED5-C123-48D8-BF8E-0476E8596C82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Title 13">
            <a:extLst>
              <a:ext uri="{FF2B5EF4-FFF2-40B4-BE49-F238E27FC236}">
                <a16:creationId xmlns:a16="http://schemas.microsoft.com/office/drawing/2014/main" id="{02A992B5-F485-45DA-B617-5194C3E6D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206151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4" name="Text Placeholder 27">
            <a:extLst>
              <a:ext uri="{FF2B5EF4-FFF2-40B4-BE49-F238E27FC236}">
                <a16:creationId xmlns:a16="http://schemas.microsoft.com/office/drawing/2014/main" id="{28E5F674-4C79-44C3-8673-EC472B01890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913" y="2819152"/>
            <a:ext cx="4695079" cy="268763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FFF9BE07-6D50-4E95-ABFB-67A93A07F5A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42044" y="5886736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18F87034-0D47-8F1F-CEE8-C1C8E205768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93199" y="391996"/>
            <a:ext cx="3269209" cy="6088932"/>
          </a:xfrm>
          <a:custGeom>
            <a:avLst/>
            <a:gdLst>
              <a:gd name="connsiteX0" fmla="*/ 0 w 3269209"/>
              <a:gd name="connsiteY0" fmla="*/ 0 h 6088932"/>
              <a:gd name="connsiteX1" fmla="*/ 3269209 w 3269209"/>
              <a:gd name="connsiteY1" fmla="*/ 0 h 6088932"/>
              <a:gd name="connsiteX2" fmla="*/ 3269209 w 3269209"/>
              <a:gd name="connsiteY2" fmla="*/ 5517061 h 6088932"/>
              <a:gd name="connsiteX3" fmla="*/ 3206085 w 3269209"/>
              <a:gd name="connsiteY3" fmla="*/ 5568207 h 6088932"/>
              <a:gd name="connsiteX4" fmla="*/ 1637747 w 3269209"/>
              <a:gd name="connsiteY4" fmla="*/ 6088932 h 6088932"/>
              <a:gd name="connsiteX5" fmla="*/ 69409 w 3269209"/>
              <a:gd name="connsiteY5" fmla="*/ 5568207 h 6088932"/>
              <a:gd name="connsiteX6" fmla="*/ 0 w 3269209"/>
              <a:gd name="connsiteY6" fmla="*/ 5511969 h 6088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69209" h="6088932">
                <a:moveTo>
                  <a:pt x="0" y="0"/>
                </a:moveTo>
                <a:lnTo>
                  <a:pt x="3269209" y="0"/>
                </a:lnTo>
                <a:lnTo>
                  <a:pt x="3269209" y="5517061"/>
                </a:lnTo>
                <a:lnTo>
                  <a:pt x="3206085" y="5568207"/>
                </a:lnTo>
                <a:cubicBezTo>
                  <a:pt x="2768748" y="5895256"/>
                  <a:pt x="2225867" y="6088932"/>
                  <a:pt x="1637747" y="6088932"/>
                </a:cubicBezTo>
                <a:cubicBezTo>
                  <a:pt x="1049628" y="6088932"/>
                  <a:pt x="506746" y="5895256"/>
                  <a:pt x="69409" y="5568207"/>
                </a:cubicBezTo>
                <a:lnTo>
                  <a:pt x="0" y="5511969"/>
                </a:lnTo>
                <a:close/>
              </a:path>
            </a:pathLst>
          </a:cu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-5460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10A5A560-B904-924F-A656-0B39569530CE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43" y="5886736"/>
            <a:ext cx="2667000" cy="560754"/>
          </a:xfrm>
          <a:prstGeom prst="rect">
            <a:avLst/>
          </a:prstGeom>
        </p:spPr>
      </p:pic>
      <p:pic>
        <p:nvPicPr>
          <p:cNvPr id="14" name="logo_hvit" hidden="1">
            <a:extLst>
              <a:ext uri="{FF2B5EF4-FFF2-40B4-BE49-F238E27FC236}">
                <a16:creationId xmlns:a16="http://schemas.microsoft.com/office/drawing/2014/main" id="{52C15237-4B2D-47DF-0A00-1E0AB303E8D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43" y="5886736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6891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 nede, sirkel, liten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6D115F76-499E-4BA8-ACCD-A3E76104C34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20288" y="2667000"/>
            <a:ext cx="4271712" cy="4191000"/>
          </a:xfrm>
          <a:custGeom>
            <a:avLst/>
            <a:gdLst>
              <a:gd name="connsiteX0" fmla="*/ 2654198 w 4271712"/>
              <a:gd name="connsiteY0" fmla="*/ 0 h 4191000"/>
              <a:gd name="connsiteX1" fmla="*/ 4138185 w 4271712"/>
              <a:gd name="connsiteY1" fmla="*/ 453313 h 4191000"/>
              <a:gd name="connsiteX2" fmla="*/ 4271712 w 4271712"/>
              <a:gd name="connsiteY2" fmla="*/ 553166 h 4191000"/>
              <a:gd name="connsiteX3" fmla="*/ 4271712 w 4271712"/>
              <a:gd name="connsiteY3" fmla="*/ 4191000 h 4191000"/>
              <a:gd name="connsiteX4" fmla="*/ 492669 w 4271712"/>
              <a:gd name="connsiteY4" fmla="*/ 4191000 h 4191000"/>
              <a:gd name="connsiteX5" fmla="*/ 453296 w 4271712"/>
              <a:gd name="connsiteY5" fmla="*/ 4138345 h 4191000"/>
              <a:gd name="connsiteX6" fmla="*/ 0 w 4271712"/>
              <a:gd name="connsiteY6" fmla="*/ 2654300 h 4191000"/>
              <a:gd name="connsiteX7" fmla="*/ 2654198 w 4271712"/>
              <a:gd name="connsiteY7" fmla="*/ 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71712" h="4191000">
                <a:moveTo>
                  <a:pt x="2654198" y="0"/>
                </a:moveTo>
                <a:cubicBezTo>
                  <a:pt x="3203901" y="0"/>
                  <a:pt x="3714573" y="167115"/>
                  <a:pt x="4138185" y="453313"/>
                </a:cubicBezTo>
                <a:lnTo>
                  <a:pt x="4271712" y="553166"/>
                </a:lnTo>
                <a:lnTo>
                  <a:pt x="4271712" y="4191000"/>
                </a:lnTo>
                <a:lnTo>
                  <a:pt x="492669" y="4191000"/>
                </a:lnTo>
                <a:lnTo>
                  <a:pt x="453296" y="4138345"/>
                </a:lnTo>
                <a:cubicBezTo>
                  <a:pt x="167108" y="3714716"/>
                  <a:pt x="0" y="3204024"/>
                  <a:pt x="0" y="2654300"/>
                </a:cubicBezTo>
                <a:cubicBezTo>
                  <a:pt x="0" y="1188371"/>
                  <a:pt x="1188325" y="0"/>
                  <a:pt x="2654198" y="0"/>
                </a:cubicBezTo>
                <a:close/>
              </a:path>
            </a:pathLst>
          </a:custGeom>
          <a:solidFill>
            <a:srgbClr val="002776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5588796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5589587" cy="430887"/>
          </a:xfrm>
        </p:spPr>
        <p:txBody>
          <a:bodyPr anchor="t"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832CADD-DDDE-4851-8BD1-99710FABB5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DFDA5939-391C-41D0-8F21-DD084424DB5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41D1CBCC-8E3A-47BE-982B-49EC2954D30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6793D32F-7B07-46C0-A33B-03EB8B18EE8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D8764E46-805A-407F-96C5-5A83D097195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204C9A61-3DE7-4BB7-AD6F-13FF004746F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1359F353-A991-43DF-8E05-D685ABD656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DA7D6A04-F3CF-46DC-9183-2173EDE5C745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E7E4907A-1620-4FFD-9C4A-1747B90959E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0041E85E-F425-444C-8552-A079AFFD576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920288" y="2667000"/>
            <a:ext cx="4271712" cy="4191000"/>
          </a:xfrm>
          <a:custGeom>
            <a:avLst/>
            <a:gdLst>
              <a:gd name="connsiteX0" fmla="*/ 2654198 w 4271712"/>
              <a:gd name="connsiteY0" fmla="*/ 0 h 4191000"/>
              <a:gd name="connsiteX1" fmla="*/ 4138185 w 4271712"/>
              <a:gd name="connsiteY1" fmla="*/ 453313 h 4191000"/>
              <a:gd name="connsiteX2" fmla="*/ 4271712 w 4271712"/>
              <a:gd name="connsiteY2" fmla="*/ 553166 h 4191000"/>
              <a:gd name="connsiteX3" fmla="*/ 4271712 w 4271712"/>
              <a:gd name="connsiteY3" fmla="*/ 4191000 h 4191000"/>
              <a:gd name="connsiteX4" fmla="*/ 492669 w 4271712"/>
              <a:gd name="connsiteY4" fmla="*/ 4191000 h 4191000"/>
              <a:gd name="connsiteX5" fmla="*/ 453296 w 4271712"/>
              <a:gd name="connsiteY5" fmla="*/ 4138345 h 4191000"/>
              <a:gd name="connsiteX6" fmla="*/ 0 w 4271712"/>
              <a:gd name="connsiteY6" fmla="*/ 2654300 h 4191000"/>
              <a:gd name="connsiteX7" fmla="*/ 2654198 w 4271712"/>
              <a:gd name="connsiteY7" fmla="*/ 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71712" h="4191000">
                <a:moveTo>
                  <a:pt x="2654198" y="0"/>
                </a:moveTo>
                <a:cubicBezTo>
                  <a:pt x="3203901" y="0"/>
                  <a:pt x="3714573" y="167115"/>
                  <a:pt x="4138185" y="453313"/>
                </a:cubicBezTo>
                <a:lnTo>
                  <a:pt x="4271712" y="553166"/>
                </a:lnTo>
                <a:lnTo>
                  <a:pt x="4271712" y="4191000"/>
                </a:lnTo>
                <a:lnTo>
                  <a:pt x="492669" y="4191000"/>
                </a:lnTo>
                <a:lnTo>
                  <a:pt x="453296" y="4138345"/>
                </a:lnTo>
                <a:cubicBezTo>
                  <a:pt x="167109" y="3714715"/>
                  <a:pt x="0" y="3204024"/>
                  <a:pt x="0" y="2654300"/>
                </a:cubicBezTo>
                <a:cubicBezTo>
                  <a:pt x="0" y="1188371"/>
                  <a:pt x="1188325" y="0"/>
                  <a:pt x="265419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13" name="logo_blaa" hidden="1">
            <a:extLst>
              <a:ext uri="{FF2B5EF4-FFF2-40B4-BE49-F238E27FC236}">
                <a16:creationId xmlns:a16="http://schemas.microsoft.com/office/drawing/2014/main" id="{D843D409-5F5A-7D2B-57EA-877BFCED92D0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5" name="logo_hvit" hidden="1">
            <a:extLst>
              <a:ext uri="{FF2B5EF4-FFF2-40B4-BE49-F238E27FC236}">
                <a16:creationId xmlns:a16="http://schemas.microsoft.com/office/drawing/2014/main" id="{9CF6B375-05CB-873B-F66C-70234CE80CB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703908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side (Neste sid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CBE4C0-AD7E-4767-A37B-3C4FCC55BF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08867" y="1283854"/>
            <a:ext cx="5242508" cy="5242256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341667" y="609539"/>
            <a:ext cx="2775947" cy="5931262"/>
          </a:xfrm>
          <a:custGeom>
            <a:avLst/>
            <a:gdLst>
              <a:gd name="connsiteX0" fmla="*/ 0 w 2775947"/>
              <a:gd name="connsiteY0" fmla="*/ 0 h 5931262"/>
              <a:gd name="connsiteX1" fmla="*/ 2775947 w 2775947"/>
              <a:gd name="connsiteY1" fmla="*/ 0 h 5931262"/>
              <a:gd name="connsiteX2" fmla="*/ 2775947 w 2775947"/>
              <a:gd name="connsiteY2" fmla="*/ 5516988 h 5931262"/>
              <a:gd name="connsiteX3" fmla="*/ 2725403 w 2775947"/>
              <a:gd name="connsiteY3" fmla="*/ 5551158 h 5931262"/>
              <a:gd name="connsiteX4" fmla="*/ 1388454 w 2775947"/>
              <a:gd name="connsiteY4" fmla="*/ 5931262 h 5931262"/>
              <a:gd name="connsiteX5" fmla="*/ 51506 w 2775947"/>
              <a:gd name="connsiteY5" fmla="*/ 5551158 h 5931262"/>
              <a:gd name="connsiteX6" fmla="*/ 0 w 2775947"/>
              <a:gd name="connsiteY6" fmla="*/ 5516338 h 593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75947" h="5931262">
                <a:moveTo>
                  <a:pt x="0" y="0"/>
                </a:moveTo>
                <a:lnTo>
                  <a:pt x="2775947" y="0"/>
                </a:lnTo>
                <a:lnTo>
                  <a:pt x="2775947" y="5516988"/>
                </a:lnTo>
                <a:lnTo>
                  <a:pt x="2725403" y="5551158"/>
                </a:lnTo>
                <a:cubicBezTo>
                  <a:pt x="2330248" y="5793781"/>
                  <a:pt x="1872419" y="5931262"/>
                  <a:pt x="1388454" y="5931262"/>
                </a:cubicBezTo>
                <a:cubicBezTo>
                  <a:pt x="904490" y="5931262"/>
                  <a:pt x="446660" y="5793781"/>
                  <a:pt x="51506" y="5551158"/>
                </a:cubicBezTo>
                <a:lnTo>
                  <a:pt x="0" y="5516338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82495" y="2162175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6F47EA2-9057-40E9-8497-026110B55D1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82495" y="3590080"/>
            <a:ext cx="4695079" cy="268763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AF69524D-9849-A312-A21E-D4A681D7DF1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092374" y="434797"/>
            <a:ext cx="3269209" cy="6091313"/>
          </a:xfrm>
          <a:custGeom>
            <a:avLst/>
            <a:gdLst>
              <a:gd name="connsiteX0" fmla="*/ 0 w 3269209"/>
              <a:gd name="connsiteY0" fmla="*/ 0 h 6091313"/>
              <a:gd name="connsiteX1" fmla="*/ 3269209 w 3269209"/>
              <a:gd name="connsiteY1" fmla="*/ 0 h 6091313"/>
              <a:gd name="connsiteX2" fmla="*/ 3269209 w 3269209"/>
              <a:gd name="connsiteY2" fmla="*/ 5515889 h 6091313"/>
              <a:gd name="connsiteX3" fmla="*/ 3155159 w 3269209"/>
              <a:gd name="connsiteY3" fmla="*/ 5607729 h 6091313"/>
              <a:gd name="connsiteX4" fmla="*/ 1637747 w 3269209"/>
              <a:gd name="connsiteY4" fmla="*/ 6091313 h 6091313"/>
              <a:gd name="connsiteX5" fmla="*/ 56823 w 3269209"/>
              <a:gd name="connsiteY5" fmla="*/ 5561117 h 6091313"/>
              <a:gd name="connsiteX6" fmla="*/ 0 w 3269209"/>
              <a:gd name="connsiteY6" fmla="*/ 5513941 h 6091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69209" h="6091313">
                <a:moveTo>
                  <a:pt x="0" y="0"/>
                </a:moveTo>
                <a:lnTo>
                  <a:pt x="3269209" y="0"/>
                </a:lnTo>
                <a:lnTo>
                  <a:pt x="3269209" y="5515889"/>
                </a:lnTo>
                <a:lnTo>
                  <a:pt x="3155159" y="5607729"/>
                </a:lnTo>
                <a:cubicBezTo>
                  <a:pt x="2726922" y="5912248"/>
                  <a:pt x="2203247" y="6091313"/>
                  <a:pt x="1637747" y="6091313"/>
                </a:cubicBezTo>
                <a:cubicBezTo>
                  <a:pt x="1043973" y="6091313"/>
                  <a:pt x="496310" y="5893894"/>
                  <a:pt x="56823" y="5561117"/>
                </a:cubicBezTo>
                <a:lnTo>
                  <a:pt x="0" y="5513941"/>
                </a:lnTo>
                <a:close/>
              </a:path>
            </a:pathLst>
          </a:cu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31" b="-5449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DA2EDFEE-A606-400C-BA08-036FC2EA105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46790DC6-47E5-E247-6FD5-FF432DDA671E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BBC47DC1-8E8A-01A2-87A0-1D6040948779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8510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CBE4C0-AD7E-4767-A37B-3C4FCC55BF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08867" y="1283854"/>
            <a:ext cx="5242508" cy="5242256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82495" y="2162175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6F47EA2-9057-40E9-8497-026110B55D1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82495" y="3590080"/>
            <a:ext cx="4695079" cy="268763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22" name="Circle 2">
            <a:extLst>
              <a:ext uri="{FF2B5EF4-FFF2-40B4-BE49-F238E27FC236}">
                <a16:creationId xmlns:a16="http://schemas.microsoft.com/office/drawing/2014/main" id="{643EB9AF-85D6-452D-8D92-900AFF59F2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235075" y="1303425"/>
            <a:ext cx="5019194" cy="5019194"/>
          </a:xfrm>
          <a:prstGeom prst="rect">
            <a:avLst/>
          </a:prstGeom>
        </p:spPr>
      </p:pic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1127143">
            <a:off x="1557912" y="3841396"/>
            <a:ext cx="4211870" cy="2376818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0D2883-1DBB-4A89-BE2A-3AB6A6803EC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236677" y="3408539"/>
            <a:ext cx="4968936" cy="4090061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39E3FD77-CA8B-73BE-DE5C-6596741D3F07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5E455065-AC69-AB44-38DF-56E33C9AC960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1539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81 " pathEditMode="relative" ptsTypes="AA">
                                      <p:cBhvr>
                                        <p:cTn id="6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81 " pathEditMode="relative" ptsTypes="AA">
                                      <p:cBhvr>
                                        <p:cTn id="8" dur="2000" fill="hold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81 " pathEditMode="relative" ptsTypes="AA">
                                      <p:cBhvr>
                                        <p:cTn id="10" dur="2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5" grpId="0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0 -0.2581 " pathEditMode="relative" ptsTypes="AA">
                      <p:cBhvr>
                        <p:cTn dur="20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0 -0.2581 " pathEditMode="relative" ptsTypes="AA">
                      <p:cBhvr>
                        <p:cTn dur="20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side (Animasjon)">
    <p:bg>
      <p:bgPr>
        <a:solidFill>
          <a:srgbClr val="F8E9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5BB0CE27-C394-4607-98BB-7BA11CE74F4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96002" y="1"/>
            <a:ext cx="6095999" cy="6857998"/>
          </a:xfrm>
          <a:custGeom>
            <a:avLst/>
            <a:gdLst>
              <a:gd name="connsiteX0" fmla="*/ 1649621 w 6095999"/>
              <a:gd name="connsiteY0" fmla="*/ 0 h 6857998"/>
              <a:gd name="connsiteX1" fmla="*/ 6095999 w 6095999"/>
              <a:gd name="connsiteY1" fmla="*/ 0 h 6857998"/>
              <a:gd name="connsiteX2" fmla="*/ 6095999 w 6095999"/>
              <a:gd name="connsiteY2" fmla="*/ 6857998 h 6857998"/>
              <a:gd name="connsiteX3" fmla="*/ 1650155 w 6095999"/>
              <a:gd name="connsiteY3" fmla="*/ 6857998 h 6857998"/>
              <a:gd name="connsiteX4" fmla="*/ 1597925 w 6095999"/>
              <a:gd name="connsiteY4" fmla="*/ 6816955 h 6857998"/>
              <a:gd name="connsiteX5" fmla="*/ 0 w 6095999"/>
              <a:gd name="connsiteY5" fmla="*/ 3428789 h 6857998"/>
              <a:gd name="connsiteX6" fmla="*/ 1597925 w 6095999"/>
              <a:gd name="connsiteY6" fmla="*/ 40623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5999" h="6857998">
                <a:moveTo>
                  <a:pt x="1649621" y="0"/>
                </a:moveTo>
                <a:lnTo>
                  <a:pt x="6095999" y="0"/>
                </a:lnTo>
                <a:lnTo>
                  <a:pt x="6095999" y="6857998"/>
                </a:lnTo>
                <a:lnTo>
                  <a:pt x="1650155" y="6857998"/>
                </a:lnTo>
                <a:lnTo>
                  <a:pt x="1597925" y="6816955"/>
                </a:lnTo>
                <a:cubicBezTo>
                  <a:pt x="622032" y="6011615"/>
                  <a:pt x="0" y="4792841"/>
                  <a:pt x="0" y="3428789"/>
                </a:cubicBezTo>
                <a:cubicBezTo>
                  <a:pt x="0" y="2064738"/>
                  <a:pt x="622032" y="845963"/>
                  <a:pt x="1597925" y="40623"/>
                </a:cubicBezTo>
                <a:close/>
              </a:path>
            </a:pathLst>
          </a:custGeom>
          <a:solidFill>
            <a:srgbClr val="042478"/>
          </a:solidFill>
        </p:spPr>
        <p:txBody>
          <a:bodyPr wrap="square">
            <a:noAutofit/>
          </a:bodyPr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526EE899-D5E9-4D5E-880C-C006EB3F14F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itle 13">
            <a:extLst>
              <a:ext uri="{FF2B5EF4-FFF2-40B4-BE49-F238E27FC236}">
                <a16:creationId xmlns:a16="http://schemas.microsoft.com/office/drawing/2014/main" id="{F2EC2875-A8E4-4C69-9D40-24A9CCC2F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206151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42478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3" name="Text Placeholder 27">
            <a:extLst>
              <a:ext uri="{FF2B5EF4-FFF2-40B4-BE49-F238E27FC236}">
                <a16:creationId xmlns:a16="http://schemas.microsoft.com/office/drawing/2014/main" id="{C6E809E9-2EE0-4D5E-ABD5-7560E83DF04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913" y="2819152"/>
            <a:ext cx="4695079" cy="2687638"/>
          </a:xfrm>
        </p:spPr>
        <p:txBody>
          <a:bodyPr/>
          <a:lstStyle>
            <a:lvl1pPr>
              <a:defRPr sz="1400">
                <a:solidFill>
                  <a:srgbClr val="042478"/>
                </a:solidFill>
              </a:defRPr>
            </a:lvl1pPr>
            <a:lvl2pPr>
              <a:defRPr sz="1200">
                <a:solidFill>
                  <a:srgbClr val="042478"/>
                </a:solidFill>
              </a:defRPr>
            </a:lvl2pPr>
            <a:lvl3pPr>
              <a:defRPr sz="1100">
                <a:solidFill>
                  <a:srgbClr val="042478"/>
                </a:solidFill>
              </a:defRPr>
            </a:lvl3pPr>
            <a:lvl4pPr>
              <a:defRPr sz="1000">
                <a:solidFill>
                  <a:srgbClr val="042478"/>
                </a:solidFill>
              </a:defRPr>
            </a:lvl4pPr>
            <a:lvl5pPr>
              <a:defRPr sz="900">
                <a:solidFill>
                  <a:srgbClr val="042478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0095499">
            <a:off x="7470934" y="2251972"/>
            <a:ext cx="2477110" cy="5326551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7CB38BD-06CD-4641-A90C-18CE66C56A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20087460">
            <a:off x="7250598" y="2087988"/>
            <a:ext cx="2902052" cy="563668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8" name="Picture Placeholder 31">
            <a:extLst>
              <a:ext uri="{FF2B5EF4-FFF2-40B4-BE49-F238E27FC236}">
                <a16:creationId xmlns:a16="http://schemas.microsoft.com/office/drawing/2014/main" id="{81C825AF-C1C5-44BB-9F0A-1E28516D9E18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 rot="20095499">
            <a:off x="11413087" y="3189250"/>
            <a:ext cx="2480710" cy="5321378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6" name="Text Placeholder 64">
            <a:extLst>
              <a:ext uri="{FF2B5EF4-FFF2-40B4-BE49-F238E27FC236}">
                <a16:creationId xmlns:a16="http://schemas.microsoft.com/office/drawing/2014/main" id="{8001664F-BDA3-427D-9F79-FBB525E0DF0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 rot="20087460">
            <a:off x="11194429" y="3019296"/>
            <a:ext cx="2902052" cy="563668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79E04B0B-6D10-4EC9-BB96-507F599A1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044" y="5886736"/>
            <a:ext cx="2667000" cy="56075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CE2E70CC-8AA4-234E-66EE-F3AA514BEC32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43" y="5886736"/>
            <a:ext cx="2667000" cy="560754"/>
          </a:xfrm>
          <a:prstGeom prst="rect">
            <a:avLst/>
          </a:prstGeom>
        </p:spPr>
      </p:pic>
      <p:pic>
        <p:nvPicPr>
          <p:cNvPr id="13" name="logo_hvit" hidden="1">
            <a:extLst>
              <a:ext uri="{FF2B5EF4-FFF2-40B4-BE49-F238E27FC236}">
                <a16:creationId xmlns:a16="http://schemas.microsoft.com/office/drawing/2014/main" id="{7EE78E22-7289-2F89-3CD8-4CB1AB0D51D2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43" y="5886736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617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3.33333E-6 L -0.0625 -0.2388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25" y="-11944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8" dur="2000" fill="hold"/>
                                        <p:tgtEl>
                                          <p:spTgt spid="6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10" dur="2000" fill="hold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7.40741E-7 L -0.0625 -0.23889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25" y="-11944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14" dur="2000" fill="hold"/>
                                        <p:tgtEl>
                                          <p:spTgt spid="2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18" dur="2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65" grpId="0" uiExpand="1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6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6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  <p:bldP spid="28" grpId="0"/>
      <p:bldP spid="26" grpId="0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click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c (Animasjon)">
    <p:bg>
      <p:bgPr>
        <a:solidFill>
          <a:srgbClr val="F8E9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4A80CED5-AB6B-4994-B3E6-B97FBE16A8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96002" y="1"/>
            <a:ext cx="6095999" cy="6857998"/>
          </a:xfrm>
          <a:custGeom>
            <a:avLst/>
            <a:gdLst>
              <a:gd name="connsiteX0" fmla="*/ 1649621 w 6095999"/>
              <a:gd name="connsiteY0" fmla="*/ 0 h 6857998"/>
              <a:gd name="connsiteX1" fmla="*/ 6095999 w 6095999"/>
              <a:gd name="connsiteY1" fmla="*/ 0 h 6857998"/>
              <a:gd name="connsiteX2" fmla="*/ 6095999 w 6095999"/>
              <a:gd name="connsiteY2" fmla="*/ 6857998 h 6857998"/>
              <a:gd name="connsiteX3" fmla="*/ 1650155 w 6095999"/>
              <a:gd name="connsiteY3" fmla="*/ 6857998 h 6857998"/>
              <a:gd name="connsiteX4" fmla="*/ 1597925 w 6095999"/>
              <a:gd name="connsiteY4" fmla="*/ 6816955 h 6857998"/>
              <a:gd name="connsiteX5" fmla="*/ 0 w 6095999"/>
              <a:gd name="connsiteY5" fmla="*/ 3428789 h 6857998"/>
              <a:gd name="connsiteX6" fmla="*/ 1597925 w 6095999"/>
              <a:gd name="connsiteY6" fmla="*/ 40623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5999" h="6857998">
                <a:moveTo>
                  <a:pt x="1649621" y="0"/>
                </a:moveTo>
                <a:lnTo>
                  <a:pt x="6095999" y="0"/>
                </a:lnTo>
                <a:lnTo>
                  <a:pt x="6095999" y="6857998"/>
                </a:lnTo>
                <a:lnTo>
                  <a:pt x="1650155" y="6857998"/>
                </a:lnTo>
                <a:lnTo>
                  <a:pt x="1597925" y="6816955"/>
                </a:lnTo>
                <a:cubicBezTo>
                  <a:pt x="622032" y="6011615"/>
                  <a:pt x="0" y="4792841"/>
                  <a:pt x="0" y="3428789"/>
                </a:cubicBezTo>
                <a:cubicBezTo>
                  <a:pt x="0" y="2064738"/>
                  <a:pt x="622032" y="845963"/>
                  <a:pt x="1597925" y="40623"/>
                </a:cubicBezTo>
                <a:close/>
              </a:path>
            </a:pathLst>
          </a:custGeom>
          <a:solidFill>
            <a:srgbClr val="042478"/>
          </a:solidFill>
        </p:spPr>
        <p:txBody>
          <a:bodyPr wrap="square">
            <a:noAutofit/>
          </a:bodyPr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526EE899-D5E9-4D5E-880C-C006EB3F14F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itle 13">
            <a:extLst>
              <a:ext uri="{FF2B5EF4-FFF2-40B4-BE49-F238E27FC236}">
                <a16:creationId xmlns:a16="http://schemas.microsoft.com/office/drawing/2014/main" id="{F2EC2875-A8E4-4C69-9D40-24A9CCC2F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206151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42478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3" name="Text Placeholder 27">
            <a:extLst>
              <a:ext uri="{FF2B5EF4-FFF2-40B4-BE49-F238E27FC236}">
                <a16:creationId xmlns:a16="http://schemas.microsoft.com/office/drawing/2014/main" id="{C6E809E9-2EE0-4D5E-ABD5-7560E83DF04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913" y="2819152"/>
            <a:ext cx="4695079" cy="2687638"/>
          </a:xfrm>
        </p:spPr>
        <p:txBody>
          <a:bodyPr/>
          <a:lstStyle>
            <a:lvl1pPr>
              <a:defRPr sz="1400">
                <a:solidFill>
                  <a:srgbClr val="042478"/>
                </a:solidFill>
              </a:defRPr>
            </a:lvl1pPr>
            <a:lvl2pPr>
              <a:defRPr sz="1200">
                <a:solidFill>
                  <a:srgbClr val="042478"/>
                </a:solidFill>
              </a:defRPr>
            </a:lvl2pPr>
            <a:lvl3pPr>
              <a:defRPr sz="1100">
                <a:solidFill>
                  <a:srgbClr val="042478"/>
                </a:solidFill>
              </a:defRPr>
            </a:lvl3pPr>
            <a:lvl4pPr>
              <a:defRPr sz="1000">
                <a:solidFill>
                  <a:srgbClr val="042478"/>
                </a:solidFill>
              </a:defRPr>
            </a:lvl4pPr>
            <a:lvl5pPr>
              <a:defRPr sz="900">
                <a:solidFill>
                  <a:srgbClr val="042478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EDD01A2-4366-4D2C-A0E7-B1B95B71D09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844477" y="1750446"/>
            <a:ext cx="5995752" cy="493526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Picture Placeholder 31">
            <a:extLst>
              <a:ext uri="{FF2B5EF4-FFF2-40B4-BE49-F238E27FC236}">
                <a16:creationId xmlns:a16="http://schemas.microsoft.com/office/drawing/2014/main" id="{26E0B4AE-3913-4C0F-A569-2625D1C2CEE1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1127143">
            <a:off x="7230274" y="2275124"/>
            <a:ext cx="5097572" cy="2882167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r>
              <a:rPr lang="en-US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7622D3-E2C3-498F-9799-B2CB374E63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25569" y="5636682"/>
            <a:ext cx="3947160" cy="646518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CCB4E4-C2B8-4505-B3B2-E7A16D1D597F}"/>
              </a:ext>
            </a:extLst>
          </p:cNvPr>
          <p:cNvSpPr txBox="1"/>
          <p:nvPr userDrawn="1"/>
        </p:nvSpPr>
        <p:spPr>
          <a:xfrm>
            <a:off x="6821714" y="2445657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B9D396-4FA5-4E05-AA33-A3B2F34FDFD0}"/>
              </a:ext>
            </a:extLst>
          </p:cNvPr>
          <p:cNvSpPr txBox="1"/>
          <p:nvPr userDrawn="1"/>
        </p:nvSpPr>
        <p:spPr>
          <a:xfrm>
            <a:off x="6778171" y="2685142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65075B-279A-49F7-9EF7-C440206021BF}"/>
              </a:ext>
            </a:extLst>
          </p:cNvPr>
          <p:cNvSpPr txBox="1"/>
          <p:nvPr userDrawn="1"/>
        </p:nvSpPr>
        <p:spPr>
          <a:xfrm>
            <a:off x="6778171" y="2685142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D69F34-0256-46BB-95B6-72F3160484E5}"/>
              </a:ext>
            </a:extLst>
          </p:cNvPr>
          <p:cNvSpPr txBox="1"/>
          <p:nvPr userDrawn="1"/>
        </p:nvSpPr>
        <p:spPr>
          <a:xfrm>
            <a:off x="5054535" y="-24384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5798462A-FDC9-4067-81E1-BA3C406CDC5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044" y="5886736"/>
            <a:ext cx="2667000" cy="56075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5" name="logo_blaa" hidden="1">
            <a:extLst>
              <a:ext uri="{FF2B5EF4-FFF2-40B4-BE49-F238E27FC236}">
                <a16:creationId xmlns:a16="http://schemas.microsoft.com/office/drawing/2014/main" id="{FC67F927-EB9F-E3A9-97A0-1C202C743193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43" y="5886736"/>
            <a:ext cx="2667000" cy="560754"/>
          </a:xfrm>
          <a:prstGeom prst="rect">
            <a:avLst/>
          </a:prstGeom>
        </p:spPr>
      </p:pic>
      <p:pic>
        <p:nvPicPr>
          <p:cNvPr id="29" name="logo_hvit" hidden="1">
            <a:extLst>
              <a:ext uri="{FF2B5EF4-FFF2-40B4-BE49-F238E27FC236}">
                <a16:creationId xmlns:a16="http://schemas.microsoft.com/office/drawing/2014/main" id="{F79D8B25-FDC9-CBA1-62A7-C6828D56B6ED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43" y="5886736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0653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3437 -0.14167 " pathEditMode="relative" ptsTypes="AA">
                                      <p:cBhvr>
                                        <p:cTn id="6" dur="2000" fill="hold"/>
                                        <p:tgtEl>
                                          <p:spTgt spid="2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3437 -0.14167 " pathEditMode="relative" ptsTypes="AA">
                                      <p:cBhvr>
                                        <p:cTn id="8" dur="20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1.85185E-6 L -0.03437 -0.14167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19" y="-7083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8789 0.17593 L 4.58333E-6 -1.48148E-6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284" y="-9051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7383 0.10393 L 0.24388 0.20069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03" y="4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3437 -0.14167 " pathEditMode="relative" ptsTypes="AA">
                      <p:cBhvr>
                        <p:cTn dur="2000" fill="hold"/>
                        <p:tgtEl>
                          <p:spTgt spid="2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3437 -0.14167 " pathEditMode="relative" ptsTypes="AA">
                      <p:cBhvr>
                        <p:cTn dur="2000" fill="hold"/>
                        <p:tgtEl>
                          <p:spTgt spid="2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  <p:bldP spid="24" grpId="0"/>
      <p:bldP spid="3" grpId="0" uiExpand="1" build="p" animBg="1">
        <p:tmplLst>
          <p:tmpl>
            <p:tnLst>
              <p:par>
                <p:cTn presetID="42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.08789 0.17593 L 4.58333E-6 -1.48148E-6 " pathEditMode="relative" rAng="0" ptsTypes="AA">
                      <p:cBhvr>
                        <p:cTn dur="2000" fill="hold"/>
                        <p:tgtEl>
                          <p:spTgt spid="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4284" y="-9051"/>
                    </p:animMotion>
                  </p:childTnLst>
                </p:cTn>
              </p:par>
            </p:tnLst>
          </p:tmpl>
          <p:tmpl lvl="1">
            <p:tnLst>
              <p:par>
                <p:cTn presetID="42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.17383 0.10393 L 0.24388 0.20069 " pathEditMode="relative" rAng="0" ptsTypes="AA">
                      <p:cBhvr>
                        <p:cTn dur="2000" fill="hold"/>
                        <p:tgtEl>
                          <p:spTgt spid="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3503" y="4838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C3D015-6959-4408-9BF2-878E984CDA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27625" y="0"/>
            <a:ext cx="7064375" cy="6858000"/>
          </a:xfrm>
          <a:solidFill>
            <a:srgbClr val="00103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4E92E13-E931-494C-96DF-4A2421B6FE9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4381497" y="4038600"/>
            <a:ext cx="7810497" cy="2819400"/>
          </a:xfrm>
          <a:custGeom>
            <a:avLst/>
            <a:gdLst>
              <a:gd name="connsiteX0" fmla="*/ 6007097 w 7810497"/>
              <a:gd name="connsiteY0" fmla="*/ 0 h 2819400"/>
              <a:gd name="connsiteX1" fmla="*/ 0 w 7810497"/>
              <a:gd name="connsiteY1" fmla="*/ 0 h 2819400"/>
              <a:gd name="connsiteX2" fmla="*/ 0 w 7810497"/>
              <a:gd name="connsiteY2" fmla="*/ 2819400 h 2819400"/>
              <a:gd name="connsiteX3" fmla="*/ 7810497 w 7810497"/>
              <a:gd name="connsiteY3" fmla="*/ 2819400 h 2819400"/>
              <a:gd name="connsiteX4" fmla="*/ 7810497 w 7810497"/>
              <a:gd name="connsiteY4" fmla="*/ 1803400 h 2819400"/>
              <a:gd name="connsiteX5" fmla="*/ 6007097 w 7810497"/>
              <a:gd name="connsiteY5" fmla="*/ 0 h 281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10497" h="2819400">
                <a:moveTo>
                  <a:pt x="6007097" y="0"/>
                </a:moveTo>
                <a:lnTo>
                  <a:pt x="0" y="0"/>
                </a:lnTo>
                <a:lnTo>
                  <a:pt x="0" y="2819400"/>
                </a:lnTo>
                <a:lnTo>
                  <a:pt x="7810497" y="2819400"/>
                </a:lnTo>
                <a:lnTo>
                  <a:pt x="7810497" y="1803400"/>
                </a:lnTo>
                <a:cubicBezTo>
                  <a:pt x="7810497" y="807410"/>
                  <a:pt x="7003087" y="0"/>
                  <a:pt x="6007097" y="0"/>
                </a:cubicBezTo>
                <a:close/>
              </a:path>
            </a:pathLst>
          </a:custGeom>
          <a:solidFill>
            <a:srgbClr val="C3C2DC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ACC01-A937-4271-A7CA-BDC2D6D394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382641" y="5041029"/>
            <a:ext cx="1766888" cy="986907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82641" y="4611460"/>
            <a:ext cx="1766888" cy="338741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3828245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9EE6D194-429B-4CF9-A25A-D35D88FBF5E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15913" y="909186"/>
            <a:ext cx="3829036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77A88A4F-5ACA-4E7F-97B6-8D5BFDDB038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424801" y="5041029"/>
            <a:ext cx="1766888" cy="986907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199A3D1D-B068-40B9-94DE-750DA43F6A1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424801" y="4611460"/>
            <a:ext cx="1766888" cy="338741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AF12E05B-349E-468D-89CE-BFB1E0530AB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28236" y="5041029"/>
            <a:ext cx="1766888" cy="986907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B8ED6D48-CFEA-4D2F-80DC-CBDA51FDD93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428236" y="4611460"/>
            <a:ext cx="1766888" cy="338741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F91AA2C9-234E-4CCE-ABF3-86C69A1A96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6024" y="2249281"/>
            <a:ext cx="3438925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300">
                <a:solidFill>
                  <a:srgbClr val="00207D"/>
                </a:solidFill>
              </a:defRPr>
            </a:lvl2pPr>
            <a:lvl3pPr>
              <a:defRPr sz="1200">
                <a:solidFill>
                  <a:srgbClr val="00207D"/>
                </a:solidFill>
              </a:defRPr>
            </a:lvl3pPr>
            <a:lvl4pPr>
              <a:defRPr sz="1100">
                <a:solidFill>
                  <a:srgbClr val="00207D"/>
                </a:solidFill>
              </a:defRPr>
            </a:lvl4pPr>
            <a:lvl5pPr>
              <a:defRPr sz="10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C0D465B5-E891-45FD-B2CD-F7832BDB643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B652CA5B-091A-4E89-9203-486E5C39F485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A2D3D61E-049A-48E0-9986-95DEF9C8F2B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background" hidden="1">
            <a:extLst>
              <a:ext uri="{FF2B5EF4-FFF2-40B4-BE49-F238E27FC236}">
                <a16:creationId xmlns:a16="http://schemas.microsoft.com/office/drawing/2014/main" id="{122DD4A3-2094-47A6-87DB-03D72FCE8FB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9" name="addin_logo" hidden="1">
            <a:extLst>
              <a:ext uri="{FF2B5EF4-FFF2-40B4-BE49-F238E27FC236}">
                <a16:creationId xmlns:a16="http://schemas.microsoft.com/office/drawing/2014/main" id="{F2DDBE38-7E8E-4049-B6C7-D0729F6C696F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0" name="addin_title" hidden="1">
            <a:extLst>
              <a:ext uri="{FF2B5EF4-FFF2-40B4-BE49-F238E27FC236}">
                <a16:creationId xmlns:a16="http://schemas.microsoft.com/office/drawing/2014/main" id="{87107F74-6EEF-4C55-B579-31D86AEE85F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1" name="addin_text" hidden="1">
            <a:extLst>
              <a:ext uri="{FF2B5EF4-FFF2-40B4-BE49-F238E27FC236}">
                <a16:creationId xmlns:a16="http://schemas.microsoft.com/office/drawing/2014/main" id="{1CC0094A-8549-4644-B35B-BC8DAAA1AAB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471DCF94-BF4E-1E30-9345-9DB775A184B9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3" name="logo_hvit" hidden="1">
            <a:extLst>
              <a:ext uri="{FF2B5EF4-FFF2-40B4-BE49-F238E27FC236}">
                <a16:creationId xmlns:a16="http://schemas.microsoft.com/office/drawing/2014/main" id="{D49A008F-C23A-7BFB-616A-61C7D73A069B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2018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4 deler)">
    <p:bg>
      <p:bgPr>
        <a:solidFill>
          <a:srgbClr val="CECE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C455073B-9561-4C18-AE0B-2DBE98389CC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096000" y="1720850"/>
            <a:ext cx="6096000" cy="5137150"/>
          </a:xfr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6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6AEB2CF0-BD35-47EE-A838-C4F6293D9FC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7429500" y="-1333500"/>
            <a:ext cx="3429000" cy="6096000"/>
          </a:xfrm>
          <a:prstGeom prst="round1Rect">
            <a:avLst>
              <a:gd name="adj" fmla="val 38889"/>
            </a:avLst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5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DC774C79-16BF-402F-AB0F-4B3DDB76E4B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0" y="3429000"/>
            <a:ext cx="6096000" cy="3429000"/>
          </a:xfrm>
          <a:solidFill>
            <a:srgbClr val="0061A8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30D4A27-CB15-4024-A7B2-B0A0FBB527D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0" y="0"/>
            <a:ext cx="6096000" cy="3429000"/>
          </a:xfrm>
          <a:solidFill>
            <a:srgbClr val="FFF9F5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11600" y="3772800"/>
            <a:ext cx="5565974" cy="338741"/>
          </a:xfrm>
          <a:solidFill>
            <a:srgbClr val="0000FE">
              <a:alpha val="0"/>
            </a:srgbClr>
          </a:solidFill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3253810" cy="553998"/>
          </a:xfrm>
          <a:solidFill>
            <a:srgbClr val="0000FE">
              <a:alpha val="0"/>
            </a:srgbClr>
          </a:solidFill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9EE6D194-429B-4CF9-A25A-D35D88FBF5E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15913" y="909186"/>
            <a:ext cx="3253810" cy="430887"/>
          </a:xfrm>
          <a:solidFill>
            <a:srgbClr val="0000FE">
              <a:alpha val="0"/>
            </a:srgbClr>
          </a:solidFill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62251966-DC51-42A4-9D10-7A6D8F3A70A2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3579248" y="1073070"/>
            <a:ext cx="2032424" cy="2013995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8D8D130-C5B1-450A-822A-5F08E950A7F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29600" y="1846800"/>
            <a:ext cx="2713758" cy="1241425"/>
          </a:xfrm>
        </p:spPr>
        <p:txBody>
          <a:bodyPr/>
          <a:lstStyle>
            <a:lvl1pPr marL="0" indent="0">
              <a:buNone/>
              <a:defRPr sz="10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DAB914C2-BF35-4A59-AC94-D43C6D9E086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5913" y="3772800"/>
            <a:ext cx="4660900" cy="338741"/>
          </a:xfrm>
        </p:spPr>
        <p:txBody>
          <a:bodyPr lIns="79200" anchor="b"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45B7438E-AE75-4FF7-BC5E-B7C2C0CE59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A4BDD34D-E03D-4646-867F-0721BEFA75DC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firefarg1, firefarg2</a:t>
            </a:r>
          </a:p>
        </p:txBody>
      </p:sp>
      <p:sp>
        <p:nvSpPr>
          <p:cNvPr id="29" name="addin_colorbox" hidden="1">
            <a:extLst>
              <a:ext uri="{FF2B5EF4-FFF2-40B4-BE49-F238E27FC236}">
                <a16:creationId xmlns:a16="http://schemas.microsoft.com/office/drawing/2014/main" id="{9E04BAB5-E565-4580-A95D-A8DBBBA206C7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0" name="addin_background" hidden="1">
            <a:extLst>
              <a:ext uri="{FF2B5EF4-FFF2-40B4-BE49-F238E27FC236}">
                <a16:creationId xmlns:a16="http://schemas.microsoft.com/office/drawing/2014/main" id="{20312245-3B2C-45E0-A41F-9880DECB8AA3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31" name="addin_logo" hidden="1">
            <a:extLst>
              <a:ext uri="{FF2B5EF4-FFF2-40B4-BE49-F238E27FC236}">
                <a16:creationId xmlns:a16="http://schemas.microsoft.com/office/drawing/2014/main" id="{0555D013-45BB-4434-BCD4-CA50C4FDF50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2" name="addin_title" hidden="1">
            <a:extLst>
              <a:ext uri="{FF2B5EF4-FFF2-40B4-BE49-F238E27FC236}">
                <a16:creationId xmlns:a16="http://schemas.microsoft.com/office/drawing/2014/main" id="{3293E258-4BAB-4E3E-B382-2BF51368333C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3" name="addin_text" hidden="1">
            <a:extLst>
              <a:ext uri="{FF2B5EF4-FFF2-40B4-BE49-F238E27FC236}">
                <a16:creationId xmlns:a16="http://schemas.microsoft.com/office/drawing/2014/main" id="{F306448A-BC82-40F1-B842-B6DB578BF4F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4" name="addin_spestext" hidden="1">
            <a:extLst>
              <a:ext uri="{FF2B5EF4-FFF2-40B4-BE49-F238E27FC236}">
                <a16:creationId xmlns:a16="http://schemas.microsoft.com/office/drawing/2014/main" id="{28414EB4-7508-47EB-8178-87FDD9A0F47B}"/>
              </a:ext>
            </a:extLst>
          </p:cNvPr>
          <p:cNvSpPr/>
          <p:nvPr userDrawn="1"/>
        </p:nvSpPr>
        <p:spPr>
          <a:xfrm>
            <a:off x="2499793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spestext</a:t>
            </a:r>
            <a:endParaRPr lang="nb-NO" dirty="0"/>
          </a:p>
        </p:txBody>
      </p:sp>
      <p:sp>
        <p:nvSpPr>
          <p:cNvPr id="36" name="Rectangle 35" hidden="1">
            <a:extLst>
              <a:ext uri="{FF2B5EF4-FFF2-40B4-BE49-F238E27FC236}">
                <a16:creationId xmlns:a16="http://schemas.microsoft.com/office/drawing/2014/main" id="{E3844F34-BF24-4DE8-8F36-35D26CD26D68}"/>
              </a:ext>
            </a:extLst>
          </p:cNvPr>
          <p:cNvSpPr/>
          <p:nvPr userDrawn="1"/>
        </p:nvSpPr>
        <p:spPr>
          <a:xfrm>
            <a:off x="-598538" y="753"/>
            <a:ext cx="540068" cy="540068"/>
          </a:xfrm>
          <a:prstGeom prst="rect">
            <a:avLst/>
          </a:prstGeom>
          <a:solidFill>
            <a:srgbClr val="C3C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8CBF3C7C-55B9-484F-8323-BAF8BDA704CE}"/>
              </a:ext>
            </a:extLst>
          </p:cNvPr>
          <p:cNvSpPr/>
          <p:nvPr userDrawn="1"/>
        </p:nvSpPr>
        <p:spPr>
          <a:xfrm>
            <a:off x="-598538" y="275482"/>
            <a:ext cx="266019" cy="26533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 hidden="1">
            <a:extLst>
              <a:ext uri="{FF2B5EF4-FFF2-40B4-BE49-F238E27FC236}">
                <a16:creationId xmlns:a16="http://schemas.microsoft.com/office/drawing/2014/main" id="{106FD54A-FD2A-49F0-83FB-443C74F64F15}"/>
              </a:ext>
            </a:extLst>
          </p:cNvPr>
          <p:cNvSpPr/>
          <p:nvPr userDrawn="1"/>
        </p:nvSpPr>
        <p:spPr>
          <a:xfrm>
            <a:off x="-332519" y="275481"/>
            <a:ext cx="274049" cy="265338"/>
          </a:xfrm>
          <a:prstGeom prst="rect">
            <a:avLst/>
          </a:prstGeom>
          <a:solidFill>
            <a:srgbClr val="FFF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8FD9630B-D6BC-493A-BBE8-569F372E8290}"/>
              </a:ext>
            </a:extLst>
          </p:cNvPr>
          <p:cNvSpPr/>
          <p:nvPr userDrawn="1"/>
        </p:nvSpPr>
        <p:spPr>
          <a:xfrm>
            <a:off x="-332519" y="753"/>
            <a:ext cx="274049" cy="274726"/>
          </a:xfrm>
          <a:prstGeom prst="rect">
            <a:avLst/>
          </a:prstGeom>
          <a:solidFill>
            <a:srgbClr val="005A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id="{31A0D69A-9581-4EBF-B323-5DB0479996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5913" y="4194000"/>
            <a:ext cx="4660899" cy="131027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1" name="Text Placeholder 1">
            <a:extLst>
              <a:ext uri="{FF2B5EF4-FFF2-40B4-BE49-F238E27FC236}">
                <a16:creationId xmlns:a16="http://schemas.microsoft.com/office/drawing/2014/main" id="{EC8A8337-24E7-481A-8588-D5597050FC3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411600" y="4194000"/>
            <a:ext cx="5565974" cy="78556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2" name="Text Placeholder 1">
            <a:extLst>
              <a:ext uri="{FF2B5EF4-FFF2-40B4-BE49-F238E27FC236}">
                <a16:creationId xmlns:a16="http://schemas.microsoft.com/office/drawing/2014/main" id="{5F335A74-0045-4431-93C5-38BA94BA922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291600" y="910800"/>
            <a:ext cx="2685974" cy="48487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F2E3C415-1801-83D0-A6A4-E071917A6CF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5" name="logo_hvit" hidden="1">
            <a:extLst>
              <a:ext uri="{FF2B5EF4-FFF2-40B4-BE49-F238E27FC236}">
                <a16:creationId xmlns:a16="http://schemas.microsoft.com/office/drawing/2014/main" id="{FCA7D0C1-E943-1D84-FB7B-D3997B317B2F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51173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4 deler, med tekst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2F04CD96-D11A-4B44-912B-ADD88AA349C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20108" y="2411834"/>
            <a:ext cx="4077730" cy="4446166"/>
          </a:xfrm>
          <a:solidFill>
            <a:srgbClr val="FFF9F5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6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700E0BD-BA45-4A7E-A9CC-E715CDB8E7C2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077730" y="0"/>
            <a:ext cx="4036542" cy="4316164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CE894AE-F5A2-4709-A208-E529BF8713F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4400294" y="3144021"/>
            <a:ext cx="3397251" cy="4030705"/>
          </a:xfrm>
          <a:custGeom>
            <a:avLst/>
            <a:gdLst>
              <a:gd name="connsiteX0" fmla="*/ 0 w 3429000"/>
              <a:gd name="connsiteY0" fmla="*/ 4051300 h 4051300"/>
              <a:gd name="connsiteX1" fmla="*/ 0 w 3429000"/>
              <a:gd name="connsiteY1" fmla="*/ 0 h 4051300"/>
              <a:gd name="connsiteX2" fmla="*/ 2503239 w 3429000"/>
              <a:gd name="connsiteY2" fmla="*/ 0 h 4051300"/>
              <a:gd name="connsiteX3" fmla="*/ 3429000 w 3429000"/>
              <a:gd name="connsiteY3" fmla="*/ 925761 h 4051300"/>
              <a:gd name="connsiteX4" fmla="*/ 3429000 w 3429000"/>
              <a:gd name="connsiteY4" fmla="*/ 4051300 h 405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4051300">
                <a:moveTo>
                  <a:pt x="0" y="4051300"/>
                </a:moveTo>
                <a:lnTo>
                  <a:pt x="0" y="0"/>
                </a:lnTo>
                <a:lnTo>
                  <a:pt x="2503239" y="0"/>
                </a:lnTo>
                <a:cubicBezTo>
                  <a:pt x="3014523" y="0"/>
                  <a:pt x="3429000" y="414477"/>
                  <a:pt x="3429000" y="925761"/>
                </a:cubicBezTo>
                <a:lnTo>
                  <a:pt x="3429000" y="4051300"/>
                </a:lnTo>
                <a:close/>
              </a:path>
            </a:pathLst>
          </a:custGeom>
          <a:solidFill>
            <a:srgbClr val="00207D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460C567-3FD3-4899-98EB-BA303D6775D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422761" y="-308490"/>
            <a:ext cx="3460748" cy="4077730"/>
          </a:xfrm>
          <a:custGeom>
            <a:avLst/>
            <a:gdLst>
              <a:gd name="connsiteX0" fmla="*/ 0 w 3429000"/>
              <a:gd name="connsiteY0" fmla="*/ 4051300 h 4051300"/>
              <a:gd name="connsiteX1" fmla="*/ 0 w 3429000"/>
              <a:gd name="connsiteY1" fmla="*/ 0 h 4051300"/>
              <a:gd name="connsiteX2" fmla="*/ 2503239 w 3429000"/>
              <a:gd name="connsiteY2" fmla="*/ 0 h 4051300"/>
              <a:gd name="connsiteX3" fmla="*/ 3429000 w 3429000"/>
              <a:gd name="connsiteY3" fmla="*/ 925761 h 4051300"/>
              <a:gd name="connsiteX4" fmla="*/ 3429000 w 3429000"/>
              <a:gd name="connsiteY4" fmla="*/ 4051300 h 405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4051300">
                <a:moveTo>
                  <a:pt x="0" y="4051300"/>
                </a:moveTo>
                <a:lnTo>
                  <a:pt x="0" y="0"/>
                </a:lnTo>
                <a:lnTo>
                  <a:pt x="2503239" y="0"/>
                </a:lnTo>
                <a:cubicBezTo>
                  <a:pt x="3014523" y="0"/>
                  <a:pt x="3429000" y="414477"/>
                  <a:pt x="3429000" y="925761"/>
                </a:cubicBezTo>
                <a:lnTo>
                  <a:pt x="3429000" y="4051300"/>
                </a:lnTo>
                <a:close/>
              </a:path>
            </a:pathLst>
          </a:custGeom>
          <a:solidFill>
            <a:srgbClr val="CECDE7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5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DC774C79-16BF-402F-AB0F-4B3DDB76E4B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0" y="0"/>
            <a:ext cx="4083566" cy="6858000"/>
          </a:xfrm>
          <a:solidFill>
            <a:srgbClr val="0061A8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06959" y="4114895"/>
            <a:ext cx="3080679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32538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62251966-DC51-42A4-9D10-7A6D8F3A70A2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9182117" y="4069602"/>
            <a:ext cx="2032424" cy="2013995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DAB914C2-BF35-4A59-AC94-D43C6D9E086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5913" y="1228528"/>
            <a:ext cx="3253812" cy="338741"/>
          </a:xfrm>
        </p:spPr>
        <p:txBody>
          <a:bodyPr lIns="79200" anchor="b"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D7576959-282F-48A7-93E6-CDC621CBBB5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72509" y="167205"/>
            <a:ext cx="3505064" cy="338741"/>
          </a:xfrm>
          <a:solidFill>
            <a:srgbClr val="0000FE">
              <a:alpha val="0"/>
            </a:srgbClr>
          </a:solidFill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277FC5C6-3FFB-4293-812F-50F87293B3A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DE7A0B9B-A159-4769-AA7E-43F8A26DEAA5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firefarg3, firefarg4</a:t>
            </a:r>
          </a:p>
        </p:txBody>
      </p:sp>
      <p:sp>
        <p:nvSpPr>
          <p:cNvPr id="28" name="addin_colorbox" hidden="1">
            <a:extLst>
              <a:ext uri="{FF2B5EF4-FFF2-40B4-BE49-F238E27FC236}">
                <a16:creationId xmlns:a16="http://schemas.microsoft.com/office/drawing/2014/main" id="{A723CA78-23AE-48CA-B30D-BC65F7A9A3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background" hidden="1">
            <a:extLst>
              <a:ext uri="{FF2B5EF4-FFF2-40B4-BE49-F238E27FC236}">
                <a16:creationId xmlns:a16="http://schemas.microsoft.com/office/drawing/2014/main" id="{FDB0DF5E-1B59-4D22-8E8C-0E8E2795D31D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CC87C9FE-39EB-4A6D-868B-7B8E1B4B3B1C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3" name="addin_title" hidden="1">
            <a:extLst>
              <a:ext uri="{FF2B5EF4-FFF2-40B4-BE49-F238E27FC236}">
                <a16:creationId xmlns:a16="http://schemas.microsoft.com/office/drawing/2014/main" id="{2147B6EF-8E5B-42EE-B44C-8A50E0911D9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4" name="addin_text" hidden="1">
            <a:extLst>
              <a:ext uri="{FF2B5EF4-FFF2-40B4-BE49-F238E27FC236}">
                <a16:creationId xmlns:a16="http://schemas.microsoft.com/office/drawing/2014/main" id="{F117A96B-03C2-43F0-BDD8-8161858E432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6" name="addin_image" hidden="1">
            <a:extLst>
              <a:ext uri="{FF2B5EF4-FFF2-40B4-BE49-F238E27FC236}">
                <a16:creationId xmlns:a16="http://schemas.microsoft.com/office/drawing/2014/main" id="{870B3DFC-356E-466E-A04C-39E936E6E326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6D39FA83-C4E7-4637-ABFB-525099A04B9B}"/>
              </a:ext>
            </a:extLst>
          </p:cNvPr>
          <p:cNvSpPr/>
          <p:nvPr userDrawn="1"/>
        </p:nvSpPr>
        <p:spPr>
          <a:xfrm>
            <a:off x="-598538" y="753"/>
            <a:ext cx="540068" cy="540068"/>
          </a:xfrm>
          <a:prstGeom prst="rect">
            <a:avLst/>
          </a:prstGeom>
          <a:solidFill>
            <a:srgbClr val="C3C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 hidden="1">
            <a:extLst>
              <a:ext uri="{FF2B5EF4-FFF2-40B4-BE49-F238E27FC236}">
                <a16:creationId xmlns:a16="http://schemas.microsoft.com/office/drawing/2014/main" id="{A7530B15-9197-446D-BAD0-B354241C94F9}"/>
              </a:ext>
            </a:extLst>
          </p:cNvPr>
          <p:cNvSpPr/>
          <p:nvPr userDrawn="1"/>
        </p:nvSpPr>
        <p:spPr>
          <a:xfrm>
            <a:off x="-598538" y="275482"/>
            <a:ext cx="266019" cy="26533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12CFCD8F-01FE-4654-871C-7FF1504A9466}"/>
              </a:ext>
            </a:extLst>
          </p:cNvPr>
          <p:cNvSpPr/>
          <p:nvPr userDrawn="1"/>
        </p:nvSpPr>
        <p:spPr>
          <a:xfrm>
            <a:off x="-332519" y="275481"/>
            <a:ext cx="274049" cy="265338"/>
          </a:xfrm>
          <a:prstGeom prst="rect">
            <a:avLst/>
          </a:prstGeom>
          <a:solidFill>
            <a:srgbClr val="FFF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73D33CA6-FE73-4DD0-A18B-77AA905F72DD}"/>
              </a:ext>
            </a:extLst>
          </p:cNvPr>
          <p:cNvSpPr/>
          <p:nvPr userDrawn="1"/>
        </p:nvSpPr>
        <p:spPr>
          <a:xfrm>
            <a:off x="-332519" y="753"/>
            <a:ext cx="274049" cy="274726"/>
          </a:xfrm>
          <a:prstGeom prst="rect">
            <a:avLst/>
          </a:prstGeom>
          <a:solidFill>
            <a:srgbClr val="005A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1">
            <a:extLst>
              <a:ext uri="{FF2B5EF4-FFF2-40B4-BE49-F238E27FC236}">
                <a16:creationId xmlns:a16="http://schemas.microsoft.com/office/drawing/2014/main" id="{2CE2E79D-4BE6-4DCF-BE36-0B43C13C476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5913" y="1695722"/>
            <a:ext cx="3253811" cy="131027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2" name="Text Placeholder 1">
            <a:extLst>
              <a:ext uri="{FF2B5EF4-FFF2-40B4-BE49-F238E27FC236}">
                <a16:creationId xmlns:a16="http://schemas.microsoft.com/office/drawing/2014/main" id="{8AE6BBE8-A093-48FC-8519-587B0A829EB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8472510" y="603919"/>
            <a:ext cx="3505064" cy="180791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3" name="Text Placeholder 1">
            <a:extLst>
              <a:ext uri="{FF2B5EF4-FFF2-40B4-BE49-F238E27FC236}">
                <a16:creationId xmlns:a16="http://schemas.microsoft.com/office/drawing/2014/main" id="{08CD107A-6138-4458-8580-DDA462984F8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706960" y="4551609"/>
            <a:ext cx="3080680" cy="180791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F35FF08F-8155-DEC5-63B3-B7FC68005C6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5" name="logo_hvit" hidden="1">
            <a:extLst>
              <a:ext uri="{FF2B5EF4-FFF2-40B4-BE49-F238E27FC236}">
                <a16:creationId xmlns:a16="http://schemas.microsoft.com/office/drawing/2014/main" id="{5FC47703-B3EF-71ED-5B37-50F3A22D4EE2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888950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CE894AE-F5A2-4709-A208-E529BF8713F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5270105" y="-63898"/>
            <a:ext cx="4292600" cy="9551195"/>
          </a:xfrm>
          <a:prstGeom prst="round1Rect">
            <a:avLst>
              <a:gd name="adj" fmla="val 43590"/>
            </a:avLst>
          </a:prstGeom>
          <a:solidFill>
            <a:srgbClr val="00207D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273029" y="6347818"/>
            <a:ext cx="1846659" cy="153888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73029" y="6112838"/>
            <a:ext cx="1846659" cy="153888"/>
          </a:xfrm>
          <a:solidFill>
            <a:srgbClr val="0000FF">
              <a:alpha val="0"/>
            </a:srgbClr>
          </a:solidFill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4328" y="407521"/>
            <a:ext cx="6746085" cy="1284754"/>
          </a:xfrm>
        </p:spPr>
        <p:txBody>
          <a:bodyPr anchor="ctr"/>
          <a:lstStyle>
            <a:lvl1pPr>
              <a:lnSpc>
                <a:spcPct val="90000"/>
              </a:lnSpc>
              <a:defRPr sz="10000"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68846015-2A3B-446D-A0B8-D29C61C01F9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263755" y="6112838"/>
            <a:ext cx="1846659" cy="153888"/>
          </a:xfrm>
          <a:solidFill>
            <a:srgbClr val="0000FF">
              <a:alpha val="0"/>
            </a:srgbClr>
          </a:solidFill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B9BD4B98-07E6-4F80-AF51-2316CD968B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63755" y="6347818"/>
            <a:ext cx="1846659" cy="153888"/>
          </a:xfrm>
          <a:prstGeom prst="rect">
            <a:avLst/>
          </a:prstGeom>
          <a:solidFill>
            <a:srgbClr val="0000FF">
              <a:alpha val="0"/>
            </a:srgbClr>
          </a:solidFill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9BF6C8A6-65BE-42D3-BEB6-7005D686B56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 rot="10800000">
            <a:off x="7561943" y="0"/>
            <a:ext cx="4630057" cy="6858001"/>
          </a:xfrm>
          <a:prstGeom prst="round1Rect">
            <a:avLst>
              <a:gd name="adj" fmla="val 47979"/>
            </a:avLst>
          </a:prstGeom>
          <a:solidFill>
            <a:srgbClr val="00579E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96F1FE8-28E4-4C92-9D93-7B8DCD670978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1BD38ED4-B725-4AAB-9487-255EBB7049C2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ste1, siste2, siste3, siste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6F4D908F-B453-4F18-BE82-ACB5B2DA82B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FC09F4C-2DCB-4C69-9F83-FBEF8B9EA1E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052BDCAC-5BC9-42C5-8C89-4398E2F45DAB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305CCF73-19C7-4C9B-893D-1D0A7E0B1B9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03A08D40-C143-4FDB-834C-4EDCBBAB098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spestext" hidden="1">
            <a:extLst>
              <a:ext uri="{FF2B5EF4-FFF2-40B4-BE49-F238E27FC236}">
                <a16:creationId xmlns:a16="http://schemas.microsoft.com/office/drawing/2014/main" id="{282BCBC8-4FEA-4F9A-A003-2C640A6FBC6E}"/>
              </a:ext>
            </a:extLst>
          </p:cNvPr>
          <p:cNvSpPr/>
          <p:nvPr userDrawn="1"/>
        </p:nvSpPr>
        <p:spPr>
          <a:xfrm>
            <a:off x="2499793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spestext</a:t>
            </a:r>
            <a:endParaRPr lang="nb-NO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157286-2074-4AB7-850D-1D7DDD1937DB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28608" y="6115219"/>
            <a:ext cx="1640683" cy="46166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z="1000" dirty="0">
                <a:solidFill>
                  <a:srgbClr val="00207D"/>
                </a:solidFill>
              </a:rPr>
              <a:t>Sparebank1.no</a:t>
            </a:r>
          </a:p>
          <a:p>
            <a:r>
              <a:rPr lang="en-US" sz="1000" dirty="0">
                <a:solidFill>
                  <a:srgbClr val="00207D"/>
                </a:solidFill>
              </a:rPr>
              <a:t>Facebook.com/sb1.no</a:t>
            </a:r>
          </a:p>
          <a:p>
            <a:r>
              <a:rPr lang="en-US" sz="1000" dirty="0">
                <a:solidFill>
                  <a:srgbClr val="00207D"/>
                </a:solidFill>
              </a:rPr>
              <a:t>@sb1ostlandet</a:t>
            </a:r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2DB8AE09-CD4A-45F7-950C-8FF439D201A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0" name="logo_blaa" hidden="1">
            <a:extLst>
              <a:ext uri="{FF2B5EF4-FFF2-40B4-BE49-F238E27FC236}">
                <a16:creationId xmlns:a16="http://schemas.microsoft.com/office/drawing/2014/main" id="{79542761-90B2-F859-3431-9D5907CF652C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7" name="logo_hvit" hidden="1">
            <a:extLst>
              <a:ext uri="{FF2B5EF4-FFF2-40B4-BE49-F238E27FC236}">
                <a16:creationId xmlns:a16="http://schemas.microsoft.com/office/drawing/2014/main" id="{E83FA558-EDDE-9015-E190-3C34B371313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30191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FD75FC5D-6F55-45E1-BA2B-4AD0149F66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0B5EFC96-E4EE-4FE8-B92E-AF05CED0CD1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93031825-807F-472B-AF88-ED6DD1CD310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D84F1E6E-F1BA-4219-A7A6-F50B1C2A1EE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background" hidden="1">
            <a:extLst>
              <a:ext uri="{FF2B5EF4-FFF2-40B4-BE49-F238E27FC236}">
                <a16:creationId xmlns:a16="http://schemas.microsoft.com/office/drawing/2014/main" id="{DC5899DE-05C4-455E-9646-5E8813CF7104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2" name="addin_logo" hidden="1">
            <a:extLst>
              <a:ext uri="{FF2B5EF4-FFF2-40B4-BE49-F238E27FC236}">
                <a16:creationId xmlns:a16="http://schemas.microsoft.com/office/drawing/2014/main" id="{BACC81DC-258C-49C1-8853-1FE54172C6A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087211ED-582A-466E-942B-54ECB00D05C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81C5F396-DEF8-49C6-8C44-EC521A266BB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18" name="logo_blaa" hidden="1">
            <a:extLst>
              <a:ext uri="{FF2B5EF4-FFF2-40B4-BE49-F238E27FC236}">
                <a16:creationId xmlns:a16="http://schemas.microsoft.com/office/drawing/2014/main" id="{25FCC80E-685C-B4DE-C619-BB4070F2D84E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1" name="logo_hvit" hidden="1">
            <a:extLst>
              <a:ext uri="{FF2B5EF4-FFF2-40B4-BE49-F238E27FC236}">
                <a16:creationId xmlns:a16="http://schemas.microsoft.com/office/drawing/2014/main" id="{2E7865DA-E945-9917-4E3E-74E41D82FA61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87159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39500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)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8B906783-82F7-4F06-A909-92414CF278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0808" y="0"/>
            <a:ext cx="8281191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3378995" cy="430887"/>
          </a:xfrm>
        </p:spPr>
        <p:txBody>
          <a:bodyPr anchor="t"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33789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7372FE5E-CAA5-4EE3-813D-053EE9B99F5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DE1AB944-55F7-447E-B1B0-7777CEB8144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3C3E6D96-3091-423E-B530-6AA7F835351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865A7262-53CB-411A-B2DD-5D7B09996073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4363F96A-DC31-41C7-A2CA-C1A3F458F8B1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CE2A7C8C-4183-49E0-A81F-A87C95D40EC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8B17877C-C149-4333-893F-07266CF802A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139D70A2-5F98-4E2C-B189-EE2B4FDCCAD5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D390523-127C-4A96-AEC0-9D4C14B03B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3378203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3041F739-C6C8-45A7-9C0D-685B68A2F2DB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2E16B7E-1832-4A1C-881A-B121241BBC9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11600" y="0"/>
            <a:ext cx="8280400" cy="6858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15" name="logo_blaa" hidden="1">
            <a:extLst>
              <a:ext uri="{FF2B5EF4-FFF2-40B4-BE49-F238E27FC236}">
                <a16:creationId xmlns:a16="http://schemas.microsoft.com/office/drawing/2014/main" id="{8EAF9D98-E897-5F69-9BF6-F218A18DBC1F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7" name="logo_hvit" hidden="1">
            <a:extLst>
              <a:ext uri="{FF2B5EF4-FFF2-40B4-BE49-F238E27FC236}">
                <a16:creationId xmlns:a16="http://schemas.microsoft.com/office/drawing/2014/main" id="{BE9C081D-2113-E9F0-3BB1-89F2CEBF25ED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77531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H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10B15B95-7E4F-49BD-86F8-CD48FDE599A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7" name="addin_colorbox" hidden="1">
            <a:extLst>
              <a:ext uri="{FF2B5EF4-FFF2-40B4-BE49-F238E27FC236}">
                <a16:creationId xmlns:a16="http://schemas.microsoft.com/office/drawing/2014/main" id="{60F511CE-520D-4D58-978B-A742962CBB1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8309DFEF-9575-4318-B437-CBFF2E4AF83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9" name="addin_logo" hidden="1">
            <a:extLst>
              <a:ext uri="{FF2B5EF4-FFF2-40B4-BE49-F238E27FC236}">
                <a16:creationId xmlns:a16="http://schemas.microsoft.com/office/drawing/2014/main" id="{67036A9A-33C9-40AC-910B-E05856E9B22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09D6E0DE-92FA-4CF9-95A6-8B562FF54A9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CCFE1FC6-4BD8-45F8-B934-22BCC395D00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6A144EF-35F3-4471-82EB-B8135768E0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7" name="logo_blaa" hidden="1">
            <a:extLst>
              <a:ext uri="{FF2B5EF4-FFF2-40B4-BE49-F238E27FC236}">
                <a16:creationId xmlns:a16="http://schemas.microsoft.com/office/drawing/2014/main" id="{5869B4F6-7ED2-7F14-0E31-50C4DA9E83F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0" name="logo_hvit" hidden="1">
            <a:extLst>
              <a:ext uri="{FF2B5EF4-FFF2-40B4-BE49-F238E27FC236}">
                <a16:creationId xmlns:a16="http://schemas.microsoft.com/office/drawing/2014/main" id="{EA913E8A-8832-526F-A87C-566FB9B73126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70887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Levende bakgrunn 1" descr="Levende bakgrunn 1">
            <a:hlinkClick r:id="" action="ppaction://media"/>
            <a:extLst>
              <a:ext uri="{FF2B5EF4-FFF2-40B4-BE49-F238E27FC236}">
                <a16:creationId xmlns:a16="http://schemas.microsoft.com/office/drawing/2014/main" id="{902AFA99-DB3C-4EA2-8EB5-150A887A506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BDB705D4-301E-4A9A-B0CA-85132C564A97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0CC3C0F5-E759-5D56-B6B8-5204F13ACD06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3" name="logo_hvit" hidden="1">
            <a:extLst>
              <a:ext uri="{FF2B5EF4-FFF2-40B4-BE49-F238E27FC236}">
                <a16:creationId xmlns:a16="http://schemas.microsoft.com/office/drawing/2014/main" id="{89EF94E3-E245-91CF-FC24-005796E13134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1554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37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4"/>
                  </p:tgtEl>
                </p:cond>
              </p:nextCondLst>
            </p:seq>
          </p:childTnLst>
        </p:cTn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Levende bakgrunn 3_loop" descr="Levende bakgrunn 3_loop">
            <a:hlinkClick r:id="" action="ppaction://media"/>
            <a:extLst>
              <a:ext uri="{FF2B5EF4-FFF2-40B4-BE49-F238E27FC236}">
                <a16:creationId xmlns:a16="http://schemas.microsoft.com/office/drawing/2014/main" id="{172DB947-6D78-4E6D-8CC2-57FA8919CB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5296276-6E45-4A1A-9B25-2A129A7D0E0C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0D3377DC-53D1-545E-D03A-8F164B45A956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480537BE-4581-6724-E97D-9A8407A65DDD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2375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2042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5296276-6E45-4A1A-9B25-2A129A7D0E0C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3" name="Animasjon_Én klar tale_Small">
            <a:hlinkClick r:id="" action="ppaction://media"/>
            <a:extLst>
              <a:ext uri="{FF2B5EF4-FFF2-40B4-BE49-F238E27FC236}">
                <a16:creationId xmlns:a16="http://schemas.microsoft.com/office/drawing/2014/main" id="{C4E7F5B9-7211-4D5E-9660-E42C89413EBE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D35D85C2-DD28-A572-90CE-34B48B8F0CE5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65BE294F-839D-3734-A4A7-530FCE1F3BB5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60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4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5296276-6E45-4A1A-9B25-2A129A7D0E0C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3" name="Animasjon_Skape rom_Small">
            <a:hlinkClick r:id="" action="ppaction://media"/>
            <a:extLst>
              <a:ext uri="{FF2B5EF4-FFF2-40B4-BE49-F238E27FC236}">
                <a16:creationId xmlns:a16="http://schemas.microsoft.com/office/drawing/2014/main" id="{3334B1F6-4488-4769-89A9-8DE1F485628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80888" cy="6858000"/>
          </a:xfrm>
          <a:prstGeom prst="rect">
            <a:avLst/>
          </a:prstGeom>
        </p:spPr>
      </p:pic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40797967-F269-7DB7-8731-DD86C578A4CB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86FCE51D-DD7F-6D83-7CD6-26D94477118E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757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68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5296276-6E45-4A1A-9B25-2A129A7D0E0C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3" name="Sammen">
            <a:hlinkClick r:id="" action="ppaction://media"/>
            <a:extLst>
              <a:ext uri="{FF2B5EF4-FFF2-40B4-BE49-F238E27FC236}">
                <a16:creationId xmlns:a16="http://schemas.microsoft.com/office/drawing/2014/main" id="{E615C148-FB3A-4F63-88D8-B13C677070D5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DDB05180-02BF-FB0B-702E-E2E421BAB064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57490FDF-D0E7-DE0E-4692-79CBBA20F361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8821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296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innhold (Høyre) 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0D26DCF0-7676-47A4-8E76-C67AEF8C71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0808" y="0"/>
            <a:ext cx="8281191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3378995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33789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F9902AC6-0866-4866-BEB8-3EF36AE083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86E4A578-2604-4EF1-A112-B6EEBB1650DF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53BD8B14-1016-4228-ABB8-79ED792B2B6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9D41E301-6567-4BD4-9BF8-E8D9532FBFF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DBE22B59-58E2-4A77-A9D7-CC7F38F62F49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24E36FD8-70FB-44F5-8C26-61B5CE08134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8BD79908-CF76-4F3E-A9EC-C9C524CEFC5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A2CF66BD-25DA-4FF6-9589-251CB8ECC82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4914B5D-5A23-45A9-B953-59A3D98BDE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3378203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A9A38E28-BCBE-41B5-9F74-A416D15CB715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4013F9-6889-481B-A280-1985D2203EEC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3911600" y="0"/>
            <a:ext cx="8280400" cy="685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5" name="logo_blaa" hidden="1">
            <a:extLst>
              <a:ext uri="{FF2B5EF4-FFF2-40B4-BE49-F238E27FC236}">
                <a16:creationId xmlns:a16="http://schemas.microsoft.com/office/drawing/2014/main" id="{DB38CC73-68FA-8481-A6D1-49081F22BCAA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7" name="logo_hvit" hidden="1">
            <a:extLst>
              <a:ext uri="{FF2B5EF4-FFF2-40B4-BE49-F238E27FC236}">
                <a16:creationId xmlns:a16="http://schemas.microsoft.com/office/drawing/2014/main" id="{DFD1C890-A69A-9E11-DC41-D1BC322750DA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0883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innhold (Bak)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1BDE19F-A62C-4B9A-AABE-67AEE005F07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1306508"/>
            <a:ext cx="5588796" cy="553998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08CD17-0B38-4678-850D-681E5D48C3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466340"/>
            <a:ext cx="5588796" cy="3685222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1985966"/>
            <a:ext cx="5589587" cy="341313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EBDE9C1-A6AF-42BB-AD3E-EC5033DF7D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E881F7AB-121D-483A-BEEB-047633213E2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1F051DA2-02ED-4843-9F7B-A5F1B5FA1D47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737967A0-F11A-4DEB-8752-F51E6C30160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0BCBC18E-CFC3-4CBA-A77B-FCEE20A0D0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DAE9B024-9850-4644-969C-845FA2224C3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4C82FF42-4159-46F4-9A84-97CFCB2094A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A9A00501-7D4B-4A4A-9C7E-528975384D02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7EA08099-CF4B-47D5-AE1A-473F68B466AF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3" name="logo_blaa" hidden="1">
            <a:extLst>
              <a:ext uri="{FF2B5EF4-FFF2-40B4-BE49-F238E27FC236}">
                <a16:creationId xmlns:a16="http://schemas.microsoft.com/office/drawing/2014/main" id="{AA4D9630-C8F5-21ED-7C9D-99F911415EAF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7" name="logo_hvit" hidden="1">
            <a:extLst>
              <a:ext uri="{FF2B5EF4-FFF2-40B4-BE49-F238E27FC236}">
                <a16:creationId xmlns:a16="http://schemas.microsoft.com/office/drawing/2014/main" id="{3B5441C8-7EB6-C2CE-C34E-5DAF75B2DF7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6365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1BDE19F-A62C-4B9A-AABE-67AEE005F07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D5AB121-B777-4009-80C1-75B8761B0C1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138087C-6F4A-4D28-8FDF-F085F699A2C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6706D5D-D638-4DB1-9AC8-CD8309B275C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background" hidden="1">
            <a:extLst>
              <a:ext uri="{FF2B5EF4-FFF2-40B4-BE49-F238E27FC236}">
                <a16:creationId xmlns:a16="http://schemas.microsoft.com/office/drawing/2014/main" id="{06DEFD4A-FB2F-46A7-8EFB-9873F806D4F0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5848A094-42A0-4FA4-B133-A3B7A7B39B0F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15ECCDD0-B9DF-490B-8070-810E4261072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20FD1917-1441-4832-9EC0-0D1DABCB58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757AAD15-4D1F-4961-B536-5ECA1FDCBEF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8" name="DefLogoHvit" hidden="1">
            <a:extLst>
              <a:ext uri="{FF2B5EF4-FFF2-40B4-BE49-F238E27FC236}">
                <a16:creationId xmlns:a16="http://schemas.microsoft.com/office/drawing/2014/main" id="{9207E573-3D16-4F72-83D9-249A5604221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0" name="logo_blaa" hidden="1">
            <a:extLst>
              <a:ext uri="{FF2B5EF4-FFF2-40B4-BE49-F238E27FC236}">
                <a16:creationId xmlns:a16="http://schemas.microsoft.com/office/drawing/2014/main" id="{E593631D-DCB4-40E0-BDF6-D6C8B85350B5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4" name="logo_hvit" hidden="1">
            <a:extLst>
              <a:ext uri="{FF2B5EF4-FFF2-40B4-BE49-F238E27FC236}">
                <a16:creationId xmlns:a16="http://schemas.microsoft.com/office/drawing/2014/main" id="{C78849A6-07C2-6F38-DA6A-325FBE439F39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7819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llomtittel, tekst og innhold (Bak)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2C17378-974D-4128-8D5E-84FC65123272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C295C1-C2D0-4B81-AFB0-17F1A5F19B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5326380" y="3247853"/>
            <a:ext cx="6865620" cy="3610147"/>
          </a:xfrm>
          <a:prstGeom prst="round1Rect">
            <a:avLst>
              <a:gd name="adj" fmla="val 39195"/>
            </a:avLst>
          </a:prstGeom>
          <a:solidFill>
            <a:srgbClr val="FDF3F2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69970" y="4257902"/>
            <a:ext cx="4607604" cy="394054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4B4CF32-5696-483C-9E36-AECAC554DB5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3718968E-017F-4F68-8388-B2E458897EF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95677D21-AB8E-4EAE-937F-550723AA605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0DA2D151-1A8B-4DE7-921B-4788399FB6A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A63A0026-16AF-4E57-831A-D74BAFCE142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5E142F18-FA97-44F7-B279-1943E3BC51B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366C5A4A-E52D-4E55-82D4-F2A3DEF0988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C71F8D16-8429-46C8-A55F-53113E72FB3A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F6D5F194-6865-43D1-A2E9-4920E38BE8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69971" y="4792663"/>
            <a:ext cx="4607718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CAD70542-FF49-23A7-E23E-2BA1D7D41D3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5" name="logo_hvit" hidden="1">
            <a:extLst>
              <a:ext uri="{FF2B5EF4-FFF2-40B4-BE49-F238E27FC236}">
                <a16:creationId xmlns:a16="http://schemas.microsoft.com/office/drawing/2014/main" id="{98CA5AE0-A5F1-3D96-95A2-9170C0DA18C9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0585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8E7BC67-93D3-4DE1-9069-B45F8FFA378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Content Placeholder 5" hidden="1">
            <a:extLst>
              <a:ext uri="{FF2B5EF4-FFF2-40B4-BE49-F238E27FC236}">
                <a16:creationId xmlns:a16="http://schemas.microsoft.com/office/drawing/2014/main" id="{AF9CB0EE-AD99-4A11-AADA-C4A4009C79B3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0" y="0"/>
            <a:ext cx="6096000" cy="685800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00C112-E41D-4154-A09B-F17BA74EE5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4419600" y="4651956"/>
            <a:ext cx="7772400" cy="2206044"/>
          </a:xfrm>
          <a:custGeom>
            <a:avLst/>
            <a:gdLst>
              <a:gd name="connsiteX0" fmla="*/ 6126453 w 7772400"/>
              <a:gd name="connsiteY0" fmla="*/ 0 h 2206044"/>
              <a:gd name="connsiteX1" fmla="*/ 0 w 7772400"/>
              <a:gd name="connsiteY1" fmla="*/ 0 h 2206044"/>
              <a:gd name="connsiteX2" fmla="*/ 0 w 7772400"/>
              <a:gd name="connsiteY2" fmla="*/ 2206044 h 2206044"/>
              <a:gd name="connsiteX3" fmla="*/ 7772400 w 7772400"/>
              <a:gd name="connsiteY3" fmla="*/ 2206044 h 2206044"/>
              <a:gd name="connsiteX4" fmla="*/ 7772400 w 7772400"/>
              <a:gd name="connsiteY4" fmla="*/ 1645947 h 2206044"/>
              <a:gd name="connsiteX5" fmla="*/ 6126453 w 7772400"/>
              <a:gd name="connsiteY5" fmla="*/ 0 h 2206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72400" h="2206044">
                <a:moveTo>
                  <a:pt x="6126453" y="0"/>
                </a:moveTo>
                <a:lnTo>
                  <a:pt x="0" y="0"/>
                </a:lnTo>
                <a:lnTo>
                  <a:pt x="0" y="2206044"/>
                </a:lnTo>
                <a:lnTo>
                  <a:pt x="7772400" y="2206044"/>
                </a:lnTo>
                <a:lnTo>
                  <a:pt x="7772400" y="1645947"/>
                </a:lnTo>
                <a:cubicBezTo>
                  <a:pt x="7772400" y="736916"/>
                  <a:pt x="7035484" y="0"/>
                  <a:pt x="6126453" y="0"/>
                </a:cubicBezTo>
                <a:close/>
              </a:path>
            </a:pathLst>
          </a:custGeom>
          <a:solidFill>
            <a:srgbClr val="D8D8E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5347826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5913" y="853321"/>
            <a:ext cx="5348287" cy="553998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85763" y="723901"/>
            <a:ext cx="4607762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CE135E41-F011-45ED-BC06-DEDEFCACBB2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C9EA006E-2080-4935-92C8-631EA67245C5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3" name="addin_colorbox" hidden="1">
            <a:extLst>
              <a:ext uri="{FF2B5EF4-FFF2-40B4-BE49-F238E27FC236}">
                <a16:creationId xmlns:a16="http://schemas.microsoft.com/office/drawing/2014/main" id="{2FC96FE8-006C-4558-8BA8-53291D4137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4" name="addin_background" hidden="1">
            <a:extLst>
              <a:ext uri="{FF2B5EF4-FFF2-40B4-BE49-F238E27FC236}">
                <a16:creationId xmlns:a16="http://schemas.microsoft.com/office/drawing/2014/main" id="{366A9094-1F57-4D0B-A622-EDA13749F054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5" name="addin_logo" hidden="1">
            <a:extLst>
              <a:ext uri="{FF2B5EF4-FFF2-40B4-BE49-F238E27FC236}">
                <a16:creationId xmlns:a16="http://schemas.microsoft.com/office/drawing/2014/main" id="{34FCEA06-8CAE-4214-8ECB-62EE1CDCC7A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title" hidden="1">
            <a:extLst>
              <a:ext uri="{FF2B5EF4-FFF2-40B4-BE49-F238E27FC236}">
                <a16:creationId xmlns:a16="http://schemas.microsoft.com/office/drawing/2014/main" id="{66A5CB83-A611-486A-A11E-524EC248C2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7" name="addin_text" hidden="1">
            <a:extLst>
              <a:ext uri="{FF2B5EF4-FFF2-40B4-BE49-F238E27FC236}">
                <a16:creationId xmlns:a16="http://schemas.microsoft.com/office/drawing/2014/main" id="{FF933DB9-766C-426B-B11E-45A6BA6095A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Text Placeholder 1" hidden="1">
            <a:extLst>
              <a:ext uri="{FF2B5EF4-FFF2-40B4-BE49-F238E27FC236}">
                <a16:creationId xmlns:a16="http://schemas.microsoft.com/office/drawing/2014/main" id="{4475D5B4-B04D-492A-BF9B-685A53F0430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15913" y="853321"/>
            <a:ext cx="5348287" cy="55399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2" name="Text Placeholder 1">
            <a:extLst>
              <a:ext uri="{FF2B5EF4-FFF2-40B4-BE49-F238E27FC236}">
                <a16:creationId xmlns:a16="http://schemas.microsoft.com/office/drawing/2014/main" id="{794821EF-9AF2-4167-BA65-8EAF8E8DEA4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085763" y="1196836"/>
            <a:ext cx="4607718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3" name="Text Placeholder 1">
            <a:extLst>
              <a:ext uri="{FF2B5EF4-FFF2-40B4-BE49-F238E27FC236}">
                <a16:creationId xmlns:a16="http://schemas.microsoft.com/office/drawing/2014/main" id="{CA42C7DF-ED2B-443A-9FB1-BC0F52E371D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976813" y="5544693"/>
            <a:ext cx="7000761" cy="59054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D14A90C1-0AB2-6057-0D15-D78A2F71086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3" name="logo_hvit" hidden="1">
            <a:extLst>
              <a:ext uri="{FF2B5EF4-FFF2-40B4-BE49-F238E27FC236}">
                <a16:creationId xmlns:a16="http://schemas.microsoft.com/office/drawing/2014/main" id="{5A4867B8-F937-F9D8-2210-CD607097A241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250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Høyre og venstre)">
    <p:bg>
      <p:bgPr>
        <a:solidFill>
          <a:srgbClr val="FBF2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FD96C6F-2B95-4858-B2FD-E57FE81F27C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736080" y="0"/>
            <a:ext cx="545592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6F8DC9D5-24ED-458C-90BB-732F5F9D6BC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0" y="0"/>
            <a:ext cx="6587243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9CB0EE-AD99-4A11-AADA-C4A4009C79B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-1" y="0"/>
            <a:ext cx="658724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00C112-E41D-4154-A09B-F17BA74EE5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5341257" y="3730171"/>
            <a:ext cx="6850742" cy="3127829"/>
          </a:xfrm>
          <a:prstGeom prst="round1Rect">
            <a:avLst>
              <a:gd name="adj" fmla="val 44896"/>
            </a:avLst>
          </a:prstGeom>
          <a:solidFill>
            <a:srgbClr val="D8D8E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5347826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5913" y="853321"/>
            <a:ext cx="5348287" cy="553998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85763" y="4729846"/>
            <a:ext cx="4891810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46F41208-5C1D-4DD4-8A50-29FFF2F2242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736080" y="0"/>
            <a:ext cx="5455919" cy="3730171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744182F-BA54-48B0-B256-4947640EBAB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addin_colorlist" hidden="1">
            <a:extLst>
              <a:ext uri="{FF2B5EF4-FFF2-40B4-BE49-F238E27FC236}">
                <a16:creationId xmlns:a16="http://schemas.microsoft.com/office/drawing/2014/main" id="{C273E00C-50FC-4C09-837B-667751499D42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2" name="addin_colorbox" hidden="1">
            <a:extLst>
              <a:ext uri="{FF2B5EF4-FFF2-40B4-BE49-F238E27FC236}">
                <a16:creationId xmlns:a16="http://schemas.microsoft.com/office/drawing/2014/main" id="{1136DBA2-434B-4983-86EB-77F8FA3578A7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EEA2228F-8BF9-4C93-9035-4B6EF6481C8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4" name="addin_logo" hidden="1">
            <a:extLst>
              <a:ext uri="{FF2B5EF4-FFF2-40B4-BE49-F238E27FC236}">
                <a16:creationId xmlns:a16="http://schemas.microsoft.com/office/drawing/2014/main" id="{BF822C3C-A96D-4C31-9A95-60C5B3D4B251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addin_title" hidden="1">
            <a:extLst>
              <a:ext uri="{FF2B5EF4-FFF2-40B4-BE49-F238E27FC236}">
                <a16:creationId xmlns:a16="http://schemas.microsoft.com/office/drawing/2014/main" id="{E919718A-FF57-49A0-9771-B176C0DE0BB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6" name="addin_text" hidden="1">
            <a:extLst>
              <a:ext uri="{FF2B5EF4-FFF2-40B4-BE49-F238E27FC236}">
                <a16:creationId xmlns:a16="http://schemas.microsoft.com/office/drawing/2014/main" id="{84AA82A5-69A9-42C5-A00A-E051759316E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B4593EE2-8E41-475D-BA91-5A5948E62F1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085762" y="5202781"/>
            <a:ext cx="4891811" cy="82515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71FFD6C5-971F-8488-64C8-81F82510071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3" name="logo_hvit" hidden="1">
            <a:extLst>
              <a:ext uri="{FF2B5EF4-FFF2-40B4-BE49-F238E27FC236}">
                <a16:creationId xmlns:a16="http://schemas.microsoft.com/office/drawing/2014/main" id="{6091B2AF-EE7F-633F-7B94-95895C074435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8834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Venst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9CB0EE-AD99-4A11-AADA-C4A4009C79B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0" y="0"/>
            <a:ext cx="7353300" cy="6858000"/>
          </a:xfrm>
          <a:prstGeom prst="round1Rect">
            <a:avLst>
              <a:gd name="adj" fmla="val 38976"/>
            </a:avLst>
          </a:prstGeom>
          <a:solidFill>
            <a:srgbClr val="002060"/>
          </a:solidFill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00C112-E41D-4154-A09B-F17BA74EE5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5341257" y="3232150"/>
            <a:ext cx="6850742" cy="3625851"/>
          </a:xfrm>
          <a:prstGeom prst="round1Rect">
            <a:avLst>
              <a:gd name="adj" fmla="val 38591"/>
            </a:avLst>
          </a:prstGeom>
          <a:solidFill>
            <a:srgbClr val="FDF3F2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67069" y="2090825"/>
            <a:ext cx="4210504" cy="553998"/>
          </a:xfrm>
        </p:spPr>
        <p:txBody>
          <a:bodyPr anchor="b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767068" y="2766475"/>
            <a:ext cx="4210505" cy="392650"/>
          </a:xfrm>
        </p:spPr>
        <p:txBody>
          <a:bodyPr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67069" y="4179840"/>
            <a:ext cx="4210505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0E5897B-0128-4833-ABC7-9D5B944D43E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addin_colorlist" hidden="1">
            <a:extLst>
              <a:ext uri="{FF2B5EF4-FFF2-40B4-BE49-F238E27FC236}">
                <a16:creationId xmlns:a16="http://schemas.microsoft.com/office/drawing/2014/main" id="{7BD4C53C-108D-4394-8456-4042468C0E3E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B367CA8A-46EF-4B57-A802-BB29E53CA959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8EC9AE72-4105-48A6-A086-47AFE82C935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addin_logo" hidden="1">
            <a:extLst>
              <a:ext uri="{FF2B5EF4-FFF2-40B4-BE49-F238E27FC236}">
                <a16:creationId xmlns:a16="http://schemas.microsoft.com/office/drawing/2014/main" id="{2F1AA884-7DE6-4EAE-BF6F-1767EE3A5B0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addin_title" hidden="1">
            <a:extLst>
              <a:ext uri="{FF2B5EF4-FFF2-40B4-BE49-F238E27FC236}">
                <a16:creationId xmlns:a16="http://schemas.microsoft.com/office/drawing/2014/main" id="{B8B387BA-8B81-4475-9FC8-702C90AFA83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5" name="addin_text" hidden="1">
            <a:extLst>
              <a:ext uri="{FF2B5EF4-FFF2-40B4-BE49-F238E27FC236}">
                <a16:creationId xmlns:a16="http://schemas.microsoft.com/office/drawing/2014/main" id="{D9145AC7-3FAF-40CE-9C66-69B589F5679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6818D3C5-E00B-4293-821C-798C4F134E3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767025" y="4614675"/>
            <a:ext cx="4210549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451A0076-86FC-A33A-B0E0-CD0B8B4DA2D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3" name="logo_hvit" hidden="1">
            <a:extLst>
              <a:ext uri="{FF2B5EF4-FFF2-40B4-BE49-F238E27FC236}">
                <a16:creationId xmlns:a16="http://schemas.microsoft.com/office/drawing/2014/main" id="{A96703D4-CBE8-6457-D74B-6145360780F4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5447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Høyre)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59095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6" y="4019550"/>
            <a:ext cx="5559095" cy="1708150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86664A-2EF2-43CB-A41F-676FF90963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19863" y="0"/>
            <a:ext cx="5672137" cy="6858000"/>
          </a:xfrm>
          <a:solidFill>
            <a:schemeClr val="accent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5B07D191-5165-41F0-9CA0-2D9A13FDE7A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48B445A7-2708-42E6-87CD-7BBE618FCB9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7AC23A7A-D883-4E96-90A1-C32758913D6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873DE8BD-C805-4280-9DAE-151FB5B3C74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B412EC9B-5739-4D54-AD85-89BAAB9B5DDC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DC8B4B2D-F48D-4D80-9952-A71F5977CA9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B4C581-6E50-4372-88CE-BC943FC4A2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3A06D244-5520-41C4-B5E5-C0A0DF4B407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404A2A7E-79DA-4E12-8A5E-415AF8F61F7A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4" name="logo_blaa" hidden="1">
            <a:extLst>
              <a:ext uri="{FF2B5EF4-FFF2-40B4-BE49-F238E27FC236}">
                <a16:creationId xmlns:a16="http://schemas.microsoft.com/office/drawing/2014/main" id="{F3C4CD0E-859D-0DF4-44B1-DE56FEC09FA6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2667000" cy="560754"/>
          </a:xfrm>
          <a:prstGeom prst="rect">
            <a:avLst/>
          </a:prstGeom>
        </p:spPr>
      </p:pic>
      <p:pic>
        <p:nvPicPr>
          <p:cNvPr id="27" name="logo_hvit" hidden="1">
            <a:extLst>
              <a:ext uri="{FF2B5EF4-FFF2-40B4-BE49-F238E27FC236}">
                <a16:creationId xmlns:a16="http://schemas.microsoft.com/office/drawing/2014/main" id="{4B93B0BE-1CBA-9BE1-7456-78DB6622AE39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477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3 bokser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13DEE0-CCAF-47EA-A14D-D76793842F6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49008" y="-8758"/>
            <a:ext cx="3949700" cy="6866758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016FC5DA-8226-4CF8-B228-E01FC14873E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39200" y="3490090"/>
            <a:ext cx="3352800" cy="3367907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A51F98C5-2BE5-42D7-BB2F-61E1BA87BFA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839200" y="0"/>
            <a:ext cx="3352800" cy="3367907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5F59F70E-C806-43BD-9D89-C54E8C3B0DB3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8839200" y="3498849"/>
            <a:ext cx="3352799" cy="335914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2DCA02DF-93B7-429F-A0AD-D85D318A8EAB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4749800" y="-2"/>
            <a:ext cx="3949700" cy="685799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394970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5913" y="910471"/>
            <a:ext cx="3949701" cy="553998"/>
          </a:xfrm>
        </p:spPr>
        <p:txBody>
          <a:bodyPr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46F41208-5C1D-4DD4-8A50-29FFF2F2242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8839200" y="0"/>
            <a:ext cx="3352799" cy="335914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4D51EAA-A93B-4020-8227-613B86276B8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F919271A-D69E-44B1-9601-857C23308C2F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524CAE9B-B20C-4A8D-934B-59339B019D1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AC83C4E6-04D0-4072-8F3C-7976CB3356C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addin_logo" hidden="1">
            <a:extLst>
              <a:ext uri="{FF2B5EF4-FFF2-40B4-BE49-F238E27FC236}">
                <a16:creationId xmlns:a16="http://schemas.microsoft.com/office/drawing/2014/main" id="{6A95789E-F5A3-4946-AB59-D1C0D4FF1F3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addin_title" hidden="1">
            <a:extLst>
              <a:ext uri="{FF2B5EF4-FFF2-40B4-BE49-F238E27FC236}">
                <a16:creationId xmlns:a16="http://schemas.microsoft.com/office/drawing/2014/main" id="{3D365EEB-3C51-4BE4-88F0-1FC8A2B887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5" name="addin_text" hidden="1">
            <a:extLst>
              <a:ext uri="{FF2B5EF4-FFF2-40B4-BE49-F238E27FC236}">
                <a16:creationId xmlns:a16="http://schemas.microsoft.com/office/drawing/2014/main" id="{0B668723-1F65-41E9-8B0D-4C408D3AF15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DefLogoHvit" hidden="1">
            <a:extLst>
              <a:ext uri="{FF2B5EF4-FFF2-40B4-BE49-F238E27FC236}">
                <a16:creationId xmlns:a16="http://schemas.microsoft.com/office/drawing/2014/main" id="{1B4E343D-3448-4288-96A0-8161A1BCA02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0" name="Text Placeholder 1">
            <a:extLst>
              <a:ext uri="{FF2B5EF4-FFF2-40B4-BE49-F238E27FC236}">
                <a16:creationId xmlns:a16="http://schemas.microsoft.com/office/drawing/2014/main" id="{549804D6-DBC7-4F01-9B86-DCB54C291E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5913" y="2121720"/>
            <a:ext cx="3949700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76525E7B-F16F-6DA1-60D8-9784DC5C049B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2" name="logo_hvit" hidden="1">
            <a:extLst>
              <a:ext uri="{FF2B5EF4-FFF2-40B4-BE49-F238E27FC236}">
                <a16:creationId xmlns:a16="http://schemas.microsoft.com/office/drawing/2014/main" id="{B2189403-0208-07BF-0141-CF27779AD6B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8649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innhold (Høy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BBFA32DA-0415-49CF-BCF9-38F570B362B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25597" y="0"/>
            <a:ext cx="4266403" cy="6866758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2DCA02DF-93B7-429F-A0AD-D85D318A8EAB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7925597" y="1"/>
            <a:ext cx="4259939" cy="6857999"/>
          </a:xfrm>
          <a:prstGeom prst="rect">
            <a:avLst/>
          </a:prstGeom>
          <a:solidFill>
            <a:srgbClr val="002060"/>
          </a:solidFill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6163919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DD2C0544-2BE4-48B0-9C84-7496C2E325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E35BFD6A-9EBA-437D-94D3-A22AE9F3BF6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BE9F07D1-9FDA-4010-B64C-C1629BFE350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0B018755-7928-4745-9B40-F3496CA5DF1C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633A8CE6-D1F0-4276-AE71-8C8663E262E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FDD8280D-ED4A-4383-944E-05E4FE2BF96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994003EC-43C4-4410-B11C-73FEE191870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3341E66A-52C3-4488-998F-D252AB6C05BB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BAA402BF-A073-4F44-B5BE-D9D57BDB227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199256" y="1698171"/>
            <a:ext cx="4259939" cy="383902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DC022BAA-D07A-8999-0810-604F7BD3A031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1" name="logo_hvit" hidden="1">
            <a:extLst>
              <a:ext uri="{FF2B5EF4-FFF2-40B4-BE49-F238E27FC236}">
                <a16:creationId xmlns:a16="http://schemas.microsoft.com/office/drawing/2014/main" id="{EFFBAC26-F75C-D9DA-488F-C1E3FEEFA48B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2467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mellomtittel, tekst og innhold (Bak)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8A1C56D-C7B2-4042-9CD8-AA509F79511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66087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D40B92AA-42BC-432B-8FCD-86D6CFD8E50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15913" y="909186"/>
            <a:ext cx="1166087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1E363977-D9F6-454E-A94B-C68902B9588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98220" y="2476500"/>
            <a:ext cx="3978593" cy="3555072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A81454-9B8B-4525-959D-5534FBD4C3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0F7888C7-E2BB-4F37-9548-732E47B2D66A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0D07F82-624B-4368-B875-4A5180E2445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EC608B2B-F460-4524-A128-B881BF70A79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61C83988-EF2B-4F8A-A221-FBA24707F9C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47B8B98E-1475-4FEF-A304-E855B226301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07811DB8-614D-4E24-9368-EBE38BEF6B9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3A47E8CE-2C1D-4AD7-95B9-E7E0918EBD50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679F46EC-B1FB-07A3-2F62-83EF9FADDA17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4" name="logo_hvit" hidden="1">
            <a:extLst>
              <a:ext uri="{FF2B5EF4-FFF2-40B4-BE49-F238E27FC236}">
                <a16:creationId xmlns:a16="http://schemas.microsoft.com/office/drawing/2014/main" id="{AF776E6D-069F-043F-05F6-F61E0DF36044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9556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8A1C56D-C7B2-4042-9CD8-AA509F79511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5902DB0-F9C9-4208-AC04-F65B14A925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22416" y="2157469"/>
            <a:ext cx="5560333" cy="1938992"/>
          </a:xfrm>
        </p:spPr>
        <p:txBody>
          <a:bodyPr anchor="b">
            <a:noAutofit/>
          </a:bodyPr>
          <a:lstStyle>
            <a:lvl1pPr algn="ctr">
              <a:lnSpc>
                <a:spcPct val="90000"/>
              </a:lnSpc>
              <a:defRPr sz="3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“</a:t>
            </a:r>
            <a:r>
              <a:rPr lang="en-US" dirty="0" err="1"/>
              <a:t>Sitat</a:t>
            </a:r>
            <a:r>
              <a:rPr lang="en-US" dirty="0"/>
              <a:t>”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262E9EA-50DA-4C6F-BDBD-45D2CC16F55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2417" y="4498845"/>
            <a:ext cx="5560332" cy="215444"/>
          </a:xfr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8E93E590-141F-4D3A-BAE4-F780C71B13E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0359BBBD-8D4D-47A6-A6D2-15A5C12B778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91BDE199-DCB0-44B7-B468-DB0113CDAAD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5BC20023-01D6-43AC-AC9E-3D5BBB97537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9037258-551C-4040-900F-0E68A78A121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61EAB1CA-B254-4FF7-9B06-83529538730C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978D642-AF95-46D9-BDA8-AC5CCCB3ED30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E1023C14-08D5-4A55-A00C-020E6A8C9E4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E493D47E-10EF-4CE8-DD76-D763A90BA4DD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3DABD7B3-EEA5-4D9A-75D4-06DD8A35319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3245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660079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84523D-32B3-42D2-9506-B4449EF1765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15913" y="909186"/>
            <a:ext cx="1166087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315913" y="1460500"/>
            <a:ext cx="6719887" cy="4784725"/>
          </a:xfrm>
        </p:spPr>
        <p:txBody>
          <a:bodyPr/>
          <a:lstStyle/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99981B97-0927-4AE0-B50C-C8C76D99F25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64499" y="2152968"/>
            <a:ext cx="3912283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294E24CE-73E5-478C-A0AE-B3FF6F4E4C8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531F68E2-5378-49F8-9089-CF82D4C5C37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A3B53C9F-AC67-475F-A1A3-7F754C8F112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42717750-4B12-4D91-8622-DC0D4272850D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CBF86961-0370-4940-A239-56F95E63CBDB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0AE0909F-FA8A-42B2-A5EA-7A13B05B37C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9400D268-CC84-41FD-B9A3-9510D85E407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0E2F7EB6-BD9A-4CAB-81C5-FA6F6D8726B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064499" y="2673350"/>
            <a:ext cx="3912283" cy="3275464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8E3BC4F6-B923-1B54-EF1D-E4CAB38CA21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9" name="logo_hvit" hidden="1">
            <a:extLst>
              <a:ext uri="{FF2B5EF4-FFF2-40B4-BE49-F238E27FC236}">
                <a16:creationId xmlns:a16="http://schemas.microsoft.com/office/drawing/2014/main" id="{7EF53140-916D-EDDE-1866-F1316DA4D785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1199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 (Høy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9DA6E-D112-4CF2-9E61-D2803FFC55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0"/>
            <a:ext cx="3343275" cy="6858000"/>
          </a:xfrm>
          <a:solidFill>
            <a:srgbClr val="EFEFEF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660079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3715658" y="1036637"/>
            <a:ext cx="8261126" cy="5364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95EA8AB-6B52-4A25-8679-9037A006B26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7" y="6245941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2C43F1F1-08A8-45E6-8709-A6CF646C389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29DE899F-C243-4AB6-84E9-84DD211AA6D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background" hidden="1">
            <a:extLst>
              <a:ext uri="{FF2B5EF4-FFF2-40B4-BE49-F238E27FC236}">
                <a16:creationId xmlns:a16="http://schemas.microsoft.com/office/drawing/2014/main" id="{FD84D5B2-05C4-4708-B0E6-8816C134C1A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BC7B844F-3B22-4BC5-AE8F-529F6F8103B2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91826AB-F933-47F3-A50A-E1A9C8C299C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882AA710-D5DF-4B9E-B682-8BC67348AB3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F27B46D2-22EB-487B-863E-8C88301E95B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6705" y="1191898"/>
            <a:ext cx="2822753" cy="462946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5" name="logo_blaa" hidden="1">
            <a:extLst>
              <a:ext uri="{FF2B5EF4-FFF2-40B4-BE49-F238E27FC236}">
                <a16:creationId xmlns:a16="http://schemas.microsoft.com/office/drawing/2014/main" id="{4FA9F045-2961-C2E5-F396-BF06473AB79D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2667000" cy="560754"/>
          </a:xfrm>
          <a:prstGeom prst="rect">
            <a:avLst/>
          </a:prstGeom>
        </p:spPr>
      </p:pic>
      <p:pic>
        <p:nvPicPr>
          <p:cNvPr id="22" name="logo_hvit" hidden="1">
            <a:extLst>
              <a:ext uri="{FF2B5EF4-FFF2-40B4-BE49-F238E27FC236}">
                <a16:creationId xmlns:a16="http://schemas.microsoft.com/office/drawing/2014/main" id="{A25C3310-7C64-F10C-889A-577C4C6C70F0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9339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 (2 grafer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9DA6E-D112-4CF2-9E61-D2803FFC55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0"/>
            <a:ext cx="3343275" cy="6858000"/>
          </a:xfrm>
          <a:solidFill>
            <a:srgbClr val="EFEFEF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2821912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4281260" y="1036637"/>
            <a:ext cx="3343276" cy="5364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8" name="Chart Placeholder 5">
            <a:extLst>
              <a:ext uri="{FF2B5EF4-FFF2-40B4-BE49-F238E27FC236}">
                <a16:creationId xmlns:a16="http://schemas.microsoft.com/office/drawing/2014/main" id="{31484953-D908-4216-A821-FFF36AE77225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8418290" y="1036637"/>
            <a:ext cx="3343276" cy="5364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AF830C0-8048-4660-85F5-880345F1B2E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1260" y="445295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8373671-1454-4F00-862D-A2611E85FF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18290" y="445295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033B6724-4542-4E0D-A677-8E0AEC06B5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7" y="6245941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999124DB-8F02-409F-A729-E11030C3457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CD623913-286B-465D-A7E5-0DF3533D4623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CD92FFB2-664D-487F-A82D-D46DC13C7D0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A6BE133F-DD99-468C-8D55-748939F0F9C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AAE24BC9-EA40-4A42-B35A-A5F8924D3B2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2A25BEF6-DC40-4AF2-B91B-D50EB057310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171BDB52-B689-490F-A912-7D7E7080675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6704" y="1191898"/>
            <a:ext cx="2821911" cy="462946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33292F4E-0C23-C047-FE75-B12C8B6D8C0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2667000" cy="560754"/>
          </a:xfrm>
          <a:prstGeom prst="rect">
            <a:avLst/>
          </a:prstGeom>
        </p:spPr>
      </p:pic>
      <p:pic>
        <p:nvPicPr>
          <p:cNvPr id="24" name="logo_hvit" hidden="1">
            <a:extLst>
              <a:ext uri="{FF2B5EF4-FFF2-40B4-BE49-F238E27FC236}">
                <a16:creationId xmlns:a16="http://schemas.microsoft.com/office/drawing/2014/main" id="{B66224CD-5AD5-AFE3-DE98-6855FE9576E0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8943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 (4 grafer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9DA6E-D112-4CF2-9E61-D2803FFC55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0"/>
            <a:ext cx="3343275" cy="6858000"/>
          </a:xfrm>
          <a:solidFill>
            <a:srgbClr val="EFEFEF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2821912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4281260" y="851285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8" name="Chart Placeholder 5">
            <a:extLst>
              <a:ext uri="{FF2B5EF4-FFF2-40B4-BE49-F238E27FC236}">
                <a16:creationId xmlns:a16="http://schemas.microsoft.com/office/drawing/2014/main" id="{31484953-D908-4216-A821-FFF36AE77225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8418290" y="851285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AF830C0-8048-4660-85F5-880345F1B2E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1260" y="445295"/>
            <a:ext cx="3343275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8373671-1454-4F00-862D-A2611E85FF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18290" y="445295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8" name="Chart Placeholder 5">
            <a:extLst>
              <a:ext uri="{FF2B5EF4-FFF2-40B4-BE49-F238E27FC236}">
                <a16:creationId xmlns:a16="http://schemas.microsoft.com/office/drawing/2014/main" id="{67E0BF1E-FA82-4B7F-B923-BFDB61725C32}"/>
              </a:ext>
            </a:extLst>
          </p:cNvPr>
          <p:cNvSpPr>
            <a:spLocks noGrp="1"/>
          </p:cNvSpPr>
          <p:nvPr>
            <p:ph type="chart" sz="quarter" idx="36"/>
          </p:nvPr>
        </p:nvSpPr>
        <p:spPr>
          <a:xfrm>
            <a:off x="4281260" y="4113242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9" name="Chart Placeholder 5">
            <a:extLst>
              <a:ext uri="{FF2B5EF4-FFF2-40B4-BE49-F238E27FC236}">
                <a16:creationId xmlns:a16="http://schemas.microsoft.com/office/drawing/2014/main" id="{CA985493-FA53-488E-8517-92FC07AF2B01}"/>
              </a:ext>
            </a:extLst>
          </p:cNvPr>
          <p:cNvSpPr>
            <a:spLocks noGrp="1"/>
          </p:cNvSpPr>
          <p:nvPr>
            <p:ph type="chart" sz="quarter" idx="37"/>
          </p:nvPr>
        </p:nvSpPr>
        <p:spPr>
          <a:xfrm>
            <a:off x="8418290" y="4113242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BD22E512-6705-4C14-9589-C2DACC2CD1B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1260" y="3707252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1FD5F680-AEB8-4E1E-9514-7E53E039944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18290" y="3707252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D8FA83E3-5DF6-44FC-9818-DBD9AC1388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7" y="6245941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addin_colorlist" hidden="1">
            <a:extLst>
              <a:ext uri="{FF2B5EF4-FFF2-40B4-BE49-F238E27FC236}">
                <a16:creationId xmlns:a16="http://schemas.microsoft.com/office/drawing/2014/main" id="{026061BC-914B-4BA8-A2C4-CC0745516D4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7639C6D-46FA-4FA7-8EC0-21DEE11DB27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5" name="addin_background" hidden="1">
            <a:extLst>
              <a:ext uri="{FF2B5EF4-FFF2-40B4-BE49-F238E27FC236}">
                <a16:creationId xmlns:a16="http://schemas.microsoft.com/office/drawing/2014/main" id="{71D860E0-3EB4-4985-8611-DBB86048C27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040054D-988B-4548-8071-431E56D48E1E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3988038F-D2A8-423E-9DE1-C599EB065BA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7291C49E-6F93-4D1D-98F0-6D074E39ECF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2F7D3B47-0043-4A21-A582-E9A771DC02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6704" y="1191898"/>
            <a:ext cx="2821911" cy="462946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C43150E0-B36B-82F7-ED1A-72769B137082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2667000" cy="560754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FC21A55F-BDBC-2558-9B93-F76DB22B6EC8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61314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vikling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8A1C56D-C7B2-4042-9CD8-AA509F79511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5902DB0-F9C9-4208-AC04-F65B14A925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73134" y="2359798"/>
            <a:ext cx="4533908" cy="2354491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17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r>
              <a:rPr lang="en-US" dirty="0"/>
              <a:t>00</a:t>
            </a:r>
          </a:p>
        </p:txBody>
      </p:sp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4012ADA4-FF9C-4A9A-9D47-9F7DF4E17A6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707042" y="2359797"/>
            <a:ext cx="3978593" cy="184999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sz="1600"/>
              <a:t>Klikk for å redigere tekststiler i malen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BFCD7BF-3AB7-4429-8BC8-F8BC42C2A57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95E40C5A-6129-49F4-B4D2-D18CFE88C1D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6831A200-49F5-4645-BB55-B21422B4DD4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29F23ED3-8031-44D0-AF88-1C89758EB5A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696CEC71-F65A-43A1-962D-596ECDCFEFF5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19D9EC0F-9854-4585-BE93-674C85878F1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72B513AD-BD82-49A5-8EDC-A9F4BDC63D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DefLogoHvit" hidden="1">
            <a:extLst>
              <a:ext uri="{FF2B5EF4-FFF2-40B4-BE49-F238E27FC236}">
                <a16:creationId xmlns:a16="http://schemas.microsoft.com/office/drawing/2014/main" id="{0BB6941E-7A67-4E07-AB3F-FA53A5938919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651EAD75-1B35-77E4-4695-F42A9EA79B0B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2" name="logo_hvit" hidden="1">
            <a:extLst>
              <a:ext uri="{FF2B5EF4-FFF2-40B4-BE49-F238E27FC236}">
                <a16:creationId xmlns:a16="http://schemas.microsoft.com/office/drawing/2014/main" id="{51E6B51B-1F8D-91A5-D930-DD7DDBBB4F9E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5762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ide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 hidden="1">
            <a:extLst>
              <a:ext uri="{FF2B5EF4-FFF2-40B4-BE49-F238E27FC236}">
                <a16:creationId xmlns:a16="http://schemas.microsoft.com/office/drawing/2014/main" id="{53E799FF-A7CB-461E-B019-32619A79E4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52511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26E3C71-6252-416E-BB06-9B02EAF49F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497807" y="4320383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497807" y="3894454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52B160-86DA-4012-954C-C6953026A9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15913" y="909186"/>
            <a:ext cx="1152511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E6A5C2C-D005-4D6A-B53B-999FAD2B2F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497807" y="2254021"/>
            <a:ext cx="1440180" cy="1439299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589B68B-6FC3-4A8E-A6B4-15BE438ABF2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981927" y="4320383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A88F8B5-8E03-43A4-B94C-726522E8C2B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81927" y="3894454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544BEA80-896A-4A78-A6E8-C08CC90D84B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81927" y="2254021"/>
            <a:ext cx="1440180" cy="1439299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3EFC636C-45F7-4D80-913A-E189DBD4B00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612058" y="4315621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2A3850B-57F8-4746-ABC4-07EFFB9552E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12058" y="3889692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BC51C625-F779-4CC0-B43C-69D91D5B9FB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12058" y="2249259"/>
            <a:ext cx="1440180" cy="1439299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F6F1C91C-5EFA-46E9-8499-1ACC2BBC19E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54053" y="4325288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38AB3A0E-5127-4287-9954-3E23BA96F27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154053" y="3899359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D4A5529C-9EF2-4C35-9351-C26E0DDC606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154053" y="2258926"/>
            <a:ext cx="1440180" cy="1439299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68C6EA9-B739-4680-AD52-7A2BDE15538B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1497807" y="2254021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KON SETTES INN HER</a:t>
            </a:r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B06652B2-4AB0-45B6-BED4-F119744C0781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3981927" y="2254021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32D361F0-26FD-42CA-ABD7-D4A1E734FBA4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9154053" y="2258926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r>
              <a:rPr lang="en-US" dirty="0"/>
              <a:t> </a:t>
            </a:r>
          </a:p>
        </p:txBody>
      </p:sp>
      <p:sp>
        <p:nvSpPr>
          <p:cNvPr id="30" name="Content Placeholder 8">
            <a:extLst>
              <a:ext uri="{FF2B5EF4-FFF2-40B4-BE49-F238E27FC236}">
                <a16:creationId xmlns:a16="http://schemas.microsoft.com/office/drawing/2014/main" id="{B832E9B8-520B-4E6D-956D-A9A1F8270D28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612058" y="2249259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D004951B-E132-4CB5-BE08-014909997C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4" name="addin_colorlist" hidden="1">
            <a:extLst>
              <a:ext uri="{FF2B5EF4-FFF2-40B4-BE49-F238E27FC236}">
                <a16:creationId xmlns:a16="http://schemas.microsoft.com/office/drawing/2014/main" id="{6E501A22-635E-4E52-A781-CEFE3AAF9E1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ikon1, ikon2, ikon3, ikon4</a:t>
            </a:r>
          </a:p>
        </p:txBody>
      </p:sp>
      <p:sp>
        <p:nvSpPr>
          <p:cNvPr id="35" name="addin_colorbox" hidden="1">
            <a:extLst>
              <a:ext uri="{FF2B5EF4-FFF2-40B4-BE49-F238E27FC236}">
                <a16:creationId xmlns:a16="http://schemas.microsoft.com/office/drawing/2014/main" id="{C152D6E7-5ABD-462F-B484-D3C5A98E30C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6" name="addin_background" hidden="1">
            <a:extLst>
              <a:ext uri="{FF2B5EF4-FFF2-40B4-BE49-F238E27FC236}">
                <a16:creationId xmlns:a16="http://schemas.microsoft.com/office/drawing/2014/main" id="{E380263D-5A13-44BA-8F84-CE8D468BF3F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37" name="addin_logo" hidden="1">
            <a:extLst>
              <a:ext uri="{FF2B5EF4-FFF2-40B4-BE49-F238E27FC236}">
                <a16:creationId xmlns:a16="http://schemas.microsoft.com/office/drawing/2014/main" id="{A47615AF-2F92-48F5-9427-DB7CDFC14D1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8" name="addin_title" hidden="1">
            <a:extLst>
              <a:ext uri="{FF2B5EF4-FFF2-40B4-BE49-F238E27FC236}">
                <a16:creationId xmlns:a16="http://schemas.microsoft.com/office/drawing/2014/main" id="{DE8F631C-E719-4912-BF9F-B8C23CA2B3F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9" name="addin_text" hidden="1">
            <a:extLst>
              <a:ext uri="{FF2B5EF4-FFF2-40B4-BE49-F238E27FC236}">
                <a16:creationId xmlns:a16="http://schemas.microsoft.com/office/drawing/2014/main" id="{7FC205FB-165B-4339-88D1-EF192C650B2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15" name="logo_blaa" hidden="1">
            <a:extLst>
              <a:ext uri="{FF2B5EF4-FFF2-40B4-BE49-F238E27FC236}">
                <a16:creationId xmlns:a16="http://schemas.microsoft.com/office/drawing/2014/main" id="{3BEB70C1-1600-FD32-123D-5FF898BF615C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31" name="logo_hvit" hidden="1">
            <a:extLst>
              <a:ext uri="{FF2B5EF4-FFF2-40B4-BE49-F238E27FC236}">
                <a16:creationId xmlns:a16="http://schemas.microsoft.com/office/drawing/2014/main" id="{B2477AB6-58F4-42FD-6137-7CD2A8E6F981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3066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Høyre, sirkel)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B580BDA-A445-4961-A52C-2EBE49B4CCC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6888" y="0"/>
            <a:ext cx="6245112" cy="5842000"/>
          </a:xfrm>
          <a:custGeom>
            <a:avLst/>
            <a:gdLst>
              <a:gd name="connsiteX0" fmla="*/ 662015 w 6245112"/>
              <a:gd name="connsiteY0" fmla="*/ 0 h 5842000"/>
              <a:gd name="connsiteX1" fmla="*/ 6245112 w 6245112"/>
              <a:gd name="connsiteY1" fmla="*/ 0 h 5842000"/>
              <a:gd name="connsiteX2" fmla="*/ 6245112 w 6245112"/>
              <a:gd name="connsiteY2" fmla="*/ 4800066 h 5842000"/>
              <a:gd name="connsiteX3" fmla="*/ 6034914 w 6245112"/>
              <a:gd name="connsiteY3" fmla="*/ 4992696 h 5842000"/>
              <a:gd name="connsiteX4" fmla="*/ 3688613 w 6245112"/>
              <a:gd name="connsiteY4" fmla="*/ 5842000 h 5842000"/>
              <a:gd name="connsiteX5" fmla="*/ 0 w 6245112"/>
              <a:gd name="connsiteY5" fmla="*/ 2122714 h 5842000"/>
              <a:gd name="connsiteX6" fmla="*/ 629957 w 6245112"/>
              <a:gd name="connsiteY6" fmla="*/ 43226 h 58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5112" h="5842000">
                <a:moveTo>
                  <a:pt x="662015" y="0"/>
                </a:moveTo>
                <a:lnTo>
                  <a:pt x="6245112" y="0"/>
                </a:lnTo>
                <a:lnTo>
                  <a:pt x="6245112" y="4800066"/>
                </a:lnTo>
                <a:lnTo>
                  <a:pt x="6034914" y="4992696"/>
                </a:lnTo>
                <a:cubicBezTo>
                  <a:pt x="5397304" y="5523274"/>
                  <a:pt x="4579873" y="5842000"/>
                  <a:pt x="3688613" y="5842000"/>
                </a:cubicBezTo>
                <a:cubicBezTo>
                  <a:pt x="1651448" y="5842000"/>
                  <a:pt x="0" y="4176819"/>
                  <a:pt x="0" y="2122714"/>
                </a:cubicBezTo>
                <a:cubicBezTo>
                  <a:pt x="0" y="1352425"/>
                  <a:pt x="232235" y="636828"/>
                  <a:pt x="629957" y="43226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1F008BBA-689F-42DB-913E-0747FEF2C9A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F06E2D9-F070-4F9C-A1C6-8E39C20198F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background" hidden="1">
            <a:extLst>
              <a:ext uri="{FF2B5EF4-FFF2-40B4-BE49-F238E27FC236}">
                <a16:creationId xmlns:a16="http://schemas.microsoft.com/office/drawing/2014/main" id="{20F64EEC-DBFB-4FDA-B7D3-2BFC8275B17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B4FB7D30-A58A-4C12-BA63-D7BD6F30D44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4B4ECA20-A19D-4A30-BCBE-5B85C7B9069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E0A27905-A053-4BA2-B313-CC93DDB1A4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F09D0317-D37C-4CB3-ACEF-438C4B052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62AE36E-9C13-4C22-9D9E-82AC72D8272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2336466F-2103-425B-87BE-18F3E57B9F81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2" name="logo_blaa" hidden="1">
            <a:extLst>
              <a:ext uri="{FF2B5EF4-FFF2-40B4-BE49-F238E27FC236}">
                <a16:creationId xmlns:a16="http://schemas.microsoft.com/office/drawing/2014/main" id="{EF48DD2E-E22E-0360-BDEC-F8B3BD71BB0C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2667000" cy="560754"/>
          </a:xfrm>
          <a:prstGeom prst="rect">
            <a:avLst/>
          </a:prstGeom>
        </p:spPr>
      </p:pic>
      <p:pic>
        <p:nvPicPr>
          <p:cNvPr id="27" name="logo_hvit" hidden="1">
            <a:extLst>
              <a:ext uri="{FF2B5EF4-FFF2-40B4-BE49-F238E27FC236}">
                <a16:creationId xmlns:a16="http://schemas.microsoft.com/office/drawing/2014/main" id="{ED8EE56B-3310-91B0-11AB-E4305643608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57890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ide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F73BE435-F82E-401E-BC8F-786DF65E161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542257" y="2161952"/>
            <a:ext cx="1440180" cy="1439299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3875DC22-FC29-439F-BE1C-C4CEEE74EFF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450495" y="2161952"/>
            <a:ext cx="1440180" cy="1439299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59238488-45B2-4EF9-9DCF-75A9D082AC0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367444" y="2161952"/>
            <a:ext cx="1440180" cy="1439299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12A2793-E8C0-4A44-AD6E-511C67CD47B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280970" y="2161952"/>
            <a:ext cx="1440180" cy="1439299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2EC5F670-0FCC-48B7-9C97-8A0ED134BF4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192632" y="2161952"/>
            <a:ext cx="1440180" cy="1439299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52511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26E3C71-6252-416E-BB06-9B02EAF49F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42258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42258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52B160-86DA-4012-954C-C6953026A9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15913" y="909186"/>
            <a:ext cx="1152511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589B68B-6FC3-4A8E-A6B4-15BE438ABF2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450495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A88F8B5-8E03-43A4-B94C-726522E8C2B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50495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3EFC636C-45F7-4D80-913A-E189DBD4B00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367444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2A3850B-57F8-4746-ABC4-07EFFB9552E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367444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F6F1C91C-5EFA-46E9-8499-1ACC2BBC19E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280970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38AB3A0E-5127-4287-9954-3E23BA96F27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80970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68C6EA9-B739-4680-AD52-7A2BDE15538B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1542257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B06652B2-4AB0-45B6-BED4-F119744C0781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3450495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32D361F0-26FD-42CA-ABD7-D4A1E734FBA4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7280970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0" name="Content Placeholder 8">
            <a:extLst>
              <a:ext uri="{FF2B5EF4-FFF2-40B4-BE49-F238E27FC236}">
                <a16:creationId xmlns:a16="http://schemas.microsoft.com/office/drawing/2014/main" id="{B832E9B8-520B-4E6D-956D-A9A1F8270D28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5367444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4" name="Content Placeholder 8">
            <a:extLst>
              <a:ext uri="{FF2B5EF4-FFF2-40B4-BE49-F238E27FC236}">
                <a16:creationId xmlns:a16="http://schemas.microsoft.com/office/drawing/2014/main" id="{3F540DE3-195D-4E6B-A7AF-31B5DF60F736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9192632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2F891B1A-3BF6-4C12-A12A-239C8FCE033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192632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4D5D28B2-0704-4803-A645-557CB31EE3D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92632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0EFE922-5D7E-4DE7-BDD3-B34758502BD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8" name="addin_colorlist" hidden="1">
            <a:extLst>
              <a:ext uri="{FF2B5EF4-FFF2-40B4-BE49-F238E27FC236}">
                <a16:creationId xmlns:a16="http://schemas.microsoft.com/office/drawing/2014/main" id="{075E0F79-D570-480C-8DF3-E58C21E1F61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ikon1, ikon2, ikon3, ikon4</a:t>
            </a:r>
          </a:p>
        </p:txBody>
      </p:sp>
      <p:sp>
        <p:nvSpPr>
          <p:cNvPr id="39" name="addin_colorbox" hidden="1">
            <a:extLst>
              <a:ext uri="{FF2B5EF4-FFF2-40B4-BE49-F238E27FC236}">
                <a16:creationId xmlns:a16="http://schemas.microsoft.com/office/drawing/2014/main" id="{67B923A1-1928-48F4-99F0-2BC992E26D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40" name="addin_background" hidden="1">
            <a:extLst>
              <a:ext uri="{FF2B5EF4-FFF2-40B4-BE49-F238E27FC236}">
                <a16:creationId xmlns:a16="http://schemas.microsoft.com/office/drawing/2014/main" id="{C8275DA9-4738-44F4-80E0-B95FD7F7669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41" name="addin_logo" hidden="1">
            <a:extLst>
              <a:ext uri="{FF2B5EF4-FFF2-40B4-BE49-F238E27FC236}">
                <a16:creationId xmlns:a16="http://schemas.microsoft.com/office/drawing/2014/main" id="{50E7F9FC-E5AD-43C9-9814-D45E18A0765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42" name="addin_title" hidden="1">
            <a:extLst>
              <a:ext uri="{FF2B5EF4-FFF2-40B4-BE49-F238E27FC236}">
                <a16:creationId xmlns:a16="http://schemas.microsoft.com/office/drawing/2014/main" id="{4E85F3F3-61FE-46B8-9DCC-8DF708F7EF3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43" name="addin_text" hidden="1">
            <a:extLst>
              <a:ext uri="{FF2B5EF4-FFF2-40B4-BE49-F238E27FC236}">
                <a16:creationId xmlns:a16="http://schemas.microsoft.com/office/drawing/2014/main" id="{CCB6333A-8809-4730-B12B-15E8A5FE960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1DECC41D-58AF-FF42-2866-35DA14045C9E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67C829DE-DE19-BEB1-2DA0-47996ADC7ECF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7770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ide (Med tekst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7C3D8B82-1186-4182-B0A5-AF811E03AAA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238625" y="3795682"/>
            <a:ext cx="895350" cy="872978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80279050-A64A-4B83-A905-1B3FC387D1B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38625" y="1771827"/>
            <a:ext cx="895350" cy="872978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0D0A5540-DE13-4650-A761-05A3821451B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866900" y="3795682"/>
            <a:ext cx="895350" cy="872978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913F1418-8863-4CCE-A609-28E1F569F71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866900" y="1771827"/>
            <a:ext cx="895350" cy="872978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94062DE1-5A03-401B-828E-C09837CBE7B2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639050" y="0"/>
            <a:ext cx="4552950" cy="6858000"/>
          </a:xfrm>
          <a:solidFill>
            <a:srgbClr val="005AA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6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6579396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26E3C71-6252-416E-BB06-9B02EAF49F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42257" y="3286065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42257" y="2809079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52B160-86DA-4012-954C-C6953026A9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15913" y="909186"/>
            <a:ext cx="6579396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3FDEC93C-B0F9-43F6-9A2B-43486128B15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913982" y="3286065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BD64AEBB-F5C6-49BB-A8BD-743146A4CBF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913982" y="2809079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52CFF93E-569D-485C-9953-C19AC5E3C45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542257" y="5309920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C8A6D454-40E4-4EA2-B644-EDCFBBCB62B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42257" y="4832934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1A3C0572-03EF-4F24-A0B1-253B71A2C1F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913982" y="5309920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04A24DB8-42A3-44EC-A86F-652A8538749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913982" y="4832934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0A96C8D-EA7E-4A1A-9503-66E8E35B8CEC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8369300" y="1098550"/>
            <a:ext cx="3608274" cy="393700"/>
          </a:xfrm>
        </p:spPr>
        <p:txBody>
          <a:bodyPr anchor="b"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BDC22F2-8CFA-49E4-A541-56C2672DA8B9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8369300" y="1605457"/>
            <a:ext cx="3608274" cy="3937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25147704-1371-462B-8BE0-901BF4C6B9A5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8369300" y="2882345"/>
            <a:ext cx="3608274" cy="393700"/>
          </a:xfrm>
        </p:spPr>
        <p:txBody>
          <a:bodyPr anchor="b"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8" name="Text Placeholder 15">
            <a:extLst>
              <a:ext uri="{FF2B5EF4-FFF2-40B4-BE49-F238E27FC236}">
                <a16:creationId xmlns:a16="http://schemas.microsoft.com/office/drawing/2014/main" id="{1CCA3D76-ECCA-4308-8AF0-909FC8B26F8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369300" y="3389252"/>
            <a:ext cx="3608274" cy="3937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60A7792F-9090-4A87-8964-DF22B9449CE4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8369300" y="4922063"/>
            <a:ext cx="3608274" cy="393700"/>
          </a:xfrm>
        </p:spPr>
        <p:txBody>
          <a:bodyPr anchor="b"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0" name="Text Placeholder 15">
            <a:extLst>
              <a:ext uri="{FF2B5EF4-FFF2-40B4-BE49-F238E27FC236}">
                <a16:creationId xmlns:a16="http://schemas.microsoft.com/office/drawing/2014/main" id="{A80D731A-25DF-478D-9DD2-54A9511D84F4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8369300" y="5428970"/>
            <a:ext cx="3608274" cy="3937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9D6001A3-F024-4A8E-B5CF-D1D78B3F4E4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866900" y="1771827"/>
            <a:ext cx="895350" cy="872978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1" name="Content Placeholder 8">
            <a:extLst>
              <a:ext uri="{FF2B5EF4-FFF2-40B4-BE49-F238E27FC236}">
                <a16:creationId xmlns:a16="http://schemas.microsoft.com/office/drawing/2014/main" id="{FB244F5A-705A-48E8-927E-F279AC5F5FEC}"/>
              </a:ext>
            </a:extLst>
          </p:cNvPr>
          <p:cNvSpPr>
            <a:spLocks noGrp="1"/>
          </p:cNvSpPr>
          <p:nvPr>
            <p:ph sz="quarter" idx="59" hasCustomPrompt="1"/>
          </p:nvPr>
        </p:nvSpPr>
        <p:spPr>
          <a:xfrm>
            <a:off x="1866900" y="1771827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33" name="Content Placeholder 8">
            <a:extLst>
              <a:ext uri="{FF2B5EF4-FFF2-40B4-BE49-F238E27FC236}">
                <a16:creationId xmlns:a16="http://schemas.microsoft.com/office/drawing/2014/main" id="{3A7F4820-EF59-4DD5-A97C-2CBCBA008F35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4238625" y="1771827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F98FC926-9B84-46D8-89CC-E751E9D26AD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66900" y="3795682"/>
            <a:ext cx="895350" cy="872978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3" name="Content Placeholder 8">
            <a:extLst>
              <a:ext uri="{FF2B5EF4-FFF2-40B4-BE49-F238E27FC236}">
                <a16:creationId xmlns:a16="http://schemas.microsoft.com/office/drawing/2014/main" id="{EE315A61-2E68-4EB9-B2F9-BDF0F31BDE53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866900" y="3795682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1FAD39D5-056D-4EB9-8E8D-ACED66A3A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38625" y="3795682"/>
            <a:ext cx="895350" cy="872978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5" name="Content Placeholder 8">
            <a:extLst>
              <a:ext uri="{FF2B5EF4-FFF2-40B4-BE49-F238E27FC236}">
                <a16:creationId xmlns:a16="http://schemas.microsoft.com/office/drawing/2014/main" id="{769CDA1B-0410-4357-A97C-A7947A450081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4238625" y="3795682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41910E6F-A89F-470C-B8C5-2CA101D8ECC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2" name="addin_colorlist" hidden="1">
            <a:extLst>
              <a:ext uri="{FF2B5EF4-FFF2-40B4-BE49-F238E27FC236}">
                <a16:creationId xmlns:a16="http://schemas.microsoft.com/office/drawing/2014/main" id="{2530AF2D-9963-4853-BC15-8D5711DC97A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ikon1, ikon2, ikon3, ikon4</a:t>
            </a:r>
          </a:p>
        </p:txBody>
      </p:sp>
      <p:sp>
        <p:nvSpPr>
          <p:cNvPr id="45" name="addin_colorbox" hidden="1">
            <a:extLst>
              <a:ext uri="{FF2B5EF4-FFF2-40B4-BE49-F238E27FC236}">
                <a16:creationId xmlns:a16="http://schemas.microsoft.com/office/drawing/2014/main" id="{4647CBF0-028B-48BC-8377-8664458D9C7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46" name="addin_background" hidden="1">
            <a:extLst>
              <a:ext uri="{FF2B5EF4-FFF2-40B4-BE49-F238E27FC236}">
                <a16:creationId xmlns:a16="http://schemas.microsoft.com/office/drawing/2014/main" id="{A4BBCABF-1EAD-4EE4-9436-DCF1D624554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56" name="addin_logo" hidden="1">
            <a:extLst>
              <a:ext uri="{FF2B5EF4-FFF2-40B4-BE49-F238E27FC236}">
                <a16:creationId xmlns:a16="http://schemas.microsoft.com/office/drawing/2014/main" id="{53D5C84E-F74F-4DE1-B8BD-09B906AD981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57" name="addin_title" hidden="1">
            <a:extLst>
              <a:ext uri="{FF2B5EF4-FFF2-40B4-BE49-F238E27FC236}">
                <a16:creationId xmlns:a16="http://schemas.microsoft.com/office/drawing/2014/main" id="{6A4887B0-59E8-4459-A232-FBE56D3489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58" name="addin_text" hidden="1">
            <a:extLst>
              <a:ext uri="{FF2B5EF4-FFF2-40B4-BE49-F238E27FC236}">
                <a16:creationId xmlns:a16="http://schemas.microsoft.com/office/drawing/2014/main" id="{DFF3A27C-DEC0-4C13-A024-9CDA6FA62D2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59" name="DefLogoHvit" hidden="1">
            <a:extLst>
              <a:ext uri="{FF2B5EF4-FFF2-40B4-BE49-F238E27FC236}">
                <a16:creationId xmlns:a16="http://schemas.microsoft.com/office/drawing/2014/main" id="{E242F738-11B7-4699-ADA7-AD2F8082B21C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D55B4F7D-105F-568D-A60E-9A946F18166D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7" name="logo_hvit" hidden="1">
            <a:extLst>
              <a:ext uri="{FF2B5EF4-FFF2-40B4-BE49-F238E27FC236}">
                <a16:creationId xmlns:a16="http://schemas.microsoft.com/office/drawing/2014/main" id="{AFE8F803-4110-6D15-6E2C-B2912BF652E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77674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CBE4C0-AD7E-4767-A37B-3C4FCC55BF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09692" y="1238672"/>
            <a:ext cx="5242508" cy="5242256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242492" y="566738"/>
            <a:ext cx="2775947" cy="5931262"/>
          </a:xfrm>
          <a:custGeom>
            <a:avLst/>
            <a:gdLst>
              <a:gd name="connsiteX0" fmla="*/ 0 w 2775947"/>
              <a:gd name="connsiteY0" fmla="*/ 0 h 5931262"/>
              <a:gd name="connsiteX1" fmla="*/ 2775947 w 2775947"/>
              <a:gd name="connsiteY1" fmla="*/ 0 h 5931262"/>
              <a:gd name="connsiteX2" fmla="*/ 2775947 w 2775947"/>
              <a:gd name="connsiteY2" fmla="*/ 5516988 h 5931262"/>
              <a:gd name="connsiteX3" fmla="*/ 2725403 w 2775947"/>
              <a:gd name="connsiteY3" fmla="*/ 5551158 h 5931262"/>
              <a:gd name="connsiteX4" fmla="*/ 1388454 w 2775947"/>
              <a:gd name="connsiteY4" fmla="*/ 5931262 h 5931262"/>
              <a:gd name="connsiteX5" fmla="*/ 51506 w 2775947"/>
              <a:gd name="connsiteY5" fmla="*/ 5551158 h 5931262"/>
              <a:gd name="connsiteX6" fmla="*/ 0 w 2775947"/>
              <a:gd name="connsiteY6" fmla="*/ 5516338 h 593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75947" h="5931262">
                <a:moveTo>
                  <a:pt x="0" y="0"/>
                </a:moveTo>
                <a:lnTo>
                  <a:pt x="2775947" y="0"/>
                </a:lnTo>
                <a:lnTo>
                  <a:pt x="2775947" y="5516988"/>
                </a:lnTo>
                <a:lnTo>
                  <a:pt x="2725403" y="5551158"/>
                </a:lnTo>
                <a:cubicBezTo>
                  <a:pt x="2330248" y="5793781"/>
                  <a:pt x="1872419" y="5931262"/>
                  <a:pt x="1388454" y="5931262"/>
                </a:cubicBezTo>
                <a:cubicBezTo>
                  <a:pt x="904490" y="5931262"/>
                  <a:pt x="446660" y="5793781"/>
                  <a:pt x="51506" y="5551158"/>
                </a:cubicBezTo>
                <a:lnTo>
                  <a:pt x="0" y="5516338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spcBef>
                <a:spcPts val="1800"/>
              </a:spcBef>
              <a:buNone/>
              <a:defRPr sz="440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C83D3ED5-C123-48D8-BF8E-0476E8596C82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Title 13">
            <a:extLst>
              <a:ext uri="{FF2B5EF4-FFF2-40B4-BE49-F238E27FC236}">
                <a16:creationId xmlns:a16="http://schemas.microsoft.com/office/drawing/2014/main" id="{02A992B5-F485-45DA-B617-5194C3E6D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206151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4" name="Text Placeholder 27">
            <a:extLst>
              <a:ext uri="{FF2B5EF4-FFF2-40B4-BE49-F238E27FC236}">
                <a16:creationId xmlns:a16="http://schemas.microsoft.com/office/drawing/2014/main" id="{28E5F674-4C79-44C3-8673-EC472B01890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913" y="2819152"/>
            <a:ext cx="4695079" cy="268763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FFF9BE07-6D50-4E95-ABFB-67A93A07F5A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42044" y="5886736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18F87034-0D47-8F1F-CEE8-C1C8E205768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93199" y="391996"/>
            <a:ext cx="3269209" cy="6088932"/>
          </a:xfrm>
          <a:custGeom>
            <a:avLst/>
            <a:gdLst>
              <a:gd name="connsiteX0" fmla="*/ 0 w 3269209"/>
              <a:gd name="connsiteY0" fmla="*/ 0 h 6088932"/>
              <a:gd name="connsiteX1" fmla="*/ 3269209 w 3269209"/>
              <a:gd name="connsiteY1" fmla="*/ 0 h 6088932"/>
              <a:gd name="connsiteX2" fmla="*/ 3269209 w 3269209"/>
              <a:gd name="connsiteY2" fmla="*/ 5517061 h 6088932"/>
              <a:gd name="connsiteX3" fmla="*/ 3206085 w 3269209"/>
              <a:gd name="connsiteY3" fmla="*/ 5568207 h 6088932"/>
              <a:gd name="connsiteX4" fmla="*/ 1637747 w 3269209"/>
              <a:gd name="connsiteY4" fmla="*/ 6088932 h 6088932"/>
              <a:gd name="connsiteX5" fmla="*/ 69409 w 3269209"/>
              <a:gd name="connsiteY5" fmla="*/ 5568207 h 6088932"/>
              <a:gd name="connsiteX6" fmla="*/ 0 w 3269209"/>
              <a:gd name="connsiteY6" fmla="*/ 5511969 h 6088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69209" h="6088932">
                <a:moveTo>
                  <a:pt x="0" y="0"/>
                </a:moveTo>
                <a:lnTo>
                  <a:pt x="3269209" y="0"/>
                </a:lnTo>
                <a:lnTo>
                  <a:pt x="3269209" y="5517061"/>
                </a:lnTo>
                <a:lnTo>
                  <a:pt x="3206085" y="5568207"/>
                </a:lnTo>
                <a:cubicBezTo>
                  <a:pt x="2768748" y="5895256"/>
                  <a:pt x="2225867" y="6088932"/>
                  <a:pt x="1637747" y="6088932"/>
                </a:cubicBezTo>
                <a:cubicBezTo>
                  <a:pt x="1049628" y="6088932"/>
                  <a:pt x="506746" y="5895256"/>
                  <a:pt x="69409" y="5568207"/>
                </a:cubicBezTo>
                <a:lnTo>
                  <a:pt x="0" y="5511969"/>
                </a:lnTo>
                <a:close/>
              </a:path>
            </a:pathLst>
          </a:cu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-5460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3461807D-F43B-C4D8-2B8D-0AC9B01048F2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43" y="5886736"/>
            <a:ext cx="2667000" cy="560754"/>
          </a:xfrm>
          <a:prstGeom prst="rect">
            <a:avLst/>
          </a:prstGeom>
        </p:spPr>
      </p:pic>
      <p:pic>
        <p:nvPicPr>
          <p:cNvPr id="13" name="logo_hvit" hidden="1">
            <a:extLst>
              <a:ext uri="{FF2B5EF4-FFF2-40B4-BE49-F238E27FC236}">
                <a16:creationId xmlns:a16="http://schemas.microsoft.com/office/drawing/2014/main" id="{D986072B-9260-7C8C-AA7B-30489AE6280E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43" y="5886736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9086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side (Neste sid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CBE4C0-AD7E-4767-A37B-3C4FCC55BF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08867" y="1283854"/>
            <a:ext cx="5242508" cy="5242256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341667" y="609539"/>
            <a:ext cx="2775947" cy="5931262"/>
          </a:xfrm>
          <a:custGeom>
            <a:avLst/>
            <a:gdLst>
              <a:gd name="connsiteX0" fmla="*/ 0 w 2775947"/>
              <a:gd name="connsiteY0" fmla="*/ 0 h 5931262"/>
              <a:gd name="connsiteX1" fmla="*/ 2775947 w 2775947"/>
              <a:gd name="connsiteY1" fmla="*/ 0 h 5931262"/>
              <a:gd name="connsiteX2" fmla="*/ 2775947 w 2775947"/>
              <a:gd name="connsiteY2" fmla="*/ 5516988 h 5931262"/>
              <a:gd name="connsiteX3" fmla="*/ 2725403 w 2775947"/>
              <a:gd name="connsiteY3" fmla="*/ 5551158 h 5931262"/>
              <a:gd name="connsiteX4" fmla="*/ 1388454 w 2775947"/>
              <a:gd name="connsiteY4" fmla="*/ 5931262 h 5931262"/>
              <a:gd name="connsiteX5" fmla="*/ 51506 w 2775947"/>
              <a:gd name="connsiteY5" fmla="*/ 5551158 h 5931262"/>
              <a:gd name="connsiteX6" fmla="*/ 0 w 2775947"/>
              <a:gd name="connsiteY6" fmla="*/ 5516338 h 593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75947" h="5931262">
                <a:moveTo>
                  <a:pt x="0" y="0"/>
                </a:moveTo>
                <a:lnTo>
                  <a:pt x="2775947" y="0"/>
                </a:lnTo>
                <a:lnTo>
                  <a:pt x="2775947" y="5516988"/>
                </a:lnTo>
                <a:lnTo>
                  <a:pt x="2725403" y="5551158"/>
                </a:lnTo>
                <a:cubicBezTo>
                  <a:pt x="2330248" y="5793781"/>
                  <a:pt x="1872419" y="5931262"/>
                  <a:pt x="1388454" y="5931262"/>
                </a:cubicBezTo>
                <a:cubicBezTo>
                  <a:pt x="904490" y="5931262"/>
                  <a:pt x="446660" y="5793781"/>
                  <a:pt x="51506" y="5551158"/>
                </a:cubicBezTo>
                <a:lnTo>
                  <a:pt x="0" y="5516338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82495" y="2162175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6F47EA2-9057-40E9-8497-026110B55D1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82495" y="3590080"/>
            <a:ext cx="4695079" cy="268763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AF69524D-9849-A312-A21E-D4A681D7DF1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092374" y="434797"/>
            <a:ext cx="3269209" cy="6091313"/>
          </a:xfrm>
          <a:custGeom>
            <a:avLst/>
            <a:gdLst>
              <a:gd name="connsiteX0" fmla="*/ 0 w 3269209"/>
              <a:gd name="connsiteY0" fmla="*/ 0 h 6091313"/>
              <a:gd name="connsiteX1" fmla="*/ 3269209 w 3269209"/>
              <a:gd name="connsiteY1" fmla="*/ 0 h 6091313"/>
              <a:gd name="connsiteX2" fmla="*/ 3269209 w 3269209"/>
              <a:gd name="connsiteY2" fmla="*/ 5515889 h 6091313"/>
              <a:gd name="connsiteX3" fmla="*/ 3155159 w 3269209"/>
              <a:gd name="connsiteY3" fmla="*/ 5607729 h 6091313"/>
              <a:gd name="connsiteX4" fmla="*/ 1637747 w 3269209"/>
              <a:gd name="connsiteY4" fmla="*/ 6091313 h 6091313"/>
              <a:gd name="connsiteX5" fmla="*/ 56823 w 3269209"/>
              <a:gd name="connsiteY5" fmla="*/ 5561117 h 6091313"/>
              <a:gd name="connsiteX6" fmla="*/ 0 w 3269209"/>
              <a:gd name="connsiteY6" fmla="*/ 5513941 h 6091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69209" h="6091313">
                <a:moveTo>
                  <a:pt x="0" y="0"/>
                </a:moveTo>
                <a:lnTo>
                  <a:pt x="3269209" y="0"/>
                </a:lnTo>
                <a:lnTo>
                  <a:pt x="3269209" y="5515889"/>
                </a:lnTo>
                <a:lnTo>
                  <a:pt x="3155159" y="5607729"/>
                </a:lnTo>
                <a:cubicBezTo>
                  <a:pt x="2726922" y="5912248"/>
                  <a:pt x="2203247" y="6091313"/>
                  <a:pt x="1637747" y="6091313"/>
                </a:cubicBezTo>
                <a:cubicBezTo>
                  <a:pt x="1043973" y="6091313"/>
                  <a:pt x="496310" y="5893894"/>
                  <a:pt x="56823" y="5561117"/>
                </a:cubicBezTo>
                <a:lnTo>
                  <a:pt x="0" y="5513941"/>
                </a:lnTo>
                <a:close/>
              </a:path>
            </a:pathLst>
          </a:cu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31" b="-5449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DA2EDFEE-A606-400C-BA08-036FC2EA105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25C65358-318C-E68D-C42D-F710142AB83F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3" name="logo_hvit" hidden="1">
            <a:extLst>
              <a:ext uri="{FF2B5EF4-FFF2-40B4-BE49-F238E27FC236}">
                <a16:creationId xmlns:a16="http://schemas.microsoft.com/office/drawing/2014/main" id="{6DF471B9-3498-435E-2271-F218AB248EE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1477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CBE4C0-AD7E-4767-A37B-3C4FCC55BF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08867" y="1283854"/>
            <a:ext cx="5242508" cy="5242256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82495" y="2162175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6F47EA2-9057-40E9-8497-026110B55D1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82495" y="3590080"/>
            <a:ext cx="4695079" cy="268763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22" name="Circle 2">
            <a:extLst>
              <a:ext uri="{FF2B5EF4-FFF2-40B4-BE49-F238E27FC236}">
                <a16:creationId xmlns:a16="http://schemas.microsoft.com/office/drawing/2014/main" id="{643EB9AF-85D6-452D-8D92-900AFF59F2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235075" y="1303425"/>
            <a:ext cx="5019194" cy="5019194"/>
          </a:xfrm>
          <a:prstGeom prst="rect">
            <a:avLst/>
          </a:prstGeom>
        </p:spPr>
      </p:pic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1127143">
            <a:off x="1557912" y="3841396"/>
            <a:ext cx="4211870" cy="2376818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0D2883-1DBB-4A89-BE2A-3AB6A6803EC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236677" y="3408539"/>
            <a:ext cx="4968936" cy="4090061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A2064675-25F3-2030-5949-109D236189A6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3" name="logo_hvit" hidden="1">
            <a:extLst>
              <a:ext uri="{FF2B5EF4-FFF2-40B4-BE49-F238E27FC236}">
                <a16:creationId xmlns:a16="http://schemas.microsoft.com/office/drawing/2014/main" id="{8510DF5A-2008-2770-9212-61E54A4F342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4812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81 " pathEditMode="relative" ptsTypes="AA">
                                      <p:cBhvr>
                                        <p:cTn id="6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81 " pathEditMode="relative" ptsTypes="AA">
                                      <p:cBhvr>
                                        <p:cTn id="8" dur="2000" fill="hold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81 " pathEditMode="relative" ptsTypes="AA">
                                      <p:cBhvr>
                                        <p:cTn id="10" dur="2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5" grpId="0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0 -0.2581 " pathEditMode="relative" ptsTypes="AA">
                      <p:cBhvr>
                        <p:cTn dur="20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0 -0.2581 " pathEditMode="relative" ptsTypes="AA">
                      <p:cBhvr>
                        <p:cTn dur="20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side (Animasjon)">
    <p:bg>
      <p:bgPr>
        <a:solidFill>
          <a:srgbClr val="F8E9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5BB0CE27-C394-4607-98BB-7BA11CE74F4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96002" y="1"/>
            <a:ext cx="6095999" cy="6857998"/>
          </a:xfrm>
          <a:custGeom>
            <a:avLst/>
            <a:gdLst>
              <a:gd name="connsiteX0" fmla="*/ 1649621 w 6095999"/>
              <a:gd name="connsiteY0" fmla="*/ 0 h 6857998"/>
              <a:gd name="connsiteX1" fmla="*/ 6095999 w 6095999"/>
              <a:gd name="connsiteY1" fmla="*/ 0 h 6857998"/>
              <a:gd name="connsiteX2" fmla="*/ 6095999 w 6095999"/>
              <a:gd name="connsiteY2" fmla="*/ 6857998 h 6857998"/>
              <a:gd name="connsiteX3" fmla="*/ 1650155 w 6095999"/>
              <a:gd name="connsiteY3" fmla="*/ 6857998 h 6857998"/>
              <a:gd name="connsiteX4" fmla="*/ 1597925 w 6095999"/>
              <a:gd name="connsiteY4" fmla="*/ 6816955 h 6857998"/>
              <a:gd name="connsiteX5" fmla="*/ 0 w 6095999"/>
              <a:gd name="connsiteY5" fmla="*/ 3428789 h 6857998"/>
              <a:gd name="connsiteX6" fmla="*/ 1597925 w 6095999"/>
              <a:gd name="connsiteY6" fmla="*/ 40623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5999" h="6857998">
                <a:moveTo>
                  <a:pt x="1649621" y="0"/>
                </a:moveTo>
                <a:lnTo>
                  <a:pt x="6095999" y="0"/>
                </a:lnTo>
                <a:lnTo>
                  <a:pt x="6095999" y="6857998"/>
                </a:lnTo>
                <a:lnTo>
                  <a:pt x="1650155" y="6857998"/>
                </a:lnTo>
                <a:lnTo>
                  <a:pt x="1597925" y="6816955"/>
                </a:lnTo>
                <a:cubicBezTo>
                  <a:pt x="622032" y="6011615"/>
                  <a:pt x="0" y="4792841"/>
                  <a:pt x="0" y="3428789"/>
                </a:cubicBezTo>
                <a:cubicBezTo>
                  <a:pt x="0" y="2064738"/>
                  <a:pt x="622032" y="845963"/>
                  <a:pt x="1597925" y="40623"/>
                </a:cubicBezTo>
                <a:close/>
              </a:path>
            </a:pathLst>
          </a:custGeom>
          <a:solidFill>
            <a:srgbClr val="042478"/>
          </a:solidFill>
        </p:spPr>
        <p:txBody>
          <a:bodyPr wrap="square">
            <a:noAutofit/>
          </a:bodyPr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526EE899-D5E9-4D5E-880C-C006EB3F14F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itle 13">
            <a:extLst>
              <a:ext uri="{FF2B5EF4-FFF2-40B4-BE49-F238E27FC236}">
                <a16:creationId xmlns:a16="http://schemas.microsoft.com/office/drawing/2014/main" id="{F2EC2875-A8E4-4C69-9D40-24A9CCC2F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206151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42478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3" name="Text Placeholder 27">
            <a:extLst>
              <a:ext uri="{FF2B5EF4-FFF2-40B4-BE49-F238E27FC236}">
                <a16:creationId xmlns:a16="http://schemas.microsoft.com/office/drawing/2014/main" id="{C6E809E9-2EE0-4D5E-ABD5-7560E83DF04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913" y="2819152"/>
            <a:ext cx="4695079" cy="2687638"/>
          </a:xfrm>
        </p:spPr>
        <p:txBody>
          <a:bodyPr/>
          <a:lstStyle>
            <a:lvl1pPr>
              <a:defRPr sz="1400">
                <a:solidFill>
                  <a:srgbClr val="042478"/>
                </a:solidFill>
              </a:defRPr>
            </a:lvl1pPr>
            <a:lvl2pPr>
              <a:defRPr sz="1200">
                <a:solidFill>
                  <a:srgbClr val="042478"/>
                </a:solidFill>
              </a:defRPr>
            </a:lvl2pPr>
            <a:lvl3pPr>
              <a:defRPr sz="1100">
                <a:solidFill>
                  <a:srgbClr val="042478"/>
                </a:solidFill>
              </a:defRPr>
            </a:lvl3pPr>
            <a:lvl4pPr>
              <a:defRPr sz="1000">
                <a:solidFill>
                  <a:srgbClr val="042478"/>
                </a:solidFill>
              </a:defRPr>
            </a:lvl4pPr>
            <a:lvl5pPr>
              <a:defRPr sz="900">
                <a:solidFill>
                  <a:srgbClr val="042478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0095499">
            <a:off x="7470934" y="2251972"/>
            <a:ext cx="2477110" cy="5326551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7CB38BD-06CD-4641-A90C-18CE66C56A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20087460">
            <a:off x="7250598" y="2087988"/>
            <a:ext cx="2902052" cy="563668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8" name="Picture Placeholder 31">
            <a:extLst>
              <a:ext uri="{FF2B5EF4-FFF2-40B4-BE49-F238E27FC236}">
                <a16:creationId xmlns:a16="http://schemas.microsoft.com/office/drawing/2014/main" id="{81C825AF-C1C5-44BB-9F0A-1E28516D9E18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 rot="20095499">
            <a:off x="11413087" y="3189250"/>
            <a:ext cx="2480710" cy="5321378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6" name="Text Placeholder 64">
            <a:extLst>
              <a:ext uri="{FF2B5EF4-FFF2-40B4-BE49-F238E27FC236}">
                <a16:creationId xmlns:a16="http://schemas.microsoft.com/office/drawing/2014/main" id="{8001664F-BDA3-427D-9F79-FBB525E0DF0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 rot="20087460">
            <a:off x="11194429" y="3019296"/>
            <a:ext cx="2902052" cy="563668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79E04B0B-6D10-4EC9-BB96-507F599A1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044" y="5886736"/>
            <a:ext cx="2667000" cy="56075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659F7348-F075-F48D-453E-B5C331D58239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43" y="5886736"/>
            <a:ext cx="2667000" cy="560754"/>
          </a:xfrm>
          <a:prstGeom prst="rect">
            <a:avLst/>
          </a:prstGeom>
        </p:spPr>
      </p:pic>
      <p:pic>
        <p:nvPicPr>
          <p:cNvPr id="12" name="logo_hvit" hidden="1">
            <a:extLst>
              <a:ext uri="{FF2B5EF4-FFF2-40B4-BE49-F238E27FC236}">
                <a16:creationId xmlns:a16="http://schemas.microsoft.com/office/drawing/2014/main" id="{ADBF0150-97C8-F602-1A1A-B76ECB32D7DB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43" y="5886736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491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3.33333E-6 L -0.0625 -0.2388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25" y="-11944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8" dur="2000" fill="hold"/>
                                        <p:tgtEl>
                                          <p:spTgt spid="6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10" dur="2000" fill="hold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7.40741E-7 L -0.0625 -0.23889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25" y="-11944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14" dur="2000" fill="hold"/>
                                        <p:tgtEl>
                                          <p:spTgt spid="2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18" dur="2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65" grpId="0" uiExpand="1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6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6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  <p:bldP spid="28" grpId="0"/>
      <p:bldP spid="26" grpId="0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click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c (Animasjon)">
    <p:bg>
      <p:bgPr>
        <a:solidFill>
          <a:srgbClr val="F8E9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4A80CED5-AB6B-4994-B3E6-B97FBE16A8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96002" y="1"/>
            <a:ext cx="6095999" cy="6857998"/>
          </a:xfrm>
          <a:custGeom>
            <a:avLst/>
            <a:gdLst>
              <a:gd name="connsiteX0" fmla="*/ 1649621 w 6095999"/>
              <a:gd name="connsiteY0" fmla="*/ 0 h 6857998"/>
              <a:gd name="connsiteX1" fmla="*/ 6095999 w 6095999"/>
              <a:gd name="connsiteY1" fmla="*/ 0 h 6857998"/>
              <a:gd name="connsiteX2" fmla="*/ 6095999 w 6095999"/>
              <a:gd name="connsiteY2" fmla="*/ 6857998 h 6857998"/>
              <a:gd name="connsiteX3" fmla="*/ 1650155 w 6095999"/>
              <a:gd name="connsiteY3" fmla="*/ 6857998 h 6857998"/>
              <a:gd name="connsiteX4" fmla="*/ 1597925 w 6095999"/>
              <a:gd name="connsiteY4" fmla="*/ 6816955 h 6857998"/>
              <a:gd name="connsiteX5" fmla="*/ 0 w 6095999"/>
              <a:gd name="connsiteY5" fmla="*/ 3428789 h 6857998"/>
              <a:gd name="connsiteX6" fmla="*/ 1597925 w 6095999"/>
              <a:gd name="connsiteY6" fmla="*/ 40623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5999" h="6857998">
                <a:moveTo>
                  <a:pt x="1649621" y="0"/>
                </a:moveTo>
                <a:lnTo>
                  <a:pt x="6095999" y="0"/>
                </a:lnTo>
                <a:lnTo>
                  <a:pt x="6095999" y="6857998"/>
                </a:lnTo>
                <a:lnTo>
                  <a:pt x="1650155" y="6857998"/>
                </a:lnTo>
                <a:lnTo>
                  <a:pt x="1597925" y="6816955"/>
                </a:lnTo>
                <a:cubicBezTo>
                  <a:pt x="622032" y="6011615"/>
                  <a:pt x="0" y="4792841"/>
                  <a:pt x="0" y="3428789"/>
                </a:cubicBezTo>
                <a:cubicBezTo>
                  <a:pt x="0" y="2064738"/>
                  <a:pt x="622032" y="845963"/>
                  <a:pt x="1597925" y="40623"/>
                </a:cubicBezTo>
                <a:close/>
              </a:path>
            </a:pathLst>
          </a:custGeom>
          <a:solidFill>
            <a:srgbClr val="042478"/>
          </a:solidFill>
        </p:spPr>
        <p:txBody>
          <a:bodyPr wrap="square">
            <a:noAutofit/>
          </a:bodyPr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526EE899-D5E9-4D5E-880C-C006EB3F14F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itle 13">
            <a:extLst>
              <a:ext uri="{FF2B5EF4-FFF2-40B4-BE49-F238E27FC236}">
                <a16:creationId xmlns:a16="http://schemas.microsoft.com/office/drawing/2014/main" id="{F2EC2875-A8E4-4C69-9D40-24A9CCC2F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206151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42478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3" name="Text Placeholder 27">
            <a:extLst>
              <a:ext uri="{FF2B5EF4-FFF2-40B4-BE49-F238E27FC236}">
                <a16:creationId xmlns:a16="http://schemas.microsoft.com/office/drawing/2014/main" id="{C6E809E9-2EE0-4D5E-ABD5-7560E83DF04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913" y="2819152"/>
            <a:ext cx="4695079" cy="2687638"/>
          </a:xfrm>
        </p:spPr>
        <p:txBody>
          <a:bodyPr/>
          <a:lstStyle>
            <a:lvl1pPr>
              <a:defRPr sz="1400">
                <a:solidFill>
                  <a:srgbClr val="042478"/>
                </a:solidFill>
              </a:defRPr>
            </a:lvl1pPr>
            <a:lvl2pPr>
              <a:defRPr sz="1200">
                <a:solidFill>
                  <a:srgbClr val="042478"/>
                </a:solidFill>
              </a:defRPr>
            </a:lvl2pPr>
            <a:lvl3pPr>
              <a:defRPr sz="1100">
                <a:solidFill>
                  <a:srgbClr val="042478"/>
                </a:solidFill>
              </a:defRPr>
            </a:lvl3pPr>
            <a:lvl4pPr>
              <a:defRPr sz="1000">
                <a:solidFill>
                  <a:srgbClr val="042478"/>
                </a:solidFill>
              </a:defRPr>
            </a:lvl4pPr>
            <a:lvl5pPr>
              <a:defRPr sz="900">
                <a:solidFill>
                  <a:srgbClr val="042478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EDD01A2-4366-4D2C-A0E7-B1B95B71D09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844477" y="1750446"/>
            <a:ext cx="5995752" cy="493526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Picture Placeholder 31">
            <a:extLst>
              <a:ext uri="{FF2B5EF4-FFF2-40B4-BE49-F238E27FC236}">
                <a16:creationId xmlns:a16="http://schemas.microsoft.com/office/drawing/2014/main" id="{26E0B4AE-3913-4C0F-A569-2625D1C2CEE1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1127143">
            <a:off x="7230274" y="2275124"/>
            <a:ext cx="5097572" cy="2882167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r>
              <a:rPr lang="en-US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7622D3-E2C3-498F-9799-B2CB374E63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25569" y="5636682"/>
            <a:ext cx="3947160" cy="646518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CCB4E4-C2B8-4505-B3B2-E7A16D1D597F}"/>
              </a:ext>
            </a:extLst>
          </p:cNvPr>
          <p:cNvSpPr txBox="1"/>
          <p:nvPr userDrawn="1"/>
        </p:nvSpPr>
        <p:spPr>
          <a:xfrm>
            <a:off x="6821714" y="2445657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B9D396-4FA5-4E05-AA33-A3B2F34FDFD0}"/>
              </a:ext>
            </a:extLst>
          </p:cNvPr>
          <p:cNvSpPr txBox="1"/>
          <p:nvPr userDrawn="1"/>
        </p:nvSpPr>
        <p:spPr>
          <a:xfrm>
            <a:off x="6778171" y="2685142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65075B-279A-49F7-9EF7-C440206021BF}"/>
              </a:ext>
            </a:extLst>
          </p:cNvPr>
          <p:cNvSpPr txBox="1"/>
          <p:nvPr userDrawn="1"/>
        </p:nvSpPr>
        <p:spPr>
          <a:xfrm>
            <a:off x="6778171" y="2685142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D69F34-0256-46BB-95B6-72F3160484E5}"/>
              </a:ext>
            </a:extLst>
          </p:cNvPr>
          <p:cNvSpPr txBox="1"/>
          <p:nvPr userDrawn="1"/>
        </p:nvSpPr>
        <p:spPr>
          <a:xfrm>
            <a:off x="5054535" y="-24384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5798462A-FDC9-4067-81E1-BA3C406CDC5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044" y="5886736"/>
            <a:ext cx="2667000" cy="56075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4" name="logo_blaa" hidden="1">
            <a:extLst>
              <a:ext uri="{FF2B5EF4-FFF2-40B4-BE49-F238E27FC236}">
                <a16:creationId xmlns:a16="http://schemas.microsoft.com/office/drawing/2014/main" id="{E75E30DA-DC31-7344-F2A8-5F6E41769030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43" y="5886736"/>
            <a:ext cx="2667000" cy="560754"/>
          </a:xfrm>
          <a:prstGeom prst="rect">
            <a:avLst/>
          </a:prstGeom>
        </p:spPr>
      </p:pic>
      <p:pic>
        <p:nvPicPr>
          <p:cNvPr id="28" name="logo_hvit" hidden="1">
            <a:extLst>
              <a:ext uri="{FF2B5EF4-FFF2-40B4-BE49-F238E27FC236}">
                <a16:creationId xmlns:a16="http://schemas.microsoft.com/office/drawing/2014/main" id="{B9C2CF46-4754-58A6-6098-515DF54E769A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43" y="5886736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3658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3437 -0.14167 " pathEditMode="relative" ptsTypes="AA">
                                      <p:cBhvr>
                                        <p:cTn id="6" dur="2000" fill="hold"/>
                                        <p:tgtEl>
                                          <p:spTgt spid="2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3437 -0.14167 " pathEditMode="relative" ptsTypes="AA">
                                      <p:cBhvr>
                                        <p:cTn id="8" dur="20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1.85185E-6 L -0.03437 -0.14167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19" y="-7083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8789 0.17593 L 4.58333E-6 -1.48148E-6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284" y="-9051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7383 0.10393 L 0.24388 0.20069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03" y="4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3437 -0.14167 " pathEditMode="relative" ptsTypes="AA">
                      <p:cBhvr>
                        <p:cTn dur="2000" fill="hold"/>
                        <p:tgtEl>
                          <p:spTgt spid="2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3437 -0.14167 " pathEditMode="relative" ptsTypes="AA">
                      <p:cBhvr>
                        <p:cTn dur="2000" fill="hold"/>
                        <p:tgtEl>
                          <p:spTgt spid="2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  <p:bldP spid="24" grpId="0"/>
      <p:bldP spid="3" grpId="0" uiExpand="1" build="p" animBg="1">
        <p:tmplLst>
          <p:tmpl>
            <p:tnLst>
              <p:par>
                <p:cTn presetID="42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.08789 0.17593 L 4.58333E-6 -1.48148E-6 " pathEditMode="relative" rAng="0" ptsTypes="AA">
                      <p:cBhvr>
                        <p:cTn dur="2000" fill="hold"/>
                        <p:tgtEl>
                          <p:spTgt spid="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4284" y="-9051"/>
                    </p:animMotion>
                  </p:childTnLst>
                </p:cTn>
              </p:par>
            </p:tnLst>
          </p:tmpl>
          <p:tmpl lvl="1">
            <p:tnLst>
              <p:par>
                <p:cTn presetID="42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.17383 0.10393 L 0.24388 0.20069 " pathEditMode="relative" rAng="0" ptsTypes="AA">
                      <p:cBhvr>
                        <p:cTn dur="2000" fill="hold"/>
                        <p:tgtEl>
                          <p:spTgt spid="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3503" y="4838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C3D015-6959-4408-9BF2-878E984CDA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27625" y="0"/>
            <a:ext cx="7064375" cy="6858000"/>
          </a:xfrm>
          <a:solidFill>
            <a:srgbClr val="00103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4E92E13-E931-494C-96DF-4A2421B6FE9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4381497" y="4038600"/>
            <a:ext cx="7810497" cy="2819400"/>
          </a:xfrm>
          <a:custGeom>
            <a:avLst/>
            <a:gdLst>
              <a:gd name="connsiteX0" fmla="*/ 6007097 w 7810497"/>
              <a:gd name="connsiteY0" fmla="*/ 0 h 2819400"/>
              <a:gd name="connsiteX1" fmla="*/ 0 w 7810497"/>
              <a:gd name="connsiteY1" fmla="*/ 0 h 2819400"/>
              <a:gd name="connsiteX2" fmla="*/ 0 w 7810497"/>
              <a:gd name="connsiteY2" fmla="*/ 2819400 h 2819400"/>
              <a:gd name="connsiteX3" fmla="*/ 7810497 w 7810497"/>
              <a:gd name="connsiteY3" fmla="*/ 2819400 h 2819400"/>
              <a:gd name="connsiteX4" fmla="*/ 7810497 w 7810497"/>
              <a:gd name="connsiteY4" fmla="*/ 1803400 h 2819400"/>
              <a:gd name="connsiteX5" fmla="*/ 6007097 w 7810497"/>
              <a:gd name="connsiteY5" fmla="*/ 0 h 281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10497" h="2819400">
                <a:moveTo>
                  <a:pt x="6007097" y="0"/>
                </a:moveTo>
                <a:lnTo>
                  <a:pt x="0" y="0"/>
                </a:lnTo>
                <a:lnTo>
                  <a:pt x="0" y="2819400"/>
                </a:lnTo>
                <a:lnTo>
                  <a:pt x="7810497" y="2819400"/>
                </a:lnTo>
                <a:lnTo>
                  <a:pt x="7810497" y="1803400"/>
                </a:lnTo>
                <a:cubicBezTo>
                  <a:pt x="7810497" y="807410"/>
                  <a:pt x="7003087" y="0"/>
                  <a:pt x="6007097" y="0"/>
                </a:cubicBezTo>
                <a:close/>
              </a:path>
            </a:pathLst>
          </a:custGeom>
          <a:solidFill>
            <a:srgbClr val="C3C2DC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ACC01-A937-4271-A7CA-BDC2D6D394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382641" y="5041029"/>
            <a:ext cx="1766888" cy="986907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82641" y="4611460"/>
            <a:ext cx="1766888" cy="338741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3828245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9EE6D194-429B-4CF9-A25A-D35D88FBF5E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15913" y="909186"/>
            <a:ext cx="3829036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77A88A4F-5ACA-4E7F-97B6-8D5BFDDB038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424801" y="5041029"/>
            <a:ext cx="1766888" cy="986907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199A3D1D-B068-40B9-94DE-750DA43F6A1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424801" y="4611460"/>
            <a:ext cx="1766888" cy="338741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AF12E05B-349E-468D-89CE-BFB1E0530AB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28236" y="5041029"/>
            <a:ext cx="1766888" cy="986907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B8ED6D48-CFEA-4D2F-80DC-CBDA51FDD93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428236" y="4611460"/>
            <a:ext cx="1766888" cy="338741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F91AA2C9-234E-4CCE-ABF3-86C69A1A96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6024" y="2249281"/>
            <a:ext cx="3438925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300">
                <a:solidFill>
                  <a:srgbClr val="00207D"/>
                </a:solidFill>
              </a:defRPr>
            </a:lvl2pPr>
            <a:lvl3pPr>
              <a:defRPr sz="1200">
                <a:solidFill>
                  <a:srgbClr val="00207D"/>
                </a:solidFill>
              </a:defRPr>
            </a:lvl3pPr>
            <a:lvl4pPr>
              <a:defRPr sz="1100">
                <a:solidFill>
                  <a:srgbClr val="00207D"/>
                </a:solidFill>
              </a:defRPr>
            </a:lvl4pPr>
            <a:lvl5pPr>
              <a:defRPr sz="10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C0D465B5-E891-45FD-B2CD-F7832BDB643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B652CA5B-091A-4E89-9203-486E5C39F485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A2D3D61E-049A-48E0-9986-95DEF9C8F2B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background" hidden="1">
            <a:extLst>
              <a:ext uri="{FF2B5EF4-FFF2-40B4-BE49-F238E27FC236}">
                <a16:creationId xmlns:a16="http://schemas.microsoft.com/office/drawing/2014/main" id="{122DD4A3-2094-47A6-87DB-03D72FCE8FB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9" name="addin_logo" hidden="1">
            <a:extLst>
              <a:ext uri="{FF2B5EF4-FFF2-40B4-BE49-F238E27FC236}">
                <a16:creationId xmlns:a16="http://schemas.microsoft.com/office/drawing/2014/main" id="{F2DDBE38-7E8E-4049-B6C7-D0729F6C696F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0" name="addin_title" hidden="1">
            <a:extLst>
              <a:ext uri="{FF2B5EF4-FFF2-40B4-BE49-F238E27FC236}">
                <a16:creationId xmlns:a16="http://schemas.microsoft.com/office/drawing/2014/main" id="{87107F74-6EEF-4C55-B579-31D86AEE85F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1" name="addin_text" hidden="1">
            <a:extLst>
              <a:ext uri="{FF2B5EF4-FFF2-40B4-BE49-F238E27FC236}">
                <a16:creationId xmlns:a16="http://schemas.microsoft.com/office/drawing/2014/main" id="{1CC0094A-8549-4644-B35B-BC8DAAA1AAB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06775AC8-02A7-D6A9-C5F9-2E91A4DED40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2" name="logo_hvit" hidden="1">
            <a:extLst>
              <a:ext uri="{FF2B5EF4-FFF2-40B4-BE49-F238E27FC236}">
                <a16:creationId xmlns:a16="http://schemas.microsoft.com/office/drawing/2014/main" id="{DABDE88D-541F-AE77-C19C-454657FDE6BA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48115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4 deler)">
    <p:bg>
      <p:bgPr>
        <a:solidFill>
          <a:srgbClr val="CECE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C455073B-9561-4C18-AE0B-2DBE98389CC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096000" y="1720850"/>
            <a:ext cx="6096000" cy="5137150"/>
          </a:xfr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6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6AEB2CF0-BD35-47EE-A838-C4F6293D9FC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7429500" y="-1333500"/>
            <a:ext cx="3429000" cy="6096000"/>
          </a:xfrm>
          <a:prstGeom prst="round1Rect">
            <a:avLst>
              <a:gd name="adj" fmla="val 38889"/>
            </a:avLst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5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DC774C79-16BF-402F-AB0F-4B3DDB76E4B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0" y="3429000"/>
            <a:ext cx="6096000" cy="3429000"/>
          </a:xfrm>
          <a:solidFill>
            <a:srgbClr val="0061A8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30D4A27-CB15-4024-A7B2-B0A0FBB527D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0" y="0"/>
            <a:ext cx="6096000" cy="3429000"/>
          </a:xfrm>
          <a:solidFill>
            <a:srgbClr val="FFF9F5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11600" y="3772800"/>
            <a:ext cx="5565974" cy="338741"/>
          </a:xfrm>
          <a:solidFill>
            <a:srgbClr val="0000FE">
              <a:alpha val="0"/>
            </a:srgbClr>
          </a:solidFill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3253810" cy="553998"/>
          </a:xfrm>
          <a:solidFill>
            <a:srgbClr val="0000FE">
              <a:alpha val="0"/>
            </a:srgbClr>
          </a:solidFill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9EE6D194-429B-4CF9-A25A-D35D88FBF5E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15913" y="909186"/>
            <a:ext cx="3253810" cy="430887"/>
          </a:xfrm>
          <a:solidFill>
            <a:srgbClr val="0000FE">
              <a:alpha val="0"/>
            </a:srgbClr>
          </a:solidFill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62251966-DC51-42A4-9D10-7A6D8F3A70A2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3579248" y="1073070"/>
            <a:ext cx="2032424" cy="2013995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8D8D130-C5B1-450A-822A-5F08E950A7F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29600" y="1846800"/>
            <a:ext cx="2713758" cy="1241425"/>
          </a:xfrm>
        </p:spPr>
        <p:txBody>
          <a:bodyPr/>
          <a:lstStyle>
            <a:lvl1pPr marL="0" indent="0">
              <a:buNone/>
              <a:defRPr sz="10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DAB914C2-BF35-4A59-AC94-D43C6D9E086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5913" y="3772800"/>
            <a:ext cx="4660900" cy="338741"/>
          </a:xfrm>
        </p:spPr>
        <p:txBody>
          <a:bodyPr lIns="79200" anchor="b"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45B7438E-AE75-4FF7-BC5E-B7C2C0CE59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A4BDD34D-E03D-4646-867F-0721BEFA75DC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firefarg1, firefarg2</a:t>
            </a:r>
          </a:p>
        </p:txBody>
      </p:sp>
      <p:sp>
        <p:nvSpPr>
          <p:cNvPr id="29" name="addin_colorbox" hidden="1">
            <a:extLst>
              <a:ext uri="{FF2B5EF4-FFF2-40B4-BE49-F238E27FC236}">
                <a16:creationId xmlns:a16="http://schemas.microsoft.com/office/drawing/2014/main" id="{9E04BAB5-E565-4580-A95D-A8DBBBA206C7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0" name="addin_background" hidden="1">
            <a:extLst>
              <a:ext uri="{FF2B5EF4-FFF2-40B4-BE49-F238E27FC236}">
                <a16:creationId xmlns:a16="http://schemas.microsoft.com/office/drawing/2014/main" id="{20312245-3B2C-45E0-A41F-9880DECB8AA3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31" name="addin_logo" hidden="1">
            <a:extLst>
              <a:ext uri="{FF2B5EF4-FFF2-40B4-BE49-F238E27FC236}">
                <a16:creationId xmlns:a16="http://schemas.microsoft.com/office/drawing/2014/main" id="{0555D013-45BB-4434-BCD4-CA50C4FDF50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2" name="addin_title" hidden="1">
            <a:extLst>
              <a:ext uri="{FF2B5EF4-FFF2-40B4-BE49-F238E27FC236}">
                <a16:creationId xmlns:a16="http://schemas.microsoft.com/office/drawing/2014/main" id="{3293E258-4BAB-4E3E-B382-2BF51368333C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3" name="addin_text" hidden="1">
            <a:extLst>
              <a:ext uri="{FF2B5EF4-FFF2-40B4-BE49-F238E27FC236}">
                <a16:creationId xmlns:a16="http://schemas.microsoft.com/office/drawing/2014/main" id="{F306448A-BC82-40F1-B842-B6DB578BF4F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4" name="addin_spestext" hidden="1">
            <a:extLst>
              <a:ext uri="{FF2B5EF4-FFF2-40B4-BE49-F238E27FC236}">
                <a16:creationId xmlns:a16="http://schemas.microsoft.com/office/drawing/2014/main" id="{28414EB4-7508-47EB-8178-87FDD9A0F47B}"/>
              </a:ext>
            </a:extLst>
          </p:cNvPr>
          <p:cNvSpPr/>
          <p:nvPr userDrawn="1"/>
        </p:nvSpPr>
        <p:spPr>
          <a:xfrm>
            <a:off x="2499793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spestext</a:t>
            </a:r>
            <a:endParaRPr lang="nb-NO" dirty="0"/>
          </a:p>
        </p:txBody>
      </p:sp>
      <p:sp>
        <p:nvSpPr>
          <p:cNvPr id="36" name="Rectangle 35" hidden="1">
            <a:extLst>
              <a:ext uri="{FF2B5EF4-FFF2-40B4-BE49-F238E27FC236}">
                <a16:creationId xmlns:a16="http://schemas.microsoft.com/office/drawing/2014/main" id="{E3844F34-BF24-4DE8-8F36-35D26CD26D68}"/>
              </a:ext>
            </a:extLst>
          </p:cNvPr>
          <p:cNvSpPr/>
          <p:nvPr userDrawn="1"/>
        </p:nvSpPr>
        <p:spPr>
          <a:xfrm>
            <a:off x="-598538" y="753"/>
            <a:ext cx="540068" cy="540068"/>
          </a:xfrm>
          <a:prstGeom prst="rect">
            <a:avLst/>
          </a:prstGeom>
          <a:solidFill>
            <a:srgbClr val="C3C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8CBF3C7C-55B9-484F-8323-BAF8BDA704CE}"/>
              </a:ext>
            </a:extLst>
          </p:cNvPr>
          <p:cNvSpPr/>
          <p:nvPr userDrawn="1"/>
        </p:nvSpPr>
        <p:spPr>
          <a:xfrm>
            <a:off x="-598538" y="275482"/>
            <a:ext cx="266019" cy="26533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 hidden="1">
            <a:extLst>
              <a:ext uri="{FF2B5EF4-FFF2-40B4-BE49-F238E27FC236}">
                <a16:creationId xmlns:a16="http://schemas.microsoft.com/office/drawing/2014/main" id="{106FD54A-FD2A-49F0-83FB-443C74F64F15}"/>
              </a:ext>
            </a:extLst>
          </p:cNvPr>
          <p:cNvSpPr/>
          <p:nvPr userDrawn="1"/>
        </p:nvSpPr>
        <p:spPr>
          <a:xfrm>
            <a:off x="-332519" y="275481"/>
            <a:ext cx="274049" cy="265338"/>
          </a:xfrm>
          <a:prstGeom prst="rect">
            <a:avLst/>
          </a:prstGeom>
          <a:solidFill>
            <a:srgbClr val="FFF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8FD9630B-D6BC-493A-BBE8-569F372E8290}"/>
              </a:ext>
            </a:extLst>
          </p:cNvPr>
          <p:cNvSpPr/>
          <p:nvPr userDrawn="1"/>
        </p:nvSpPr>
        <p:spPr>
          <a:xfrm>
            <a:off x="-332519" y="753"/>
            <a:ext cx="274049" cy="274726"/>
          </a:xfrm>
          <a:prstGeom prst="rect">
            <a:avLst/>
          </a:prstGeom>
          <a:solidFill>
            <a:srgbClr val="005A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id="{31A0D69A-9581-4EBF-B323-5DB0479996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5913" y="4194000"/>
            <a:ext cx="4660899" cy="131027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1" name="Text Placeholder 1">
            <a:extLst>
              <a:ext uri="{FF2B5EF4-FFF2-40B4-BE49-F238E27FC236}">
                <a16:creationId xmlns:a16="http://schemas.microsoft.com/office/drawing/2014/main" id="{EC8A8337-24E7-481A-8588-D5597050FC3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411600" y="4194000"/>
            <a:ext cx="5565974" cy="78556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2" name="Text Placeholder 1">
            <a:extLst>
              <a:ext uri="{FF2B5EF4-FFF2-40B4-BE49-F238E27FC236}">
                <a16:creationId xmlns:a16="http://schemas.microsoft.com/office/drawing/2014/main" id="{5F335A74-0045-4431-93C5-38BA94BA922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291600" y="910800"/>
            <a:ext cx="2685974" cy="48487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51C3B738-B55A-AADF-B496-748DB20615E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4" name="logo_hvit" hidden="1">
            <a:extLst>
              <a:ext uri="{FF2B5EF4-FFF2-40B4-BE49-F238E27FC236}">
                <a16:creationId xmlns:a16="http://schemas.microsoft.com/office/drawing/2014/main" id="{F92FF57A-762E-B035-BB57-1426DFEAF29F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50331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4 deler, med tekst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2F04CD96-D11A-4B44-912B-ADD88AA349C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20108" y="2411834"/>
            <a:ext cx="4077730" cy="4446166"/>
          </a:xfrm>
          <a:solidFill>
            <a:srgbClr val="FFF9F5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6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700E0BD-BA45-4A7E-A9CC-E715CDB8E7C2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077730" y="0"/>
            <a:ext cx="4036542" cy="4316164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CE894AE-F5A2-4709-A208-E529BF8713F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4400294" y="3144021"/>
            <a:ext cx="3397251" cy="4030705"/>
          </a:xfrm>
          <a:custGeom>
            <a:avLst/>
            <a:gdLst>
              <a:gd name="connsiteX0" fmla="*/ 0 w 3429000"/>
              <a:gd name="connsiteY0" fmla="*/ 4051300 h 4051300"/>
              <a:gd name="connsiteX1" fmla="*/ 0 w 3429000"/>
              <a:gd name="connsiteY1" fmla="*/ 0 h 4051300"/>
              <a:gd name="connsiteX2" fmla="*/ 2503239 w 3429000"/>
              <a:gd name="connsiteY2" fmla="*/ 0 h 4051300"/>
              <a:gd name="connsiteX3" fmla="*/ 3429000 w 3429000"/>
              <a:gd name="connsiteY3" fmla="*/ 925761 h 4051300"/>
              <a:gd name="connsiteX4" fmla="*/ 3429000 w 3429000"/>
              <a:gd name="connsiteY4" fmla="*/ 4051300 h 405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4051300">
                <a:moveTo>
                  <a:pt x="0" y="4051300"/>
                </a:moveTo>
                <a:lnTo>
                  <a:pt x="0" y="0"/>
                </a:lnTo>
                <a:lnTo>
                  <a:pt x="2503239" y="0"/>
                </a:lnTo>
                <a:cubicBezTo>
                  <a:pt x="3014523" y="0"/>
                  <a:pt x="3429000" y="414477"/>
                  <a:pt x="3429000" y="925761"/>
                </a:cubicBezTo>
                <a:lnTo>
                  <a:pt x="3429000" y="4051300"/>
                </a:lnTo>
                <a:close/>
              </a:path>
            </a:pathLst>
          </a:custGeom>
          <a:solidFill>
            <a:srgbClr val="00207D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460C567-3FD3-4899-98EB-BA303D6775D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422761" y="-308490"/>
            <a:ext cx="3460748" cy="4077730"/>
          </a:xfrm>
          <a:custGeom>
            <a:avLst/>
            <a:gdLst>
              <a:gd name="connsiteX0" fmla="*/ 0 w 3429000"/>
              <a:gd name="connsiteY0" fmla="*/ 4051300 h 4051300"/>
              <a:gd name="connsiteX1" fmla="*/ 0 w 3429000"/>
              <a:gd name="connsiteY1" fmla="*/ 0 h 4051300"/>
              <a:gd name="connsiteX2" fmla="*/ 2503239 w 3429000"/>
              <a:gd name="connsiteY2" fmla="*/ 0 h 4051300"/>
              <a:gd name="connsiteX3" fmla="*/ 3429000 w 3429000"/>
              <a:gd name="connsiteY3" fmla="*/ 925761 h 4051300"/>
              <a:gd name="connsiteX4" fmla="*/ 3429000 w 3429000"/>
              <a:gd name="connsiteY4" fmla="*/ 4051300 h 405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4051300">
                <a:moveTo>
                  <a:pt x="0" y="4051300"/>
                </a:moveTo>
                <a:lnTo>
                  <a:pt x="0" y="0"/>
                </a:lnTo>
                <a:lnTo>
                  <a:pt x="2503239" y="0"/>
                </a:lnTo>
                <a:cubicBezTo>
                  <a:pt x="3014523" y="0"/>
                  <a:pt x="3429000" y="414477"/>
                  <a:pt x="3429000" y="925761"/>
                </a:cubicBezTo>
                <a:lnTo>
                  <a:pt x="3429000" y="4051300"/>
                </a:lnTo>
                <a:close/>
              </a:path>
            </a:pathLst>
          </a:custGeom>
          <a:solidFill>
            <a:srgbClr val="CECDE7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5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DC774C79-16BF-402F-AB0F-4B3DDB76E4B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0" y="0"/>
            <a:ext cx="4083566" cy="6858000"/>
          </a:xfrm>
          <a:solidFill>
            <a:srgbClr val="0061A8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06959" y="4114895"/>
            <a:ext cx="3080679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32538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62251966-DC51-42A4-9D10-7A6D8F3A70A2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9182117" y="4069602"/>
            <a:ext cx="2032424" cy="2013995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DAB914C2-BF35-4A59-AC94-D43C6D9E086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5913" y="1228528"/>
            <a:ext cx="3253812" cy="338741"/>
          </a:xfrm>
        </p:spPr>
        <p:txBody>
          <a:bodyPr lIns="79200" anchor="b"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D7576959-282F-48A7-93E6-CDC621CBBB5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72509" y="167205"/>
            <a:ext cx="3505064" cy="338741"/>
          </a:xfrm>
          <a:solidFill>
            <a:srgbClr val="0000FE">
              <a:alpha val="0"/>
            </a:srgbClr>
          </a:solidFill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277FC5C6-3FFB-4293-812F-50F87293B3A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DE7A0B9B-A159-4769-AA7E-43F8A26DEAA5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firefarg3, firefarg4</a:t>
            </a:r>
          </a:p>
        </p:txBody>
      </p:sp>
      <p:sp>
        <p:nvSpPr>
          <p:cNvPr id="28" name="addin_colorbox" hidden="1">
            <a:extLst>
              <a:ext uri="{FF2B5EF4-FFF2-40B4-BE49-F238E27FC236}">
                <a16:creationId xmlns:a16="http://schemas.microsoft.com/office/drawing/2014/main" id="{A723CA78-23AE-48CA-B30D-BC65F7A9A3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background" hidden="1">
            <a:extLst>
              <a:ext uri="{FF2B5EF4-FFF2-40B4-BE49-F238E27FC236}">
                <a16:creationId xmlns:a16="http://schemas.microsoft.com/office/drawing/2014/main" id="{FDB0DF5E-1B59-4D22-8E8C-0E8E2795D31D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CC87C9FE-39EB-4A6D-868B-7B8E1B4B3B1C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3" name="addin_title" hidden="1">
            <a:extLst>
              <a:ext uri="{FF2B5EF4-FFF2-40B4-BE49-F238E27FC236}">
                <a16:creationId xmlns:a16="http://schemas.microsoft.com/office/drawing/2014/main" id="{2147B6EF-8E5B-42EE-B44C-8A50E0911D9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4" name="addin_text" hidden="1">
            <a:extLst>
              <a:ext uri="{FF2B5EF4-FFF2-40B4-BE49-F238E27FC236}">
                <a16:creationId xmlns:a16="http://schemas.microsoft.com/office/drawing/2014/main" id="{F117A96B-03C2-43F0-BDD8-8161858E432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6" name="addin_image" hidden="1">
            <a:extLst>
              <a:ext uri="{FF2B5EF4-FFF2-40B4-BE49-F238E27FC236}">
                <a16:creationId xmlns:a16="http://schemas.microsoft.com/office/drawing/2014/main" id="{870B3DFC-356E-466E-A04C-39E936E6E326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6D39FA83-C4E7-4637-ABFB-525099A04B9B}"/>
              </a:ext>
            </a:extLst>
          </p:cNvPr>
          <p:cNvSpPr/>
          <p:nvPr userDrawn="1"/>
        </p:nvSpPr>
        <p:spPr>
          <a:xfrm>
            <a:off x="-598538" y="753"/>
            <a:ext cx="540068" cy="540068"/>
          </a:xfrm>
          <a:prstGeom prst="rect">
            <a:avLst/>
          </a:prstGeom>
          <a:solidFill>
            <a:srgbClr val="C3C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 hidden="1">
            <a:extLst>
              <a:ext uri="{FF2B5EF4-FFF2-40B4-BE49-F238E27FC236}">
                <a16:creationId xmlns:a16="http://schemas.microsoft.com/office/drawing/2014/main" id="{A7530B15-9197-446D-BAD0-B354241C94F9}"/>
              </a:ext>
            </a:extLst>
          </p:cNvPr>
          <p:cNvSpPr/>
          <p:nvPr userDrawn="1"/>
        </p:nvSpPr>
        <p:spPr>
          <a:xfrm>
            <a:off x="-598538" y="275482"/>
            <a:ext cx="266019" cy="26533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12CFCD8F-01FE-4654-871C-7FF1504A9466}"/>
              </a:ext>
            </a:extLst>
          </p:cNvPr>
          <p:cNvSpPr/>
          <p:nvPr userDrawn="1"/>
        </p:nvSpPr>
        <p:spPr>
          <a:xfrm>
            <a:off x="-332519" y="275481"/>
            <a:ext cx="274049" cy="265338"/>
          </a:xfrm>
          <a:prstGeom prst="rect">
            <a:avLst/>
          </a:prstGeom>
          <a:solidFill>
            <a:srgbClr val="FFF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73D33CA6-FE73-4DD0-A18B-77AA905F72DD}"/>
              </a:ext>
            </a:extLst>
          </p:cNvPr>
          <p:cNvSpPr/>
          <p:nvPr userDrawn="1"/>
        </p:nvSpPr>
        <p:spPr>
          <a:xfrm>
            <a:off x="-332519" y="753"/>
            <a:ext cx="274049" cy="274726"/>
          </a:xfrm>
          <a:prstGeom prst="rect">
            <a:avLst/>
          </a:prstGeom>
          <a:solidFill>
            <a:srgbClr val="005A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1">
            <a:extLst>
              <a:ext uri="{FF2B5EF4-FFF2-40B4-BE49-F238E27FC236}">
                <a16:creationId xmlns:a16="http://schemas.microsoft.com/office/drawing/2014/main" id="{2CE2E79D-4BE6-4DCF-BE36-0B43C13C476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5913" y="1695722"/>
            <a:ext cx="3253811" cy="131027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2" name="Text Placeholder 1">
            <a:extLst>
              <a:ext uri="{FF2B5EF4-FFF2-40B4-BE49-F238E27FC236}">
                <a16:creationId xmlns:a16="http://schemas.microsoft.com/office/drawing/2014/main" id="{8AE6BBE8-A093-48FC-8519-587B0A829EB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8472510" y="603919"/>
            <a:ext cx="3505064" cy="180791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3" name="Text Placeholder 1">
            <a:extLst>
              <a:ext uri="{FF2B5EF4-FFF2-40B4-BE49-F238E27FC236}">
                <a16:creationId xmlns:a16="http://schemas.microsoft.com/office/drawing/2014/main" id="{08CD107A-6138-4458-8580-DDA462984F8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706960" y="4551609"/>
            <a:ext cx="3080680" cy="180791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B3EE3473-17A1-7C62-7BA8-CE797B202AF1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4" name="logo_hvit" hidden="1">
            <a:extLst>
              <a:ext uri="{FF2B5EF4-FFF2-40B4-BE49-F238E27FC236}">
                <a16:creationId xmlns:a16="http://schemas.microsoft.com/office/drawing/2014/main" id="{84BCE7FA-56BD-E08D-1619-F3967338E22D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1214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Bak)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86664A-2EF2-43CB-A41F-676FF90963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04DA4748-4F43-4F1B-AAEB-2ED411E524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C94E69BD-0A56-40F8-B68A-E3D823537E4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D1EDA5DC-474F-4369-8152-D656FEB6ADA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15396179-4FC6-46C7-82A4-0F380217A02E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5048B53-A7C6-4F18-96FB-30937FDBA63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5FF0EACC-C50A-44B5-8C4D-444ED159113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FCFE3393-AB3C-44EB-AFC3-F01B9D65C2D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49EF98D6-91C4-4ED8-AF8C-C1F414AB3967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6" name="logo_blaa" hidden="1">
            <a:extLst>
              <a:ext uri="{FF2B5EF4-FFF2-40B4-BE49-F238E27FC236}">
                <a16:creationId xmlns:a16="http://schemas.microsoft.com/office/drawing/2014/main" id="{9B00FF52-BAB8-BC8B-AE10-C1B1119B51C5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2667000" cy="560754"/>
          </a:xfrm>
          <a:prstGeom prst="rect">
            <a:avLst/>
          </a:prstGeom>
        </p:spPr>
      </p:pic>
      <p:pic>
        <p:nvPicPr>
          <p:cNvPr id="25" name="logo_hvit" hidden="1">
            <a:extLst>
              <a:ext uri="{FF2B5EF4-FFF2-40B4-BE49-F238E27FC236}">
                <a16:creationId xmlns:a16="http://schemas.microsoft.com/office/drawing/2014/main" id="{2E1906B3-7190-2E96-CC47-F4CD1C30D76B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2711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CE894AE-F5A2-4709-A208-E529BF8713F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5270105" y="-63898"/>
            <a:ext cx="4292600" cy="9551195"/>
          </a:xfrm>
          <a:prstGeom prst="round1Rect">
            <a:avLst>
              <a:gd name="adj" fmla="val 43590"/>
            </a:avLst>
          </a:prstGeom>
          <a:solidFill>
            <a:srgbClr val="00207D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273029" y="6347818"/>
            <a:ext cx="1846659" cy="153888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73029" y="6112838"/>
            <a:ext cx="1846659" cy="153888"/>
          </a:xfrm>
          <a:solidFill>
            <a:srgbClr val="0000FF">
              <a:alpha val="0"/>
            </a:srgbClr>
          </a:solidFill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4328" y="407521"/>
            <a:ext cx="6746085" cy="1284754"/>
          </a:xfrm>
        </p:spPr>
        <p:txBody>
          <a:bodyPr anchor="ctr"/>
          <a:lstStyle>
            <a:lvl1pPr>
              <a:lnSpc>
                <a:spcPct val="90000"/>
              </a:lnSpc>
              <a:defRPr sz="10000"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68846015-2A3B-446D-A0B8-D29C61C01F9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263755" y="6112838"/>
            <a:ext cx="1846659" cy="153888"/>
          </a:xfrm>
          <a:solidFill>
            <a:srgbClr val="0000FF">
              <a:alpha val="0"/>
            </a:srgbClr>
          </a:solidFill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B9BD4B98-07E6-4F80-AF51-2316CD968B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63755" y="6347818"/>
            <a:ext cx="1846659" cy="153888"/>
          </a:xfrm>
          <a:prstGeom prst="rect">
            <a:avLst/>
          </a:prstGeom>
          <a:solidFill>
            <a:srgbClr val="0000FF">
              <a:alpha val="0"/>
            </a:srgbClr>
          </a:solidFill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9BF6C8A6-65BE-42D3-BEB6-7005D686B56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 rot="10800000">
            <a:off x="7561943" y="0"/>
            <a:ext cx="4630057" cy="6858001"/>
          </a:xfrm>
          <a:prstGeom prst="round1Rect">
            <a:avLst>
              <a:gd name="adj" fmla="val 47979"/>
            </a:avLst>
          </a:prstGeom>
          <a:solidFill>
            <a:srgbClr val="00579E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96F1FE8-28E4-4C92-9D93-7B8DCD670978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1BD38ED4-B725-4AAB-9487-255EBB7049C2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ste1, siste2, siste3, siste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6F4D908F-B453-4F18-BE82-ACB5B2DA82B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FC09F4C-2DCB-4C69-9F83-FBEF8B9EA1E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052BDCAC-5BC9-42C5-8C89-4398E2F45DAB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305CCF73-19C7-4C9B-893D-1D0A7E0B1B9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03A08D40-C143-4FDB-834C-4EDCBBAB098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spestext" hidden="1">
            <a:extLst>
              <a:ext uri="{FF2B5EF4-FFF2-40B4-BE49-F238E27FC236}">
                <a16:creationId xmlns:a16="http://schemas.microsoft.com/office/drawing/2014/main" id="{282BCBC8-4FEA-4F9A-A003-2C640A6FBC6E}"/>
              </a:ext>
            </a:extLst>
          </p:cNvPr>
          <p:cNvSpPr/>
          <p:nvPr userDrawn="1"/>
        </p:nvSpPr>
        <p:spPr>
          <a:xfrm>
            <a:off x="2499793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spestext</a:t>
            </a:r>
            <a:endParaRPr lang="nb-NO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157286-2074-4AB7-850D-1D7DDD1937DB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28608" y="6115219"/>
            <a:ext cx="1640683" cy="46166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z="1000" dirty="0">
                <a:solidFill>
                  <a:srgbClr val="00207D"/>
                </a:solidFill>
              </a:rPr>
              <a:t>Sparebank1.no</a:t>
            </a:r>
          </a:p>
          <a:p>
            <a:r>
              <a:rPr lang="en-US" sz="1000" dirty="0">
                <a:solidFill>
                  <a:srgbClr val="00207D"/>
                </a:solidFill>
              </a:rPr>
              <a:t>Facebook.com/sb1.no</a:t>
            </a:r>
          </a:p>
          <a:p>
            <a:r>
              <a:rPr lang="en-US" sz="1000" dirty="0">
                <a:solidFill>
                  <a:srgbClr val="00207D"/>
                </a:solidFill>
              </a:rPr>
              <a:t>@sb1ostlandet</a:t>
            </a:r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2DB8AE09-CD4A-45F7-950C-8FF439D201A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87C27FCF-BA41-1022-71D1-D381B219B9A9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2" name="logo_hvit" hidden="1">
            <a:extLst>
              <a:ext uri="{FF2B5EF4-FFF2-40B4-BE49-F238E27FC236}">
                <a16:creationId xmlns:a16="http://schemas.microsoft.com/office/drawing/2014/main" id="{E79F9F5E-5780-BD38-0C69-509F00DE8D40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65788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FD75FC5D-6F55-45E1-BA2B-4AD0149F66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0B5EFC96-E4EE-4FE8-B92E-AF05CED0CD1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93031825-807F-472B-AF88-ED6DD1CD310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D84F1E6E-F1BA-4219-A7A6-F50B1C2A1EE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background" hidden="1">
            <a:extLst>
              <a:ext uri="{FF2B5EF4-FFF2-40B4-BE49-F238E27FC236}">
                <a16:creationId xmlns:a16="http://schemas.microsoft.com/office/drawing/2014/main" id="{DC5899DE-05C4-455E-9646-5E8813CF7104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2" name="addin_logo" hidden="1">
            <a:extLst>
              <a:ext uri="{FF2B5EF4-FFF2-40B4-BE49-F238E27FC236}">
                <a16:creationId xmlns:a16="http://schemas.microsoft.com/office/drawing/2014/main" id="{BACC81DC-258C-49C1-8853-1FE54172C6A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087211ED-582A-466E-942B-54ECB00D05C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81C5F396-DEF8-49C6-8C44-EC521A266BB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19" name="logo_blaa" hidden="1">
            <a:extLst>
              <a:ext uri="{FF2B5EF4-FFF2-40B4-BE49-F238E27FC236}">
                <a16:creationId xmlns:a16="http://schemas.microsoft.com/office/drawing/2014/main" id="{38E06E76-23F2-8EB7-C4B6-68FBA8231B49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2" name="logo_hvit" hidden="1">
            <a:extLst>
              <a:ext uri="{FF2B5EF4-FFF2-40B4-BE49-F238E27FC236}">
                <a16:creationId xmlns:a16="http://schemas.microsoft.com/office/drawing/2014/main" id="{1CE0FDE8-FE84-C4A0-38E5-1979BB6309AB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91886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70448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H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10B15B95-7E4F-49BD-86F8-CD48FDE599A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7" name="addin_colorbox" hidden="1">
            <a:extLst>
              <a:ext uri="{FF2B5EF4-FFF2-40B4-BE49-F238E27FC236}">
                <a16:creationId xmlns:a16="http://schemas.microsoft.com/office/drawing/2014/main" id="{60F511CE-520D-4D58-978B-A742962CBB1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8309DFEF-9575-4318-B437-CBFF2E4AF83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9" name="addin_logo" hidden="1">
            <a:extLst>
              <a:ext uri="{FF2B5EF4-FFF2-40B4-BE49-F238E27FC236}">
                <a16:creationId xmlns:a16="http://schemas.microsoft.com/office/drawing/2014/main" id="{67036A9A-33C9-40AC-910B-E05856E9B22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09D6E0DE-92FA-4CF9-95A6-8B562FF54A9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CCFE1FC6-4BD8-45F8-B934-22BCC395D00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6A144EF-35F3-4471-82EB-B8135768E0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8" name="logo_blaa" hidden="1">
            <a:extLst>
              <a:ext uri="{FF2B5EF4-FFF2-40B4-BE49-F238E27FC236}">
                <a16:creationId xmlns:a16="http://schemas.microsoft.com/office/drawing/2014/main" id="{E8359437-33FC-46C9-C697-0ACEF148B62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1" name="logo_hvit" hidden="1">
            <a:extLst>
              <a:ext uri="{FF2B5EF4-FFF2-40B4-BE49-F238E27FC236}">
                <a16:creationId xmlns:a16="http://schemas.microsoft.com/office/drawing/2014/main" id="{723A2E89-DFFF-D0CF-2F33-7FF6359A5D63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10888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Levende bakgrunn 1" descr="Levende bakgrunn 1">
            <a:hlinkClick r:id="" action="ppaction://media"/>
            <a:extLst>
              <a:ext uri="{FF2B5EF4-FFF2-40B4-BE49-F238E27FC236}">
                <a16:creationId xmlns:a16="http://schemas.microsoft.com/office/drawing/2014/main" id="{902AFA99-DB3C-4EA2-8EB5-150A887A506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BDB705D4-301E-4A9A-B0CA-85132C564A97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53845398-E2D1-F27D-1E90-1B6F2DB9767A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2" name="logo_hvit" hidden="1">
            <a:extLst>
              <a:ext uri="{FF2B5EF4-FFF2-40B4-BE49-F238E27FC236}">
                <a16:creationId xmlns:a16="http://schemas.microsoft.com/office/drawing/2014/main" id="{DE617B9A-3AD3-D372-D25C-81718688DAD4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5678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37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4"/>
                  </p:tgtEl>
                </p:cond>
              </p:nextCondLst>
            </p:seq>
          </p:childTnLst>
        </p:cTn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Levende bakgrunn 3_loop" descr="Levende bakgrunn 3_loop">
            <a:hlinkClick r:id="" action="ppaction://media"/>
            <a:extLst>
              <a:ext uri="{FF2B5EF4-FFF2-40B4-BE49-F238E27FC236}">
                <a16:creationId xmlns:a16="http://schemas.microsoft.com/office/drawing/2014/main" id="{172DB947-6D78-4E6D-8CC2-57FA8919CB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5296276-6E45-4A1A-9B25-2A129A7D0E0C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5E24FCCD-F83F-78B0-D820-39CAE3C59DDE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3" name="logo_hvit" hidden="1">
            <a:extLst>
              <a:ext uri="{FF2B5EF4-FFF2-40B4-BE49-F238E27FC236}">
                <a16:creationId xmlns:a16="http://schemas.microsoft.com/office/drawing/2014/main" id="{703F355E-75A0-99E7-05C6-59EC466C346F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598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2042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5296276-6E45-4A1A-9B25-2A129A7D0E0C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3" name="Animasjon_Én klar tale_Small">
            <a:hlinkClick r:id="" action="ppaction://media"/>
            <a:extLst>
              <a:ext uri="{FF2B5EF4-FFF2-40B4-BE49-F238E27FC236}">
                <a16:creationId xmlns:a16="http://schemas.microsoft.com/office/drawing/2014/main" id="{C4E7F5B9-7211-4D5E-9660-E42C89413EBE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71970E4F-E284-FCFA-9F2B-E07A9150652C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4" name="logo_hvit" hidden="1">
            <a:extLst>
              <a:ext uri="{FF2B5EF4-FFF2-40B4-BE49-F238E27FC236}">
                <a16:creationId xmlns:a16="http://schemas.microsoft.com/office/drawing/2014/main" id="{F265D7AA-C097-69B5-84BF-B77AC9081244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273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4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5296276-6E45-4A1A-9B25-2A129A7D0E0C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3" name="Animasjon_Skape rom_Small">
            <a:hlinkClick r:id="" action="ppaction://media"/>
            <a:extLst>
              <a:ext uri="{FF2B5EF4-FFF2-40B4-BE49-F238E27FC236}">
                <a16:creationId xmlns:a16="http://schemas.microsoft.com/office/drawing/2014/main" id="{3334B1F6-4488-4769-89A9-8DE1F485628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80888" cy="6858000"/>
          </a:xfrm>
          <a:prstGeom prst="rect">
            <a:avLst/>
          </a:prstGeom>
        </p:spPr>
      </p:pic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3F150ABE-5C90-9C05-FD6E-927596F0DEE2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4" name="logo_hvit" hidden="1">
            <a:extLst>
              <a:ext uri="{FF2B5EF4-FFF2-40B4-BE49-F238E27FC236}">
                <a16:creationId xmlns:a16="http://schemas.microsoft.com/office/drawing/2014/main" id="{CC675B5C-8742-9082-6BBA-6DBC18D6085B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577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68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5296276-6E45-4A1A-9B25-2A129A7D0E0C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3" name="Sammen">
            <a:hlinkClick r:id="" action="ppaction://media"/>
            <a:extLst>
              <a:ext uri="{FF2B5EF4-FFF2-40B4-BE49-F238E27FC236}">
                <a16:creationId xmlns:a16="http://schemas.microsoft.com/office/drawing/2014/main" id="{E615C148-FB3A-4F63-88D8-B13C677070D5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C23ED816-DD3E-8078-627B-9B90700D34CE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4" name="logo_hvit" hidden="1">
            <a:extLst>
              <a:ext uri="{FF2B5EF4-FFF2-40B4-BE49-F238E27FC236}">
                <a16:creationId xmlns:a16="http://schemas.microsoft.com/office/drawing/2014/main" id="{7533BB1E-88B4-AF5E-2161-947F175BEA4B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664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296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Høyre)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59095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6" y="4019550"/>
            <a:ext cx="5559095" cy="1708150"/>
          </a:xfrm>
        </p:spPr>
        <p:txBody>
          <a:bodyPr/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/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/>
          <a:p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86664A-2EF2-43CB-A41F-676FF90963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19863" y="0"/>
            <a:ext cx="5672137" cy="6858000"/>
          </a:xfrm>
          <a:solidFill>
            <a:schemeClr val="accent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5B07D191-5165-41F0-9CA0-2D9A13FDE7A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48B445A7-2708-42E6-87CD-7BBE618FCB9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7AC23A7A-D883-4E96-90A1-C32758913D6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873DE8BD-C805-4280-9DAE-151FB5B3C74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B412EC9B-5739-4D54-AD85-89BAAB9B5DDC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DC8B4B2D-F48D-4D80-9952-A71F5977CA9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B4C581-6E50-4372-88CE-BC943FC4A2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3" y="301039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3A06D244-5520-41C4-B5E5-C0A0DF4B407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404A2A7E-79DA-4E12-8A5E-415AF8F61F7A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1" name="logo_blaa" hidden="1">
            <a:extLst>
              <a:ext uri="{FF2B5EF4-FFF2-40B4-BE49-F238E27FC236}">
                <a16:creationId xmlns:a16="http://schemas.microsoft.com/office/drawing/2014/main" id="{77159F25-5056-4420-9C68-CF2AF407FF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1735008" cy="396000"/>
          </a:xfrm>
          <a:prstGeom prst="rect">
            <a:avLst/>
          </a:prstGeom>
        </p:spPr>
      </p:pic>
      <p:pic>
        <p:nvPicPr>
          <p:cNvPr id="22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38CFD009-5768-460E-B1AC-408011B33D4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8342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(Bak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52763ED-CF70-4772-BB44-DC41205ED83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22415" y="2288796"/>
            <a:ext cx="5560333" cy="1938992"/>
          </a:xfrm>
        </p:spPr>
        <p:txBody>
          <a:bodyPr anchor="t">
            <a:noAutofit/>
          </a:bodyPr>
          <a:lstStyle>
            <a:lvl1pPr algn="ctr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2416" y="4338863"/>
            <a:ext cx="5560332" cy="1708150"/>
          </a:xfrm>
        </p:spPr>
        <p:txBody>
          <a:bodyPr anchor="t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8EE8199-86B9-4779-8FFF-E942D0D919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DC1C65D8-3327-4A0F-A16F-F092745C8256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E8AD148F-21A9-43AC-99D2-45BA43F665E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7418948F-C32B-4E23-AD6D-7451FE13932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9579EA3C-8EEC-474C-B378-87DCAEEDEED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170DAD57-37FB-44B9-AB07-2453F6D0428D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2128C84B-197A-4C62-8A3B-2AD4F5CFE1C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DefLogoHvit" hidden="1">
            <a:extLst>
              <a:ext uri="{FF2B5EF4-FFF2-40B4-BE49-F238E27FC236}">
                <a16:creationId xmlns:a16="http://schemas.microsoft.com/office/drawing/2014/main" id="{640345A6-8FBC-47B0-B8DD-333C5CBE232A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2" name="logo_blaa" hidden="1">
            <a:extLst>
              <a:ext uri="{FF2B5EF4-FFF2-40B4-BE49-F238E27FC236}">
                <a16:creationId xmlns:a16="http://schemas.microsoft.com/office/drawing/2014/main" id="{C8E9FEE7-2064-A960-463C-EC6810487966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2667000" cy="560754"/>
          </a:xfrm>
          <a:prstGeom prst="rect">
            <a:avLst/>
          </a:prstGeom>
        </p:spPr>
      </p:pic>
      <p:pic>
        <p:nvPicPr>
          <p:cNvPr id="26" name="logo_hvit" hidden="1">
            <a:extLst>
              <a:ext uri="{FF2B5EF4-FFF2-40B4-BE49-F238E27FC236}">
                <a16:creationId xmlns:a16="http://schemas.microsoft.com/office/drawing/2014/main" id="{4C172714-F6A9-38F6-AB00-C50EF09EBEA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1445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Høyre, sirkel)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/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/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B580BDA-A445-4961-A52C-2EBE49B4CCC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6888" y="0"/>
            <a:ext cx="6245112" cy="5842000"/>
          </a:xfrm>
          <a:custGeom>
            <a:avLst/>
            <a:gdLst>
              <a:gd name="connsiteX0" fmla="*/ 662015 w 6245112"/>
              <a:gd name="connsiteY0" fmla="*/ 0 h 5842000"/>
              <a:gd name="connsiteX1" fmla="*/ 6245112 w 6245112"/>
              <a:gd name="connsiteY1" fmla="*/ 0 h 5842000"/>
              <a:gd name="connsiteX2" fmla="*/ 6245112 w 6245112"/>
              <a:gd name="connsiteY2" fmla="*/ 4800066 h 5842000"/>
              <a:gd name="connsiteX3" fmla="*/ 6034914 w 6245112"/>
              <a:gd name="connsiteY3" fmla="*/ 4992696 h 5842000"/>
              <a:gd name="connsiteX4" fmla="*/ 3688613 w 6245112"/>
              <a:gd name="connsiteY4" fmla="*/ 5842000 h 5842000"/>
              <a:gd name="connsiteX5" fmla="*/ 0 w 6245112"/>
              <a:gd name="connsiteY5" fmla="*/ 2122714 h 5842000"/>
              <a:gd name="connsiteX6" fmla="*/ 629957 w 6245112"/>
              <a:gd name="connsiteY6" fmla="*/ 43226 h 58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5112" h="5842000">
                <a:moveTo>
                  <a:pt x="662015" y="0"/>
                </a:moveTo>
                <a:lnTo>
                  <a:pt x="6245112" y="0"/>
                </a:lnTo>
                <a:lnTo>
                  <a:pt x="6245112" y="4800066"/>
                </a:lnTo>
                <a:lnTo>
                  <a:pt x="6034914" y="4992696"/>
                </a:lnTo>
                <a:cubicBezTo>
                  <a:pt x="5397304" y="5523274"/>
                  <a:pt x="4579873" y="5842000"/>
                  <a:pt x="3688613" y="5842000"/>
                </a:cubicBezTo>
                <a:cubicBezTo>
                  <a:pt x="1651448" y="5842000"/>
                  <a:pt x="0" y="4176819"/>
                  <a:pt x="0" y="2122714"/>
                </a:cubicBezTo>
                <a:cubicBezTo>
                  <a:pt x="0" y="1352425"/>
                  <a:pt x="232235" y="636828"/>
                  <a:pt x="629957" y="43226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1F008BBA-689F-42DB-913E-0747FEF2C9A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F06E2D9-F070-4F9C-A1C6-8E39C20198F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background" hidden="1">
            <a:extLst>
              <a:ext uri="{FF2B5EF4-FFF2-40B4-BE49-F238E27FC236}">
                <a16:creationId xmlns:a16="http://schemas.microsoft.com/office/drawing/2014/main" id="{20F64EEC-DBFB-4FDA-B7D3-2BFC8275B17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B4FB7D30-A58A-4C12-BA63-D7BD6F30D44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4B4ECA20-A19D-4A30-BCBE-5B85C7B9069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E0A27905-A053-4BA2-B313-CC93DDB1A4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F09D0317-D37C-4CB3-ACEF-438C4B052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3" y="301039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62AE36E-9C13-4C22-9D9E-82AC72D8272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2336466F-2103-425B-87BE-18F3E57B9F81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1" name="logo_blaa" hidden="1">
            <a:extLst>
              <a:ext uri="{FF2B5EF4-FFF2-40B4-BE49-F238E27FC236}">
                <a16:creationId xmlns:a16="http://schemas.microsoft.com/office/drawing/2014/main" id="{3A8B3444-B055-4876-BCDF-4362969C75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1735008" cy="396000"/>
          </a:xfrm>
          <a:prstGeom prst="rect">
            <a:avLst/>
          </a:prstGeom>
        </p:spPr>
      </p:pic>
      <p:pic>
        <p:nvPicPr>
          <p:cNvPr id="25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83E64E77-BB9D-4FE1-B65D-5B5320D1E03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77978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Bak)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86664A-2EF2-43CB-A41F-676FF90963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/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/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/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04DA4748-4F43-4F1B-AAEB-2ED411E524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3" y="301039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C94E69BD-0A56-40F8-B68A-E3D823537E4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D1EDA5DC-474F-4369-8152-D656FEB6ADA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15396179-4FC6-46C7-82A4-0F380217A02E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5048B53-A7C6-4F18-96FB-30937FDBA63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5FF0EACC-C50A-44B5-8C4D-444ED159113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FCFE3393-AB3C-44EB-AFC3-F01B9D65C2D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49EF98D6-91C4-4ED8-AF8C-C1F414AB3967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4" name="logo_blaa" hidden="1">
            <a:extLst>
              <a:ext uri="{FF2B5EF4-FFF2-40B4-BE49-F238E27FC236}">
                <a16:creationId xmlns:a16="http://schemas.microsoft.com/office/drawing/2014/main" id="{CC0BB864-E400-4751-B88E-E80E8D85818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1735008" cy="396000"/>
          </a:xfrm>
          <a:prstGeom prst="rect">
            <a:avLst/>
          </a:prstGeom>
        </p:spPr>
      </p:pic>
      <p:pic>
        <p:nvPicPr>
          <p:cNvPr id="25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49AFA44E-E2BE-4A5D-9686-12875EAD4B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00606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(Bak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52763ED-CF70-4772-BB44-DC41205ED83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22415" y="2288796"/>
            <a:ext cx="5560333" cy="1938992"/>
          </a:xfrm>
        </p:spPr>
        <p:txBody>
          <a:bodyPr anchor="t">
            <a:noAutofit/>
          </a:bodyPr>
          <a:lstStyle>
            <a:lvl1pPr algn="ctr">
              <a:lnSpc>
                <a:spcPct val="90000"/>
              </a:lnSpc>
              <a:defRPr sz="7000"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2416" y="4338863"/>
            <a:ext cx="5560332" cy="1708150"/>
          </a:xfrm>
        </p:spPr>
        <p:txBody>
          <a:bodyPr anchor="t"/>
          <a:lstStyle>
            <a:lvl1pPr marL="0" indent="0" algn="ctr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/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/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8EE8199-86B9-4779-8FFF-E942D0D919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3" y="301039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DC1C65D8-3327-4A0F-A16F-F092745C8256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E8AD148F-21A9-43AC-99D2-45BA43F665E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7418948F-C32B-4E23-AD6D-7451FE13932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9579EA3C-8EEC-474C-B378-87DCAEEDEED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170DAD57-37FB-44B9-AB07-2453F6D0428D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2128C84B-197A-4C62-8A3B-2AD4F5CFE1C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DefLogoHvit" hidden="1">
            <a:extLst>
              <a:ext uri="{FF2B5EF4-FFF2-40B4-BE49-F238E27FC236}">
                <a16:creationId xmlns:a16="http://schemas.microsoft.com/office/drawing/2014/main" id="{640345A6-8FBC-47B0-B8DD-333C5CBE232A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2" name="logo_blaa" hidden="1">
            <a:extLst>
              <a:ext uri="{FF2B5EF4-FFF2-40B4-BE49-F238E27FC236}">
                <a16:creationId xmlns:a16="http://schemas.microsoft.com/office/drawing/2014/main" id="{7A452EB3-6E59-4392-B969-9B361F70E70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1735008" cy="396000"/>
          </a:xfrm>
          <a:prstGeom prst="rect">
            <a:avLst/>
          </a:prstGeom>
        </p:spPr>
      </p:pic>
      <p:pic>
        <p:nvPicPr>
          <p:cNvPr id="23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2713BDA1-0B11-4C32-B7E5-D8FE521D629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42611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002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A3DDD0D1-7607-4D30-B017-29557565B7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724148" y="0"/>
            <a:ext cx="9467852" cy="5341258"/>
          </a:xfrm>
          <a:custGeom>
            <a:avLst/>
            <a:gdLst>
              <a:gd name="connsiteX0" fmla="*/ 13212 w 9467852"/>
              <a:gd name="connsiteY0" fmla="*/ 0 h 5341258"/>
              <a:gd name="connsiteX1" fmla="*/ 9467852 w 9467852"/>
              <a:gd name="connsiteY1" fmla="*/ 0 h 5341258"/>
              <a:gd name="connsiteX2" fmla="*/ 9467852 w 9467852"/>
              <a:gd name="connsiteY2" fmla="*/ 2559831 h 5341258"/>
              <a:gd name="connsiteX3" fmla="*/ 9387475 w 9467852"/>
              <a:gd name="connsiteY3" fmla="*/ 2726709 h 5341258"/>
              <a:gd name="connsiteX4" fmla="*/ 4995184 w 9467852"/>
              <a:gd name="connsiteY4" fmla="*/ 5341258 h 5341258"/>
              <a:gd name="connsiteX5" fmla="*/ 0 w 9467852"/>
              <a:gd name="connsiteY5" fmla="*/ 345373 h 5341258"/>
              <a:gd name="connsiteX6" fmla="*/ 6500 w 9467852"/>
              <a:gd name="connsiteY6" fmla="*/ 88286 h 5341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7852" h="5341258">
                <a:moveTo>
                  <a:pt x="13212" y="0"/>
                </a:moveTo>
                <a:lnTo>
                  <a:pt x="9467852" y="0"/>
                </a:lnTo>
                <a:lnTo>
                  <a:pt x="9467852" y="2559831"/>
                </a:lnTo>
                <a:lnTo>
                  <a:pt x="9387475" y="2726709"/>
                </a:lnTo>
                <a:cubicBezTo>
                  <a:pt x="8541594" y="4284052"/>
                  <a:pt x="6891833" y="5341258"/>
                  <a:pt x="4995184" y="5341258"/>
                </a:cubicBezTo>
                <a:cubicBezTo>
                  <a:pt x="2236421" y="5341258"/>
                  <a:pt x="0" y="3104524"/>
                  <a:pt x="0" y="345373"/>
                </a:cubicBezTo>
                <a:cubicBezTo>
                  <a:pt x="0" y="259150"/>
                  <a:pt x="2184" y="173436"/>
                  <a:pt x="6500" y="88286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4826796" cy="5539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59F704-09FE-40D6-8B3A-C17C4994A6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354327" y="50800"/>
            <a:ext cx="6837674" cy="6807200"/>
          </a:xfrm>
          <a:custGeom>
            <a:avLst/>
            <a:gdLst>
              <a:gd name="connsiteX0" fmla="*/ 6805412 w 6837674"/>
              <a:gd name="connsiteY0" fmla="*/ 0 h 6807200"/>
              <a:gd name="connsiteX1" fmla="*/ 6837674 w 6837674"/>
              <a:gd name="connsiteY1" fmla="*/ 822 h 6807200"/>
              <a:gd name="connsiteX2" fmla="*/ 6837674 w 6837674"/>
              <a:gd name="connsiteY2" fmla="*/ 6807200 h 6807200"/>
              <a:gd name="connsiteX3" fmla="*/ 0 w 6837674"/>
              <a:gd name="connsiteY3" fmla="*/ 6807200 h 6807200"/>
              <a:gd name="connsiteX4" fmla="*/ 7582 w 6837674"/>
              <a:gd name="connsiteY4" fmla="*/ 6505088 h 6807200"/>
              <a:gd name="connsiteX5" fmla="*/ 6805412 w 6837674"/>
              <a:gd name="connsiteY5" fmla="*/ 0 h 680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37674" h="6807200">
                <a:moveTo>
                  <a:pt x="6805412" y="0"/>
                </a:moveTo>
                <a:lnTo>
                  <a:pt x="6837674" y="822"/>
                </a:lnTo>
                <a:lnTo>
                  <a:pt x="6837674" y="6807200"/>
                </a:lnTo>
                <a:lnTo>
                  <a:pt x="0" y="6807200"/>
                </a:lnTo>
                <a:lnTo>
                  <a:pt x="7582" y="6505088"/>
                </a:lnTo>
                <a:cubicBezTo>
                  <a:pt x="189887" y="2881528"/>
                  <a:pt x="3163658" y="0"/>
                  <a:pt x="680541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6821C79A-09F0-415C-ABA8-F68C1FBFB8B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68399" y="2474118"/>
            <a:ext cx="2082800" cy="2398823"/>
          </a:xfrm>
        </p:spPr>
        <p:txBody>
          <a:bodyPr/>
          <a:lstStyle>
            <a:lvl1pPr marL="0" indent="0">
              <a:spcBef>
                <a:spcPts val="1100"/>
              </a:spcBef>
              <a:buNone/>
              <a:defRPr sz="18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9" name="Text Placeholder 37">
            <a:extLst>
              <a:ext uri="{FF2B5EF4-FFF2-40B4-BE49-F238E27FC236}">
                <a16:creationId xmlns:a16="http://schemas.microsoft.com/office/drawing/2014/main" id="{9E87C030-834C-4DD1-ACF4-9E176AA7FB4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9635" y="2474118"/>
            <a:ext cx="308763" cy="2398823"/>
          </a:xfrm>
        </p:spPr>
        <p:txBody>
          <a:bodyPr/>
          <a:lstStyle>
            <a:lvl1pPr marL="0" indent="0">
              <a:spcBef>
                <a:spcPts val="1100"/>
              </a:spcBef>
              <a:buNone/>
              <a:defRPr sz="1800"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1A815E2-8392-4901-B494-FC72347B461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D4BFF5A0-D5F1-466F-8F8F-752A0CF7B9F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72703FF8-08E6-435B-BC69-B46322B3C88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86BCDAB5-94E1-4029-873A-6AAA0DF90FA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C420A2D1-A6FA-4817-8190-221B5B1AC7F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939DA551-001F-4769-BA32-95ED85E0D89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DA1777B3-13AE-4111-8C56-F4E837BF47B8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DefLogoHvit" hidden="1">
            <a:extLst>
              <a:ext uri="{FF2B5EF4-FFF2-40B4-BE49-F238E27FC236}">
                <a16:creationId xmlns:a16="http://schemas.microsoft.com/office/drawing/2014/main" id="{F74E35BB-3239-4B07-AEB8-6D0E5BDC1290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2" name="logo_blaa" hidden="1">
            <a:extLst>
              <a:ext uri="{FF2B5EF4-FFF2-40B4-BE49-F238E27FC236}">
                <a16:creationId xmlns:a16="http://schemas.microsoft.com/office/drawing/2014/main" id="{2A531C7A-9C23-4C9A-AFAE-243940B8105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4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724150EC-4CF1-4454-8385-2C9A2928348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47130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Bullets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59F704-09FE-40D6-8B3A-C17C4994A6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5999" y="0"/>
            <a:ext cx="6096001" cy="6858000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4826796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FF05E5-4985-4C05-9562-7EDA2EA06FC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9635" y="2474119"/>
            <a:ext cx="4283866" cy="2398823"/>
          </a:xfrm>
          <a:prstGeom prst="rect">
            <a:avLst/>
          </a:prstGeom>
        </p:spPr>
        <p:txBody>
          <a:bodyPr lIns="0" tIns="0" rIns="0" bIns="0"/>
          <a:lstStyle>
            <a:lvl1pPr marL="2880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1pPr>
            <a:lvl2pPr marL="7452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3pPr>
            <a:lvl4pPr marL="16380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4pPr>
            <a:lvl5pPr marL="20880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3D9509D-1F87-4CAD-BC94-A4964D7947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74D0B008-DE7E-47CB-875B-CF47AB39A06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1BD67AD2-2095-475B-A5AD-628752A6DD2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7E11CD56-B9C0-419B-8A36-BB48536752F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C0093EA9-B48E-408D-BF34-563BEACBA4D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C32B9E1F-DA12-4F53-805F-DC377D7702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D6980C80-9C4B-40C0-9EBB-CAF66C85577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18C0116C-C2F0-4272-B65F-C60714918693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DefLogoHvit" hidden="1">
            <a:extLst>
              <a:ext uri="{FF2B5EF4-FFF2-40B4-BE49-F238E27FC236}">
                <a16:creationId xmlns:a16="http://schemas.microsoft.com/office/drawing/2014/main" id="{B7BC6600-B857-4DD2-B7C9-0E004A6DAE2C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2" name="logo_blaa" hidden="1">
            <a:extLst>
              <a:ext uri="{FF2B5EF4-FFF2-40B4-BE49-F238E27FC236}">
                <a16:creationId xmlns:a16="http://schemas.microsoft.com/office/drawing/2014/main" id="{98517BE6-4574-4687-BEE0-D23F57BA04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4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D58FF98C-2A79-4910-967D-7D63B9B601C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64792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 med bilde (Høyre, sirkel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CDE15B9-BBD7-42A7-B667-4AABA43933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6118" y="0"/>
            <a:ext cx="6908798" cy="3589020"/>
          </a:xfrm>
          <a:custGeom>
            <a:avLst/>
            <a:gdLst>
              <a:gd name="connsiteX0" fmla="*/ 53674 w 6908798"/>
              <a:gd name="connsiteY0" fmla="*/ 0 h 3589020"/>
              <a:gd name="connsiteX1" fmla="*/ 6855124 w 6908798"/>
              <a:gd name="connsiteY1" fmla="*/ 0 h 3589020"/>
              <a:gd name="connsiteX2" fmla="*/ 6890963 w 6908798"/>
              <a:gd name="connsiteY2" fmla="*/ 208491 h 3589020"/>
              <a:gd name="connsiteX3" fmla="*/ 6908798 w 6908798"/>
              <a:gd name="connsiteY3" fmla="*/ 522069 h 3589020"/>
              <a:gd name="connsiteX4" fmla="*/ 3454399 w 6908798"/>
              <a:gd name="connsiteY4" fmla="*/ 3589020 h 3589020"/>
              <a:gd name="connsiteX5" fmla="*/ 0 w 6908798"/>
              <a:gd name="connsiteY5" fmla="*/ 522069 h 3589020"/>
              <a:gd name="connsiteX6" fmla="*/ 17835 w 6908798"/>
              <a:gd name="connsiteY6" fmla="*/ 208491 h 358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08798" h="3589020">
                <a:moveTo>
                  <a:pt x="53674" y="0"/>
                </a:moveTo>
                <a:lnTo>
                  <a:pt x="6855124" y="0"/>
                </a:lnTo>
                <a:lnTo>
                  <a:pt x="6890963" y="208491"/>
                </a:lnTo>
                <a:cubicBezTo>
                  <a:pt x="6902757" y="311593"/>
                  <a:pt x="6908798" y="416205"/>
                  <a:pt x="6908798" y="522069"/>
                </a:cubicBezTo>
                <a:cubicBezTo>
                  <a:pt x="6908798" y="2215899"/>
                  <a:pt x="5362211" y="3589020"/>
                  <a:pt x="3454399" y="3589020"/>
                </a:cubicBezTo>
                <a:cubicBezTo>
                  <a:pt x="1546587" y="3589020"/>
                  <a:pt x="0" y="2215899"/>
                  <a:pt x="0" y="522069"/>
                </a:cubicBezTo>
                <a:cubicBezTo>
                  <a:pt x="0" y="416205"/>
                  <a:pt x="6042" y="311593"/>
                  <a:pt x="17835" y="208491"/>
                </a:cubicBezTo>
                <a:close/>
              </a:path>
            </a:pathLst>
          </a:custGeom>
          <a:solidFill>
            <a:srgbClr val="F3DED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5C2C1ED-04B4-4BB0-995F-FBE0210316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89258" y="1"/>
            <a:ext cx="6502743" cy="5821831"/>
          </a:xfrm>
          <a:custGeom>
            <a:avLst/>
            <a:gdLst>
              <a:gd name="connsiteX0" fmla="*/ 641777 w 6502743"/>
              <a:gd name="connsiteY0" fmla="*/ 0 h 5821831"/>
              <a:gd name="connsiteX1" fmla="*/ 6502743 w 6502743"/>
              <a:gd name="connsiteY1" fmla="*/ 0 h 5821831"/>
              <a:gd name="connsiteX2" fmla="*/ 6502743 w 6502743"/>
              <a:gd name="connsiteY2" fmla="*/ 4581393 h 5821831"/>
              <a:gd name="connsiteX3" fmla="*/ 6368283 w 6502743"/>
              <a:gd name="connsiteY3" fmla="*/ 4729320 h 5821831"/>
              <a:gd name="connsiteX4" fmla="*/ 3730454 w 6502743"/>
              <a:gd name="connsiteY4" fmla="*/ 5821831 h 5821831"/>
              <a:gd name="connsiteX5" fmla="*/ 0 w 6502743"/>
              <a:gd name="connsiteY5" fmla="*/ 2091765 h 5821831"/>
              <a:gd name="connsiteX6" fmla="*/ 637103 w 6502743"/>
              <a:gd name="connsiteY6" fmla="*/ 6249 h 5821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02743" h="5821831">
                <a:moveTo>
                  <a:pt x="641777" y="0"/>
                </a:moveTo>
                <a:lnTo>
                  <a:pt x="6502743" y="0"/>
                </a:lnTo>
                <a:lnTo>
                  <a:pt x="6502743" y="4581393"/>
                </a:lnTo>
                <a:lnTo>
                  <a:pt x="6368283" y="4729320"/>
                </a:lnTo>
                <a:cubicBezTo>
                  <a:pt x="5693204" y="5404330"/>
                  <a:pt x="4760591" y="5821831"/>
                  <a:pt x="3730454" y="5821831"/>
                </a:cubicBezTo>
                <a:cubicBezTo>
                  <a:pt x="1670181" y="5821831"/>
                  <a:pt x="0" y="4151824"/>
                  <a:pt x="0" y="2091765"/>
                </a:cubicBezTo>
                <a:cubicBezTo>
                  <a:pt x="0" y="1319243"/>
                  <a:pt x="234870" y="601572"/>
                  <a:pt x="637103" y="6249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4952257"/>
            <a:ext cx="5912646" cy="969496"/>
          </a:xfrm>
        </p:spPr>
        <p:txBody>
          <a:bodyPr anchor="b">
            <a:noAutofit/>
          </a:bodyPr>
          <a:lstStyle>
            <a:lvl1pPr>
              <a:defRPr sz="7000">
                <a:solidFill>
                  <a:schemeClr val="accent2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kapittel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0EE1215-8BFC-4402-8AF8-777B7C8D6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6704" y="5976769"/>
            <a:ext cx="5912646" cy="432054"/>
          </a:xfrm>
        </p:spPr>
        <p:txBody>
          <a:bodyPr lIns="86400"/>
          <a:lstStyle>
            <a:lvl1pPr marL="0" indent="0" algn="l">
              <a:buNone/>
              <a:defRPr sz="1600">
                <a:solidFill>
                  <a:schemeClr val="accent2"/>
                </a:solidFill>
                <a:latin typeface="SpareBank 1 Light" panose="020B0500030000000000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E54C31-34D8-42E9-8DA6-17AEAE2973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6704" y="303620"/>
            <a:ext cx="1720380" cy="92333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accent2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7CC54D-2DC9-48B2-9120-D93F728550C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3B2FE8A8-D76E-449B-9226-24FC2258849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3E1D7BB8-B7E0-4C40-B081-6B8B4100FF7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61618193-91F3-4633-AF08-71C2D692B01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C1EA0EA8-9984-4892-BBD2-610B78FD97C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67C023F-45C9-4C10-A2C9-E1C6D66C3B1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76DF5DEA-4A8C-4684-BC3D-9C6A3A811E30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BA3F25F2-9508-42A0-840B-E7E985081894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pic>
        <p:nvPicPr>
          <p:cNvPr id="25" name="logo_blaa" hidden="1">
            <a:extLst>
              <a:ext uri="{FF2B5EF4-FFF2-40B4-BE49-F238E27FC236}">
                <a16:creationId xmlns:a16="http://schemas.microsoft.com/office/drawing/2014/main" id="{A5B266FE-E34E-459D-BC5D-579A95FFD8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6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27685B99-DBD0-42BF-9349-FCF2FDA747A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52586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 med bilde (Høyre nede, sirkel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D22E757-EFE7-4496-8FCA-C88C207173B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5310" y="0"/>
            <a:ext cx="5885376" cy="4521285"/>
          </a:xfrm>
          <a:custGeom>
            <a:avLst/>
            <a:gdLst>
              <a:gd name="connsiteX0" fmla="*/ 461865 w 5885376"/>
              <a:gd name="connsiteY0" fmla="*/ 0 h 4521285"/>
              <a:gd name="connsiteX1" fmla="*/ 5423511 w 5885376"/>
              <a:gd name="connsiteY1" fmla="*/ 0 h 4521285"/>
              <a:gd name="connsiteX2" fmla="*/ 5530209 w 5885376"/>
              <a:gd name="connsiteY2" fmla="*/ 175643 h 4521285"/>
              <a:gd name="connsiteX3" fmla="*/ 5885376 w 5885376"/>
              <a:gd name="connsiteY3" fmla="*/ 1578398 h 4521285"/>
              <a:gd name="connsiteX4" fmla="*/ 2942688 w 5885376"/>
              <a:gd name="connsiteY4" fmla="*/ 4521285 h 4521285"/>
              <a:gd name="connsiteX5" fmla="*/ 0 w 5885376"/>
              <a:gd name="connsiteY5" fmla="*/ 1578398 h 4521285"/>
              <a:gd name="connsiteX6" fmla="*/ 355167 w 5885376"/>
              <a:gd name="connsiteY6" fmla="*/ 175643 h 4521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85376" h="4521285">
                <a:moveTo>
                  <a:pt x="461865" y="0"/>
                </a:moveTo>
                <a:lnTo>
                  <a:pt x="5423511" y="0"/>
                </a:lnTo>
                <a:lnTo>
                  <a:pt x="5530209" y="175643"/>
                </a:lnTo>
                <a:cubicBezTo>
                  <a:pt x="5756715" y="592630"/>
                  <a:pt x="5885376" y="1070488"/>
                  <a:pt x="5885376" y="1578398"/>
                </a:cubicBezTo>
                <a:cubicBezTo>
                  <a:pt x="5885376" y="3203710"/>
                  <a:pt x="4567890" y="4521285"/>
                  <a:pt x="2942688" y="4521285"/>
                </a:cubicBezTo>
                <a:cubicBezTo>
                  <a:pt x="1317486" y="4521285"/>
                  <a:pt x="0" y="3203710"/>
                  <a:pt x="0" y="1578398"/>
                </a:cubicBezTo>
                <a:cubicBezTo>
                  <a:pt x="0" y="1070488"/>
                  <a:pt x="128661" y="592630"/>
                  <a:pt x="355167" y="175643"/>
                </a:cubicBezTo>
                <a:close/>
              </a:path>
            </a:pathLst>
          </a:custGeom>
          <a:solidFill>
            <a:srgbClr val="D9D8E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F73AC3B-A4A9-4926-98E2-D54C056F90E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34350" y="1270489"/>
            <a:ext cx="6757650" cy="5587512"/>
          </a:xfrm>
          <a:custGeom>
            <a:avLst/>
            <a:gdLst>
              <a:gd name="connsiteX0" fmla="*/ 3737429 w 6757650"/>
              <a:gd name="connsiteY0" fmla="*/ 0 h 5587512"/>
              <a:gd name="connsiteX1" fmla="*/ 6621411 w 6757650"/>
              <a:gd name="connsiteY1" fmla="*/ 1360397 h 5587512"/>
              <a:gd name="connsiteX2" fmla="*/ 6757650 w 6757650"/>
              <a:gd name="connsiteY2" fmla="*/ 1542630 h 5587512"/>
              <a:gd name="connsiteX3" fmla="*/ 6757650 w 6757650"/>
              <a:gd name="connsiteY3" fmla="*/ 5587512 h 5587512"/>
              <a:gd name="connsiteX4" fmla="*/ 491968 w 6757650"/>
              <a:gd name="connsiteY4" fmla="*/ 5587512 h 5587512"/>
              <a:gd name="connsiteX5" fmla="*/ 451088 w 6757650"/>
              <a:gd name="connsiteY5" fmla="*/ 5520206 h 5587512"/>
              <a:gd name="connsiteX6" fmla="*/ 0 w 6757650"/>
              <a:gd name="connsiteY6" fmla="*/ 3738307 h 5587512"/>
              <a:gd name="connsiteX7" fmla="*/ 3737429 w 6757650"/>
              <a:gd name="connsiteY7" fmla="*/ 0 h 5587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57650" h="5587512">
                <a:moveTo>
                  <a:pt x="3737429" y="0"/>
                </a:moveTo>
                <a:cubicBezTo>
                  <a:pt x="4898499" y="0"/>
                  <a:pt x="5935911" y="529568"/>
                  <a:pt x="6621411" y="1360397"/>
                </a:cubicBezTo>
                <a:lnTo>
                  <a:pt x="6757650" y="1542630"/>
                </a:lnTo>
                <a:lnTo>
                  <a:pt x="6757650" y="5587512"/>
                </a:lnTo>
                <a:lnTo>
                  <a:pt x="491968" y="5587512"/>
                </a:lnTo>
                <a:lnTo>
                  <a:pt x="451088" y="5520206"/>
                </a:lnTo>
                <a:cubicBezTo>
                  <a:pt x="163409" y="4990513"/>
                  <a:pt x="0" y="4383498"/>
                  <a:pt x="0" y="3738307"/>
                </a:cubicBezTo>
                <a:cubicBezTo>
                  <a:pt x="0" y="1673697"/>
                  <a:pt x="1673304" y="0"/>
                  <a:pt x="373742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E54C31-34D8-42E9-8DA6-17AEAE2973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6704" y="303620"/>
            <a:ext cx="1721015" cy="92333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accent2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1367221"/>
            <a:ext cx="5614196" cy="969496"/>
          </a:xfrm>
        </p:spPr>
        <p:txBody>
          <a:bodyPr anchor="ctr">
            <a:noAutofit/>
          </a:bodyPr>
          <a:lstStyle>
            <a:lvl1pPr>
              <a:defRPr sz="7000">
                <a:solidFill>
                  <a:schemeClr val="accent2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kapittel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0EE1215-8BFC-4402-8AF8-777B7C8D6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6704" y="2556833"/>
            <a:ext cx="5614196" cy="432054"/>
          </a:xfrm>
        </p:spPr>
        <p:txBody>
          <a:bodyPr lIns="86400"/>
          <a:lstStyle>
            <a:lvl1pPr marL="0" indent="0" algn="l">
              <a:buNone/>
              <a:defRPr sz="1600">
                <a:solidFill>
                  <a:schemeClr val="accent2"/>
                </a:solidFill>
                <a:latin typeface="SpareBank 1 Light" panose="020B0500030000000000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D3E1BA9-A908-4A48-A0A6-59B33BE169B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A1CC3DA1-6E86-4C3A-B22E-95896C5B284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AF58B9B1-B8B4-4686-95DA-24EC9795FA3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2F8CF7-A768-4FDA-B0E0-9D9BFBF0536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8EC9EC8E-BBE1-4C9B-B12F-C37E3754342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1D75CE87-EA9B-47E7-853C-FAC43232B17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F213F449-5667-488C-B67F-599AB7F3199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5" name="addin_image" hidden="1">
            <a:extLst>
              <a:ext uri="{FF2B5EF4-FFF2-40B4-BE49-F238E27FC236}">
                <a16:creationId xmlns:a16="http://schemas.microsoft.com/office/drawing/2014/main" id="{92472BBB-FF87-41B4-95E1-040D828D78AC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pic>
        <p:nvPicPr>
          <p:cNvPr id="26" name="logo_blaa" hidden="1">
            <a:extLst>
              <a:ext uri="{FF2B5EF4-FFF2-40B4-BE49-F238E27FC236}">
                <a16:creationId xmlns:a16="http://schemas.microsoft.com/office/drawing/2014/main" id="{5BEB4A14-EB37-4AD9-AB76-59D2D94DA05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7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8F4B4E17-BE15-48DE-96BB-67F3635A6A5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20306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 med bilde (Bak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59BB2EB-AC30-458C-8A51-78396746304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C295C1-C2D0-4B81-AFB0-17F1A5F19B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4394140" y="3746500"/>
            <a:ext cx="7797860" cy="3111500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E54C31-34D8-42E9-8DA6-17AEAE2973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6704" y="129452"/>
            <a:ext cx="4077436" cy="2308324"/>
          </a:xfrm>
        </p:spPr>
        <p:txBody>
          <a:bodyPr>
            <a:noAutofit/>
          </a:bodyPr>
          <a:lstStyle>
            <a:lvl1pPr marL="0" indent="0">
              <a:buNone/>
              <a:defRPr sz="15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5900" y="4231704"/>
            <a:ext cx="6681674" cy="96852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5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kapittel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0EE1215-8BFC-4402-8AF8-777B7C8D6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95900" y="5385925"/>
            <a:ext cx="6681674" cy="432054"/>
          </a:xfrm>
        </p:spPr>
        <p:txBody>
          <a:bodyPr lIns="86400"/>
          <a:lstStyle>
            <a:lvl1pPr marL="0" indent="0" algn="l">
              <a:buNone/>
              <a:defRPr sz="1600">
                <a:solidFill>
                  <a:schemeClr val="bg1"/>
                </a:solidFill>
                <a:latin typeface="SpareBank 1 Light" panose="020B0500030000000000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D686DF5-6783-49D1-A41E-12D23A566AC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59C43119-D1A7-415A-9B56-BB4C24B48D44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B3653F2D-47AC-43E1-A4F9-A6890FE46B6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B6546765-0756-4B17-9E12-187EA7A828E9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184A1887-91A2-4FF0-90C1-337F68E109C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F5BC4CF7-4561-4A71-AF04-561C00C4AD4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7863F087-9D6E-4220-8839-5C80E284A31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84A80EA-372E-4020-AAFF-EA2E11888C88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DE3EFA86-4F0D-4D8F-A8A2-EC95FFEC0C4F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6" name="logo_blaa" hidden="1">
            <a:extLst>
              <a:ext uri="{FF2B5EF4-FFF2-40B4-BE49-F238E27FC236}">
                <a16:creationId xmlns:a16="http://schemas.microsoft.com/office/drawing/2014/main" id="{78094E57-1498-4720-9192-5355193F415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7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23CE88B8-65DD-42E1-ACD5-E87DA43C93C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14396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tekst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7958934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89050" y="1695768"/>
            <a:ext cx="6986588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E6BAA0E-1B86-4920-A1B2-C297FAE1CDE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22FBF37D-5623-4C94-95F7-6B688EA5553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D34625E-682F-408E-9E14-44E86352C209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C088646E-0C10-49D0-94E8-3DB163FA2C4C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3FAED136-CB72-41E9-B69D-5D4265BCF28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030D9758-64E0-4C2C-B06A-CF33C984FB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1E9C160B-0092-42DA-9F24-0CD3E8D3FC8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AF8B621-0985-46F8-805B-7FF310B154A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89051" y="2216151"/>
            <a:ext cx="6986849" cy="333374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20" name="logo_blaa" hidden="1">
            <a:extLst>
              <a:ext uri="{FF2B5EF4-FFF2-40B4-BE49-F238E27FC236}">
                <a16:creationId xmlns:a16="http://schemas.microsoft.com/office/drawing/2014/main" id="{030202D7-8F02-4EB1-BFF5-18A58C24BB8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1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E4436885-A49E-4727-B5D9-3ECA58CD8E0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59618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tekst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03984" y="1695768"/>
            <a:ext cx="8237830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0D86FDA6-32A9-4186-AFB3-2EB461FDB82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0918BD1B-00D5-42DF-8027-0E271560CF36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0184F0D-42BD-4F7D-A667-285A14FFD8D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0FE005F2-94D0-48ED-8E0B-9E95AB0F7A8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DABB563F-C536-4E6B-8FAB-1661085EA02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4942B9FD-E5B3-491C-8BD8-EF75F4DDADF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53812EEB-671E-4246-B775-9DDF0E16485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7FE5726C-38E7-483F-A737-043513F3D34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3983" y="2216149"/>
            <a:ext cx="8237830" cy="381542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21" name="logo_blaa" hidden="1">
            <a:extLst>
              <a:ext uri="{FF2B5EF4-FFF2-40B4-BE49-F238E27FC236}">
                <a16:creationId xmlns:a16="http://schemas.microsoft.com/office/drawing/2014/main" id="{5128B4D9-0610-4A68-A377-C67E4909A52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3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B77F2A18-28AA-4D01-B10F-9A5B111D00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8272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002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A3DDD0D1-7607-4D30-B017-29557565B7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724148" y="0"/>
            <a:ext cx="9467852" cy="5341258"/>
          </a:xfrm>
          <a:custGeom>
            <a:avLst/>
            <a:gdLst>
              <a:gd name="connsiteX0" fmla="*/ 13212 w 9467852"/>
              <a:gd name="connsiteY0" fmla="*/ 0 h 5341258"/>
              <a:gd name="connsiteX1" fmla="*/ 9467852 w 9467852"/>
              <a:gd name="connsiteY1" fmla="*/ 0 h 5341258"/>
              <a:gd name="connsiteX2" fmla="*/ 9467852 w 9467852"/>
              <a:gd name="connsiteY2" fmla="*/ 2559831 h 5341258"/>
              <a:gd name="connsiteX3" fmla="*/ 9387475 w 9467852"/>
              <a:gd name="connsiteY3" fmla="*/ 2726709 h 5341258"/>
              <a:gd name="connsiteX4" fmla="*/ 4995184 w 9467852"/>
              <a:gd name="connsiteY4" fmla="*/ 5341258 h 5341258"/>
              <a:gd name="connsiteX5" fmla="*/ 0 w 9467852"/>
              <a:gd name="connsiteY5" fmla="*/ 345373 h 5341258"/>
              <a:gd name="connsiteX6" fmla="*/ 6500 w 9467852"/>
              <a:gd name="connsiteY6" fmla="*/ 88286 h 5341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7852" h="5341258">
                <a:moveTo>
                  <a:pt x="13212" y="0"/>
                </a:moveTo>
                <a:lnTo>
                  <a:pt x="9467852" y="0"/>
                </a:lnTo>
                <a:lnTo>
                  <a:pt x="9467852" y="2559831"/>
                </a:lnTo>
                <a:lnTo>
                  <a:pt x="9387475" y="2726709"/>
                </a:lnTo>
                <a:cubicBezTo>
                  <a:pt x="8541594" y="4284052"/>
                  <a:pt x="6891833" y="5341258"/>
                  <a:pt x="4995184" y="5341258"/>
                </a:cubicBezTo>
                <a:cubicBezTo>
                  <a:pt x="2236421" y="5341258"/>
                  <a:pt x="0" y="3104524"/>
                  <a:pt x="0" y="345373"/>
                </a:cubicBezTo>
                <a:cubicBezTo>
                  <a:pt x="0" y="259150"/>
                  <a:pt x="2184" y="173436"/>
                  <a:pt x="6500" y="88286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4826796" cy="5539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59F704-09FE-40D6-8B3A-C17C4994A6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354327" y="50800"/>
            <a:ext cx="6837674" cy="6807200"/>
          </a:xfrm>
          <a:custGeom>
            <a:avLst/>
            <a:gdLst>
              <a:gd name="connsiteX0" fmla="*/ 6805412 w 6837674"/>
              <a:gd name="connsiteY0" fmla="*/ 0 h 6807200"/>
              <a:gd name="connsiteX1" fmla="*/ 6837674 w 6837674"/>
              <a:gd name="connsiteY1" fmla="*/ 822 h 6807200"/>
              <a:gd name="connsiteX2" fmla="*/ 6837674 w 6837674"/>
              <a:gd name="connsiteY2" fmla="*/ 6807200 h 6807200"/>
              <a:gd name="connsiteX3" fmla="*/ 0 w 6837674"/>
              <a:gd name="connsiteY3" fmla="*/ 6807200 h 6807200"/>
              <a:gd name="connsiteX4" fmla="*/ 7582 w 6837674"/>
              <a:gd name="connsiteY4" fmla="*/ 6505088 h 6807200"/>
              <a:gd name="connsiteX5" fmla="*/ 6805412 w 6837674"/>
              <a:gd name="connsiteY5" fmla="*/ 0 h 680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37674" h="6807200">
                <a:moveTo>
                  <a:pt x="6805412" y="0"/>
                </a:moveTo>
                <a:lnTo>
                  <a:pt x="6837674" y="822"/>
                </a:lnTo>
                <a:lnTo>
                  <a:pt x="6837674" y="6807200"/>
                </a:lnTo>
                <a:lnTo>
                  <a:pt x="0" y="6807200"/>
                </a:lnTo>
                <a:lnTo>
                  <a:pt x="7582" y="6505088"/>
                </a:lnTo>
                <a:cubicBezTo>
                  <a:pt x="189887" y="2881528"/>
                  <a:pt x="3163658" y="0"/>
                  <a:pt x="680541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6821C79A-09F0-415C-ABA8-F68C1FBFB8B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68399" y="2474118"/>
            <a:ext cx="2082800" cy="2398823"/>
          </a:xfrm>
        </p:spPr>
        <p:txBody>
          <a:bodyPr/>
          <a:lstStyle>
            <a:lvl1pPr marL="0" indent="0">
              <a:spcBef>
                <a:spcPts val="110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9" name="Text Placeholder 37">
            <a:extLst>
              <a:ext uri="{FF2B5EF4-FFF2-40B4-BE49-F238E27FC236}">
                <a16:creationId xmlns:a16="http://schemas.microsoft.com/office/drawing/2014/main" id="{9E87C030-834C-4DD1-ACF4-9E176AA7FB4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9635" y="2474118"/>
            <a:ext cx="308763" cy="2398823"/>
          </a:xfrm>
        </p:spPr>
        <p:txBody>
          <a:bodyPr/>
          <a:lstStyle>
            <a:lvl1pPr marL="0" indent="0">
              <a:spcBef>
                <a:spcPts val="1100"/>
              </a:spcBef>
              <a:buNone/>
              <a:defRPr sz="18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1A815E2-8392-4901-B494-FC72347B461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D4BFF5A0-D5F1-466F-8F8F-752A0CF7B9F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72703FF8-08E6-435B-BC69-B46322B3C88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86BCDAB5-94E1-4029-873A-6AAA0DF90FA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C420A2D1-A6FA-4817-8190-221B5B1AC7F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939DA551-001F-4769-BA32-95ED85E0D89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DA1777B3-13AE-4111-8C56-F4E837BF47B8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DefLogoHvit" hidden="1">
            <a:extLst>
              <a:ext uri="{FF2B5EF4-FFF2-40B4-BE49-F238E27FC236}">
                <a16:creationId xmlns:a16="http://schemas.microsoft.com/office/drawing/2014/main" id="{F74E35BB-3239-4B07-AEB8-6D0E5BDC1290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C919F145-E35F-7EA6-E82D-389A777A9A41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8" name="logo_hvit" hidden="1">
            <a:extLst>
              <a:ext uri="{FF2B5EF4-FFF2-40B4-BE49-F238E27FC236}">
                <a16:creationId xmlns:a16="http://schemas.microsoft.com/office/drawing/2014/main" id="{BD1C3E5D-2BB4-1BB4-451B-424CDA1F44F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68077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tekst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88256" y="1695768"/>
            <a:ext cx="10553558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F8C82DF-AABB-4910-AAF7-401C50AD3C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607BA65C-409C-495A-A826-A9EC045259F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935AD07-038A-4101-8144-4B09CAED498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D357C967-5FB7-49AB-920C-1F53E57063A1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80019DA8-1266-4502-94C3-01CC09A2BD1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AA14CF9A-9970-43D9-92B0-5A729151571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E05A82BB-796B-4BD1-B6FA-858F3648C4E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1F1C9804-CF58-42D2-9F31-B4AF21DCFDA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88255" y="2216149"/>
            <a:ext cx="10553558" cy="381542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21" name="logo_blaa" hidden="1">
            <a:extLst>
              <a:ext uri="{FF2B5EF4-FFF2-40B4-BE49-F238E27FC236}">
                <a16:creationId xmlns:a16="http://schemas.microsoft.com/office/drawing/2014/main" id="{1265DC9C-446D-471C-9CC6-9F5EE7E90BF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2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8FD1F0E8-CDA5-4771-8B7B-8C051CCE196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02213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CF321DF-3A33-4CC1-B5B4-4FEC55D27EC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1306508"/>
            <a:ext cx="5588796" cy="553998"/>
          </a:xfrm>
        </p:spPr>
        <p:txBody>
          <a:bodyPr anchor="b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08CD17-0B38-4678-850D-681E5D48C3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466340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1985966"/>
            <a:ext cx="5589587" cy="341313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392F2E7-3B07-419D-B3BD-4D2B0A9B9A2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5912" y="233096"/>
            <a:ext cx="5589587" cy="341313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</a:lstStyle>
          <a:p>
            <a:pPr lvl="0"/>
            <a:r>
              <a:rPr lang="en-US" dirty="0" err="1"/>
              <a:t>Deskriptor</a:t>
            </a:r>
            <a:r>
              <a:rPr lang="en-US" dirty="0"/>
              <a:t> for </a:t>
            </a:r>
            <a:r>
              <a:rPr lang="en-US" dirty="0" err="1"/>
              <a:t>bilde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98628ED4-BEC0-4634-8E8D-6E8B1F0192A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A078E940-72D0-42A4-93F1-0ED159E95F5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D37F48B1-7ACE-4F4E-8A31-8FF315C54D1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5B8F4AEB-14D2-4216-AC0E-A75496A332B0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AC1F6EC1-046D-4D1B-ACDF-11EC0B74914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F98C4818-990B-4A03-A765-145459C6F9E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1DF3A714-D07A-4DCB-BE64-85ABAC3DA10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EA4FB2CF-9FF1-4850-8037-423724FE76A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577E44D0-6E18-4464-AA46-505BD8E43B3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3932BAD-EFF5-412E-A960-7D42348E32DD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24" name="logo_blaa" hidden="1">
            <a:extLst>
              <a:ext uri="{FF2B5EF4-FFF2-40B4-BE49-F238E27FC236}">
                <a16:creationId xmlns:a16="http://schemas.microsoft.com/office/drawing/2014/main" id="{CF3CA6BA-4CF6-4BDA-BB98-F2AEBC24FC2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5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D41B949A-DD21-4706-AC94-4A4CB79FE98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21277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)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6392DCB-D9F5-45C4-91D7-0EC3B95F3B0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999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5588796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5589587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B83287C-1B6D-42A7-B810-707CF60965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D52C60E8-6184-4E09-BFB9-914124AA58AF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4F4C1600-3FC9-4DE3-AE62-F70A46786D9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4F33EF02-B40B-40D4-BCF1-E6DD8A71FA09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3FDBBF1B-E505-4C56-B7B9-E7A60C1AB33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1A57301C-BDC3-4E80-B43E-AD9F9CA9505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D171F4EA-811C-4530-8202-F7F86CC5E3C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BED07210-E86B-4E5E-B346-60D1CAFCC62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4" name="DefLogoHvit" hidden="1">
            <a:extLst>
              <a:ext uri="{FF2B5EF4-FFF2-40B4-BE49-F238E27FC236}">
                <a16:creationId xmlns:a16="http://schemas.microsoft.com/office/drawing/2014/main" id="{BC632F05-D42F-449E-9874-9E9ECBD0D897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15EF44-DFF9-4153-9226-166E215234CD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25" name="logo_blaa" hidden="1">
            <a:extLst>
              <a:ext uri="{FF2B5EF4-FFF2-40B4-BE49-F238E27FC236}">
                <a16:creationId xmlns:a16="http://schemas.microsoft.com/office/drawing/2014/main" id="{FBF62A52-AAE8-470D-AE02-4297D9E0693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6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CA71E638-B679-48BB-9B35-B24BA56BFE3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00657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 nede, sirkel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EA8A8A2A-6A3B-44AB-8647-260EC7923E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86502" y="1033150"/>
            <a:ext cx="5905498" cy="5824850"/>
          </a:xfrm>
          <a:custGeom>
            <a:avLst/>
            <a:gdLst>
              <a:gd name="connsiteX0" fmla="*/ 3467099 w 5905498"/>
              <a:gd name="connsiteY0" fmla="*/ 0 h 5824850"/>
              <a:gd name="connsiteX1" fmla="*/ 5672496 w 5905498"/>
              <a:gd name="connsiteY1" fmla="*/ 791717 h 5824850"/>
              <a:gd name="connsiteX2" fmla="*/ 5905498 w 5905498"/>
              <a:gd name="connsiteY2" fmla="*/ 1003484 h 5824850"/>
              <a:gd name="connsiteX3" fmla="*/ 5905498 w 5905498"/>
              <a:gd name="connsiteY3" fmla="*/ 5824850 h 5824850"/>
              <a:gd name="connsiteX4" fmla="*/ 930186 w 5905498"/>
              <a:gd name="connsiteY4" fmla="*/ 5824850 h 5824850"/>
              <a:gd name="connsiteX5" fmla="*/ 791717 w 5905498"/>
              <a:gd name="connsiteY5" fmla="*/ 5672496 h 5824850"/>
              <a:gd name="connsiteX6" fmla="*/ 0 w 5905498"/>
              <a:gd name="connsiteY6" fmla="*/ 3467100 h 5824850"/>
              <a:gd name="connsiteX7" fmla="*/ 3467099 w 5905498"/>
              <a:gd name="connsiteY7" fmla="*/ 0 h 582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05498" h="5824850">
                <a:moveTo>
                  <a:pt x="3467099" y="0"/>
                </a:moveTo>
                <a:cubicBezTo>
                  <a:pt x="4304836" y="0"/>
                  <a:pt x="5073177" y="297115"/>
                  <a:pt x="5672496" y="791717"/>
                </a:cubicBezTo>
                <a:lnTo>
                  <a:pt x="5905498" y="1003484"/>
                </a:lnTo>
                <a:lnTo>
                  <a:pt x="5905498" y="5824850"/>
                </a:lnTo>
                <a:lnTo>
                  <a:pt x="930186" y="5824850"/>
                </a:lnTo>
                <a:lnTo>
                  <a:pt x="791717" y="5672496"/>
                </a:lnTo>
                <a:cubicBezTo>
                  <a:pt x="297115" y="5073177"/>
                  <a:pt x="0" y="4304836"/>
                  <a:pt x="0" y="3467100"/>
                </a:cubicBezTo>
                <a:cubicBezTo>
                  <a:pt x="0" y="1552273"/>
                  <a:pt x="1552273" y="0"/>
                  <a:pt x="3467099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5588796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5589587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832CADD-DDDE-4851-8BD1-99710FABB5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DFDA5939-391C-41D0-8F21-DD084424DB5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41D1CBCC-8E3A-47BE-982B-49EC2954D30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6793D32F-7B07-46C0-A33B-03EB8B18EE8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D8764E46-805A-407F-96C5-5A83D097195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204C9A61-3DE7-4BB7-AD6F-13FF004746F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1359F353-A991-43DF-8E05-D685ABD656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DA7D6A04-F3CF-46DC-9183-2173EDE5C745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E7E4907A-1620-4FFD-9C4A-1747B90959E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53839F9B-ED44-48F4-B5D6-98DC325BA7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286502" y="1033150"/>
            <a:ext cx="5905498" cy="5824850"/>
          </a:xfrm>
          <a:custGeom>
            <a:avLst/>
            <a:gdLst>
              <a:gd name="connsiteX0" fmla="*/ 3467099 w 5905498"/>
              <a:gd name="connsiteY0" fmla="*/ 0 h 5824850"/>
              <a:gd name="connsiteX1" fmla="*/ 5672496 w 5905498"/>
              <a:gd name="connsiteY1" fmla="*/ 791717 h 5824850"/>
              <a:gd name="connsiteX2" fmla="*/ 5905498 w 5905498"/>
              <a:gd name="connsiteY2" fmla="*/ 1003484 h 5824850"/>
              <a:gd name="connsiteX3" fmla="*/ 5905498 w 5905498"/>
              <a:gd name="connsiteY3" fmla="*/ 5824850 h 5824850"/>
              <a:gd name="connsiteX4" fmla="*/ 930186 w 5905498"/>
              <a:gd name="connsiteY4" fmla="*/ 5824850 h 5824850"/>
              <a:gd name="connsiteX5" fmla="*/ 791717 w 5905498"/>
              <a:gd name="connsiteY5" fmla="*/ 5672496 h 5824850"/>
              <a:gd name="connsiteX6" fmla="*/ 0 w 5905498"/>
              <a:gd name="connsiteY6" fmla="*/ 3467099 h 5824850"/>
              <a:gd name="connsiteX7" fmla="*/ 3467099 w 5905498"/>
              <a:gd name="connsiteY7" fmla="*/ 0 h 582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05498" h="5824850">
                <a:moveTo>
                  <a:pt x="3467099" y="0"/>
                </a:moveTo>
                <a:cubicBezTo>
                  <a:pt x="4304836" y="0"/>
                  <a:pt x="5073177" y="297115"/>
                  <a:pt x="5672496" y="791717"/>
                </a:cubicBezTo>
                <a:lnTo>
                  <a:pt x="5905498" y="1003484"/>
                </a:lnTo>
                <a:lnTo>
                  <a:pt x="5905498" y="5824850"/>
                </a:lnTo>
                <a:lnTo>
                  <a:pt x="930186" y="5824850"/>
                </a:lnTo>
                <a:lnTo>
                  <a:pt x="791717" y="5672496"/>
                </a:lnTo>
                <a:cubicBezTo>
                  <a:pt x="297115" y="5073177"/>
                  <a:pt x="0" y="4304836"/>
                  <a:pt x="0" y="3467099"/>
                </a:cubicBezTo>
                <a:cubicBezTo>
                  <a:pt x="0" y="1552273"/>
                  <a:pt x="1552273" y="0"/>
                  <a:pt x="346709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pic>
        <p:nvPicPr>
          <p:cNvPr id="24" name="logo_blaa" hidden="1">
            <a:extLst>
              <a:ext uri="{FF2B5EF4-FFF2-40B4-BE49-F238E27FC236}">
                <a16:creationId xmlns:a16="http://schemas.microsoft.com/office/drawing/2014/main" id="{67A3724A-72BC-42E3-8293-CEEEDB61EA7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5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C8640090-8497-49ED-8086-A1BA316162E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53204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 nede, sirkel, liten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6D115F76-499E-4BA8-ACCD-A3E76104C34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20288" y="2667000"/>
            <a:ext cx="4271712" cy="4191000"/>
          </a:xfrm>
          <a:custGeom>
            <a:avLst/>
            <a:gdLst>
              <a:gd name="connsiteX0" fmla="*/ 2654198 w 4271712"/>
              <a:gd name="connsiteY0" fmla="*/ 0 h 4191000"/>
              <a:gd name="connsiteX1" fmla="*/ 4138185 w 4271712"/>
              <a:gd name="connsiteY1" fmla="*/ 453313 h 4191000"/>
              <a:gd name="connsiteX2" fmla="*/ 4271712 w 4271712"/>
              <a:gd name="connsiteY2" fmla="*/ 553166 h 4191000"/>
              <a:gd name="connsiteX3" fmla="*/ 4271712 w 4271712"/>
              <a:gd name="connsiteY3" fmla="*/ 4191000 h 4191000"/>
              <a:gd name="connsiteX4" fmla="*/ 492669 w 4271712"/>
              <a:gd name="connsiteY4" fmla="*/ 4191000 h 4191000"/>
              <a:gd name="connsiteX5" fmla="*/ 453296 w 4271712"/>
              <a:gd name="connsiteY5" fmla="*/ 4138345 h 4191000"/>
              <a:gd name="connsiteX6" fmla="*/ 0 w 4271712"/>
              <a:gd name="connsiteY6" fmla="*/ 2654300 h 4191000"/>
              <a:gd name="connsiteX7" fmla="*/ 2654198 w 4271712"/>
              <a:gd name="connsiteY7" fmla="*/ 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71712" h="4191000">
                <a:moveTo>
                  <a:pt x="2654198" y="0"/>
                </a:moveTo>
                <a:cubicBezTo>
                  <a:pt x="3203901" y="0"/>
                  <a:pt x="3714573" y="167115"/>
                  <a:pt x="4138185" y="453313"/>
                </a:cubicBezTo>
                <a:lnTo>
                  <a:pt x="4271712" y="553166"/>
                </a:lnTo>
                <a:lnTo>
                  <a:pt x="4271712" y="4191000"/>
                </a:lnTo>
                <a:lnTo>
                  <a:pt x="492669" y="4191000"/>
                </a:lnTo>
                <a:lnTo>
                  <a:pt x="453296" y="4138345"/>
                </a:lnTo>
                <a:cubicBezTo>
                  <a:pt x="167108" y="3714716"/>
                  <a:pt x="0" y="3204024"/>
                  <a:pt x="0" y="2654300"/>
                </a:cubicBezTo>
                <a:cubicBezTo>
                  <a:pt x="0" y="1188371"/>
                  <a:pt x="1188325" y="0"/>
                  <a:pt x="2654198" y="0"/>
                </a:cubicBezTo>
                <a:close/>
              </a:path>
            </a:pathLst>
          </a:custGeom>
          <a:solidFill>
            <a:srgbClr val="002776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5588796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5589587" cy="430887"/>
          </a:xfrm>
        </p:spPr>
        <p:txBody>
          <a:bodyPr anchor="t"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832CADD-DDDE-4851-8BD1-99710FABB5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DFDA5939-391C-41D0-8F21-DD084424DB5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41D1CBCC-8E3A-47BE-982B-49EC2954D30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6793D32F-7B07-46C0-A33B-03EB8B18EE8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D8764E46-805A-407F-96C5-5A83D097195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204C9A61-3DE7-4BB7-AD6F-13FF004746F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1359F353-A991-43DF-8E05-D685ABD656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DA7D6A04-F3CF-46DC-9183-2173EDE5C745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E7E4907A-1620-4FFD-9C4A-1747B90959E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0041E85E-F425-444C-8552-A079AFFD576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920288" y="2667000"/>
            <a:ext cx="4271712" cy="4191000"/>
          </a:xfrm>
          <a:custGeom>
            <a:avLst/>
            <a:gdLst>
              <a:gd name="connsiteX0" fmla="*/ 2654198 w 4271712"/>
              <a:gd name="connsiteY0" fmla="*/ 0 h 4191000"/>
              <a:gd name="connsiteX1" fmla="*/ 4138185 w 4271712"/>
              <a:gd name="connsiteY1" fmla="*/ 453313 h 4191000"/>
              <a:gd name="connsiteX2" fmla="*/ 4271712 w 4271712"/>
              <a:gd name="connsiteY2" fmla="*/ 553166 h 4191000"/>
              <a:gd name="connsiteX3" fmla="*/ 4271712 w 4271712"/>
              <a:gd name="connsiteY3" fmla="*/ 4191000 h 4191000"/>
              <a:gd name="connsiteX4" fmla="*/ 492669 w 4271712"/>
              <a:gd name="connsiteY4" fmla="*/ 4191000 h 4191000"/>
              <a:gd name="connsiteX5" fmla="*/ 453296 w 4271712"/>
              <a:gd name="connsiteY5" fmla="*/ 4138345 h 4191000"/>
              <a:gd name="connsiteX6" fmla="*/ 0 w 4271712"/>
              <a:gd name="connsiteY6" fmla="*/ 2654300 h 4191000"/>
              <a:gd name="connsiteX7" fmla="*/ 2654198 w 4271712"/>
              <a:gd name="connsiteY7" fmla="*/ 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71712" h="4191000">
                <a:moveTo>
                  <a:pt x="2654198" y="0"/>
                </a:moveTo>
                <a:cubicBezTo>
                  <a:pt x="3203901" y="0"/>
                  <a:pt x="3714573" y="167115"/>
                  <a:pt x="4138185" y="453313"/>
                </a:cubicBezTo>
                <a:lnTo>
                  <a:pt x="4271712" y="553166"/>
                </a:lnTo>
                <a:lnTo>
                  <a:pt x="4271712" y="4191000"/>
                </a:lnTo>
                <a:lnTo>
                  <a:pt x="492669" y="4191000"/>
                </a:lnTo>
                <a:lnTo>
                  <a:pt x="453296" y="4138345"/>
                </a:lnTo>
                <a:cubicBezTo>
                  <a:pt x="167109" y="3714715"/>
                  <a:pt x="0" y="3204024"/>
                  <a:pt x="0" y="2654300"/>
                </a:cubicBezTo>
                <a:cubicBezTo>
                  <a:pt x="0" y="1188371"/>
                  <a:pt x="1188325" y="0"/>
                  <a:pt x="265419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24" name="logo_blaa" hidden="1">
            <a:extLst>
              <a:ext uri="{FF2B5EF4-FFF2-40B4-BE49-F238E27FC236}">
                <a16:creationId xmlns:a16="http://schemas.microsoft.com/office/drawing/2014/main" id="{1C7363BF-DD46-48AA-9DAD-00B3ACFB23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5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BC41B299-9C9A-4202-A313-FF0A80BABFD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18213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)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8B906783-82F7-4F06-A909-92414CF278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0808" y="0"/>
            <a:ext cx="8281191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3378995" cy="430887"/>
          </a:xfrm>
        </p:spPr>
        <p:txBody>
          <a:bodyPr anchor="t"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33789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7372FE5E-CAA5-4EE3-813D-053EE9B99F5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DE1AB944-55F7-447E-B1B0-7777CEB8144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3C3E6D96-3091-423E-B530-6AA7F835351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865A7262-53CB-411A-B2DD-5D7B09996073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4363F96A-DC31-41C7-A2CA-C1A3F458F8B1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CE2A7C8C-4183-49E0-A81F-A87C95D40EC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8B17877C-C149-4333-893F-07266CF802A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139D70A2-5F98-4E2C-B189-EE2B4FDCCAD5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D390523-127C-4A96-AEC0-9D4C14B03B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3378203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3041F739-C6C8-45A7-9C0D-685B68A2F2DB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2E16B7E-1832-4A1C-881A-B121241BBC9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11600" y="0"/>
            <a:ext cx="82804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26" name="logo_blaa" hidden="1">
            <a:extLst>
              <a:ext uri="{FF2B5EF4-FFF2-40B4-BE49-F238E27FC236}">
                <a16:creationId xmlns:a16="http://schemas.microsoft.com/office/drawing/2014/main" id="{E6A91A12-217A-41B3-B7F8-2CB1195EDD4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7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CF401495-9357-4FA1-B9B0-EC51595616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8920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innhold (Høyre) 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0D26DCF0-7676-47A4-8E76-C67AEF8C71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0808" y="0"/>
            <a:ext cx="8281191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3378995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33789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F9902AC6-0866-4866-BEB8-3EF36AE083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86E4A578-2604-4EF1-A112-B6EEBB1650DF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53BD8B14-1016-4228-ABB8-79ED792B2B6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9D41E301-6567-4BD4-9BF8-E8D9532FBFF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DBE22B59-58E2-4A77-A9D7-CC7F38F62F49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24E36FD8-70FB-44F5-8C26-61B5CE08134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8BD79908-CF76-4F3E-A9EC-C9C524CEFC5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A2CF66BD-25DA-4FF6-9589-251CB8ECC82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4914B5D-5A23-45A9-B953-59A3D98BDE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3378203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A9A38E28-BCBE-41B5-9F74-A416D15CB715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4013F9-6889-481B-A280-1985D2203EEC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3911600" y="0"/>
            <a:ext cx="8280400" cy="685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26" name="logo_blaa" hidden="1">
            <a:extLst>
              <a:ext uri="{FF2B5EF4-FFF2-40B4-BE49-F238E27FC236}">
                <a16:creationId xmlns:a16="http://schemas.microsoft.com/office/drawing/2014/main" id="{7FAF83E7-4870-4745-8C9F-B73CE88646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7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6D7A9779-9D38-404F-A2CB-B3228F1341F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54026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innhold (Bak)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1BDE19F-A62C-4B9A-AABE-67AEE005F07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1306508"/>
            <a:ext cx="5588796" cy="553998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08CD17-0B38-4678-850D-681E5D48C3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466340"/>
            <a:ext cx="5588796" cy="3685222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1985966"/>
            <a:ext cx="5589587" cy="341313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EBDE9C1-A6AF-42BB-AD3E-EC5033DF7D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E881F7AB-121D-483A-BEEB-047633213E2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1F051DA2-02ED-4843-9F7B-A5F1B5FA1D47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737967A0-F11A-4DEB-8752-F51E6C30160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0BCBC18E-CFC3-4CBA-A77B-FCEE20A0D0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DAE9B024-9850-4644-969C-845FA2224C3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4C82FF42-4159-46F4-9A84-97CFCB2094A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A9A00501-7D4B-4A4A-9C7E-528975384D02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7EA08099-CF4B-47D5-AE1A-473F68B466AF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3" name="logo_blaa" hidden="1">
            <a:extLst>
              <a:ext uri="{FF2B5EF4-FFF2-40B4-BE49-F238E27FC236}">
                <a16:creationId xmlns:a16="http://schemas.microsoft.com/office/drawing/2014/main" id="{D222CCC4-5967-425C-B233-DC5D8D13AD9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4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358092CA-F736-48B0-A87F-642C47EF0B0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87168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1BDE19F-A62C-4B9A-AABE-67AEE005F07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D5AB121-B777-4009-80C1-75B8761B0C1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138087C-6F4A-4D28-8FDF-F085F699A2C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6706D5D-D638-4DB1-9AC8-CD8309B275C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background" hidden="1">
            <a:extLst>
              <a:ext uri="{FF2B5EF4-FFF2-40B4-BE49-F238E27FC236}">
                <a16:creationId xmlns:a16="http://schemas.microsoft.com/office/drawing/2014/main" id="{06DEFD4A-FB2F-46A7-8EFB-9873F806D4F0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5848A094-42A0-4FA4-B133-A3B7A7B39B0F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15ECCDD0-B9DF-490B-8070-810E4261072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20FD1917-1441-4832-9EC0-0D1DABCB58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757AAD15-4D1F-4961-B536-5ECA1FDCBEF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8" name="DefLogoHvit" hidden="1">
            <a:extLst>
              <a:ext uri="{FF2B5EF4-FFF2-40B4-BE49-F238E27FC236}">
                <a16:creationId xmlns:a16="http://schemas.microsoft.com/office/drawing/2014/main" id="{9207E573-3D16-4F72-83D9-249A5604221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9" name="logo_blaa" hidden="1">
            <a:extLst>
              <a:ext uri="{FF2B5EF4-FFF2-40B4-BE49-F238E27FC236}">
                <a16:creationId xmlns:a16="http://schemas.microsoft.com/office/drawing/2014/main" id="{7B356965-9FE9-4105-8480-8107EA1B8F5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0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AD47257E-10C4-4B1A-BEF8-6BCF0853CA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01687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llomtittel, tekst og innhold (Bak)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2C17378-974D-4128-8D5E-84FC65123272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C295C1-C2D0-4B81-AFB0-17F1A5F19B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5326380" y="3247853"/>
            <a:ext cx="6865620" cy="3610147"/>
          </a:xfrm>
          <a:prstGeom prst="round1Rect">
            <a:avLst>
              <a:gd name="adj" fmla="val 39195"/>
            </a:avLst>
          </a:prstGeom>
          <a:solidFill>
            <a:srgbClr val="FDF3F2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69970" y="4257902"/>
            <a:ext cx="4607604" cy="394054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4B4CF32-5696-483C-9E36-AECAC554DB5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3718968E-017F-4F68-8388-B2E458897EF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95677D21-AB8E-4EAE-937F-550723AA605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0DA2D151-1A8B-4DE7-921B-4788399FB6A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A63A0026-16AF-4E57-831A-D74BAFCE142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5E142F18-FA97-44F7-B279-1943E3BC51B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366C5A4A-E52D-4E55-82D4-F2A3DEF0988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C71F8D16-8429-46C8-A55F-53113E72FB3A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F6D5F194-6865-43D1-A2E9-4920E38BE8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69971" y="4792663"/>
            <a:ext cx="4607718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25" name="logo_blaa" hidden="1">
            <a:extLst>
              <a:ext uri="{FF2B5EF4-FFF2-40B4-BE49-F238E27FC236}">
                <a16:creationId xmlns:a16="http://schemas.microsoft.com/office/drawing/2014/main" id="{C10D3FA7-3890-4B7A-A89F-436FC9A2D69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6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91B0AE87-2A1D-4279-8861-AF847FA26F7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9960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Bullets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59F704-09FE-40D6-8B3A-C17C4994A6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5999" y="0"/>
            <a:ext cx="6096001" cy="6858000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4826796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FF05E5-4985-4C05-9562-7EDA2EA06FC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9635" y="2474119"/>
            <a:ext cx="4283866" cy="2398823"/>
          </a:xfrm>
          <a:prstGeom prst="rect">
            <a:avLst/>
          </a:prstGeom>
        </p:spPr>
        <p:txBody>
          <a:bodyPr lIns="0" tIns="0" rIns="0" bIns="0"/>
          <a:lstStyle>
            <a:lvl1pPr marL="2880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1pPr>
            <a:lvl2pPr marL="7452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3pPr>
            <a:lvl4pPr marL="16380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4pPr>
            <a:lvl5pPr marL="20880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3D9509D-1F87-4CAD-BC94-A4964D7947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74D0B008-DE7E-47CB-875B-CF47AB39A06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1BD67AD2-2095-475B-A5AD-628752A6DD2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7E11CD56-B9C0-419B-8A36-BB48536752F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C0093EA9-B48E-408D-BF34-563BEACBA4D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C32B9E1F-DA12-4F53-805F-DC377D7702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D6980C80-9C4B-40C0-9EBB-CAF66C85577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18C0116C-C2F0-4272-B65F-C60714918693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DefLogoHvit" hidden="1">
            <a:extLst>
              <a:ext uri="{FF2B5EF4-FFF2-40B4-BE49-F238E27FC236}">
                <a16:creationId xmlns:a16="http://schemas.microsoft.com/office/drawing/2014/main" id="{B7BC6600-B857-4DD2-B7C9-0E004A6DAE2C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0633A360-B8D2-6CF2-7C19-4DC41E0BB8AA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4" name="logo_hvit" hidden="1">
            <a:extLst>
              <a:ext uri="{FF2B5EF4-FFF2-40B4-BE49-F238E27FC236}">
                <a16:creationId xmlns:a16="http://schemas.microsoft.com/office/drawing/2014/main" id="{EBCB005C-CB70-F944-D341-9321FB1E44B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05653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8E7BC67-93D3-4DE1-9069-B45F8FFA378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Content Placeholder 5" hidden="1">
            <a:extLst>
              <a:ext uri="{FF2B5EF4-FFF2-40B4-BE49-F238E27FC236}">
                <a16:creationId xmlns:a16="http://schemas.microsoft.com/office/drawing/2014/main" id="{AF9CB0EE-AD99-4A11-AADA-C4A4009C79B3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0" y="0"/>
            <a:ext cx="6096000" cy="685800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00C112-E41D-4154-A09B-F17BA74EE5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4419600" y="4651956"/>
            <a:ext cx="7772400" cy="2206044"/>
          </a:xfrm>
          <a:custGeom>
            <a:avLst/>
            <a:gdLst>
              <a:gd name="connsiteX0" fmla="*/ 6126453 w 7772400"/>
              <a:gd name="connsiteY0" fmla="*/ 0 h 2206044"/>
              <a:gd name="connsiteX1" fmla="*/ 0 w 7772400"/>
              <a:gd name="connsiteY1" fmla="*/ 0 h 2206044"/>
              <a:gd name="connsiteX2" fmla="*/ 0 w 7772400"/>
              <a:gd name="connsiteY2" fmla="*/ 2206044 h 2206044"/>
              <a:gd name="connsiteX3" fmla="*/ 7772400 w 7772400"/>
              <a:gd name="connsiteY3" fmla="*/ 2206044 h 2206044"/>
              <a:gd name="connsiteX4" fmla="*/ 7772400 w 7772400"/>
              <a:gd name="connsiteY4" fmla="*/ 1645947 h 2206044"/>
              <a:gd name="connsiteX5" fmla="*/ 6126453 w 7772400"/>
              <a:gd name="connsiteY5" fmla="*/ 0 h 2206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72400" h="2206044">
                <a:moveTo>
                  <a:pt x="6126453" y="0"/>
                </a:moveTo>
                <a:lnTo>
                  <a:pt x="0" y="0"/>
                </a:lnTo>
                <a:lnTo>
                  <a:pt x="0" y="2206044"/>
                </a:lnTo>
                <a:lnTo>
                  <a:pt x="7772400" y="2206044"/>
                </a:lnTo>
                <a:lnTo>
                  <a:pt x="7772400" y="1645947"/>
                </a:lnTo>
                <a:cubicBezTo>
                  <a:pt x="7772400" y="736916"/>
                  <a:pt x="7035484" y="0"/>
                  <a:pt x="6126453" y="0"/>
                </a:cubicBezTo>
                <a:close/>
              </a:path>
            </a:pathLst>
          </a:custGeom>
          <a:solidFill>
            <a:srgbClr val="D8D8E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5347826" cy="553998"/>
          </a:xfrm>
        </p:spPr>
        <p:txBody>
          <a:bodyPr anchor="ctr"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5913" y="853321"/>
            <a:ext cx="5348287" cy="553998"/>
          </a:xfrm>
        </p:spPr>
        <p:txBody>
          <a:bodyPr/>
          <a:lstStyle>
            <a:lvl1pPr marL="0" indent="0">
              <a:buNone/>
              <a:defRPr sz="1600"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85763" y="723901"/>
            <a:ext cx="4607762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CE135E41-F011-45ED-BC06-DEDEFCACBB2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C9EA006E-2080-4935-92C8-631EA67245C5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3" name="addin_colorbox" hidden="1">
            <a:extLst>
              <a:ext uri="{FF2B5EF4-FFF2-40B4-BE49-F238E27FC236}">
                <a16:creationId xmlns:a16="http://schemas.microsoft.com/office/drawing/2014/main" id="{2FC96FE8-006C-4558-8BA8-53291D4137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4" name="addin_background" hidden="1">
            <a:extLst>
              <a:ext uri="{FF2B5EF4-FFF2-40B4-BE49-F238E27FC236}">
                <a16:creationId xmlns:a16="http://schemas.microsoft.com/office/drawing/2014/main" id="{366A9094-1F57-4D0B-A622-EDA13749F054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5" name="addin_logo" hidden="1">
            <a:extLst>
              <a:ext uri="{FF2B5EF4-FFF2-40B4-BE49-F238E27FC236}">
                <a16:creationId xmlns:a16="http://schemas.microsoft.com/office/drawing/2014/main" id="{34FCEA06-8CAE-4214-8ECB-62EE1CDCC7A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title" hidden="1">
            <a:extLst>
              <a:ext uri="{FF2B5EF4-FFF2-40B4-BE49-F238E27FC236}">
                <a16:creationId xmlns:a16="http://schemas.microsoft.com/office/drawing/2014/main" id="{66A5CB83-A611-486A-A11E-524EC248C2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7" name="addin_text" hidden="1">
            <a:extLst>
              <a:ext uri="{FF2B5EF4-FFF2-40B4-BE49-F238E27FC236}">
                <a16:creationId xmlns:a16="http://schemas.microsoft.com/office/drawing/2014/main" id="{FF933DB9-766C-426B-B11E-45A6BA6095A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Text Placeholder 1" hidden="1">
            <a:extLst>
              <a:ext uri="{FF2B5EF4-FFF2-40B4-BE49-F238E27FC236}">
                <a16:creationId xmlns:a16="http://schemas.microsoft.com/office/drawing/2014/main" id="{4475D5B4-B04D-492A-BF9B-685A53F0430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15913" y="853321"/>
            <a:ext cx="5348287" cy="55399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2" name="Text Placeholder 1">
            <a:extLst>
              <a:ext uri="{FF2B5EF4-FFF2-40B4-BE49-F238E27FC236}">
                <a16:creationId xmlns:a16="http://schemas.microsoft.com/office/drawing/2014/main" id="{794821EF-9AF2-4167-BA65-8EAF8E8DEA4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085763" y="1196836"/>
            <a:ext cx="4607718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3" name="Text Placeholder 1">
            <a:extLst>
              <a:ext uri="{FF2B5EF4-FFF2-40B4-BE49-F238E27FC236}">
                <a16:creationId xmlns:a16="http://schemas.microsoft.com/office/drawing/2014/main" id="{CA42C7DF-ED2B-443A-9FB1-BC0F52E371D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976813" y="5544693"/>
            <a:ext cx="7000761" cy="59054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0" name="logo_blaa" hidden="1">
            <a:extLst>
              <a:ext uri="{FF2B5EF4-FFF2-40B4-BE49-F238E27FC236}">
                <a16:creationId xmlns:a16="http://schemas.microsoft.com/office/drawing/2014/main" id="{D049CE4C-480D-40DF-9F8E-2098B28A82F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31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82E829AC-0CCB-4698-B7B6-44D5505E72C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91017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Høyre og venstre)">
    <p:bg>
      <p:bgPr>
        <a:solidFill>
          <a:srgbClr val="FBF2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FD96C6F-2B95-4858-B2FD-E57FE81F27C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736080" y="0"/>
            <a:ext cx="545592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6F8DC9D5-24ED-458C-90BB-732F5F9D6BC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0" y="0"/>
            <a:ext cx="6587243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9CB0EE-AD99-4A11-AADA-C4A4009C79B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-1" y="0"/>
            <a:ext cx="658724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00C112-E41D-4154-A09B-F17BA74EE5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5341257" y="3730171"/>
            <a:ext cx="6850742" cy="3127829"/>
          </a:xfrm>
          <a:prstGeom prst="round1Rect">
            <a:avLst>
              <a:gd name="adj" fmla="val 44896"/>
            </a:avLst>
          </a:prstGeom>
          <a:solidFill>
            <a:srgbClr val="D8D8E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5347826" cy="553998"/>
          </a:xfrm>
        </p:spPr>
        <p:txBody>
          <a:bodyPr anchor="ctr"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5913" y="853321"/>
            <a:ext cx="5348287" cy="553998"/>
          </a:xfrm>
        </p:spPr>
        <p:txBody>
          <a:bodyPr/>
          <a:lstStyle>
            <a:lvl1pPr marL="0" indent="0">
              <a:buNone/>
              <a:defRPr sz="1600"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85763" y="4729846"/>
            <a:ext cx="4891810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46F41208-5C1D-4DD4-8A50-29FFF2F2242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736080" y="0"/>
            <a:ext cx="5455919" cy="3730171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744182F-BA54-48B0-B256-4947640EBAB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addin_colorlist" hidden="1">
            <a:extLst>
              <a:ext uri="{FF2B5EF4-FFF2-40B4-BE49-F238E27FC236}">
                <a16:creationId xmlns:a16="http://schemas.microsoft.com/office/drawing/2014/main" id="{C273E00C-50FC-4C09-837B-667751499D42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2" name="addin_colorbox" hidden="1">
            <a:extLst>
              <a:ext uri="{FF2B5EF4-FFF2-40B4-BE49-F238E27FC236}">
                <a16:creationId xmlns:a16="http://schemas.microsoft.com/office/drawing/2014/main" id="{1136DBA2-434B-4983-86EB-77F8FA3578A7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EEA2228F-8BF9-4C93-9035-4B6EF6481C8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4" name="addin_logo" hidden="1">
            <a:extLst>
              <a:ext uri="{FF2B5EF4-FFF2-40B4-BE49-F238E27FC236}">
                <a16:creationId xmlns:a16="http://schemas.microsoft.com/office/drawing/2014/main" id="{BF822C3C-A96D-4C31-9A95-60C5B3D4B251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addin_title" hidden="1">
            <a:extLst>
              <a:ext uri="{FF2B5EF4-FFF2-40B4-BE49-F238E27FC236}">
                <a16:creationId xmlns:a16="http://schemas.microsoft.com/office/drawing/2014/main" id="{E919718A-FF57-49A0-9771-B176C0DE0BB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6" name="addin_text" hidden="1">
            <a:extLst>
              <a:ext uri="{FF2B5EF4-FFF2-40B4-BE49-F238E27FC236}">
                <a16:creationId xmlns:a16="http://schemas.microsoft.com/office/drawing/2014/main" id="{84AA82A5-69A9-42C5-A00A-E051759316E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B4593EE2-8E41-475D-BA91-5A5948E62F1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085762" y="5202781"/>
            <a:ext cx="4891811" cy="82515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0" name="logo_blaa" hidden="1">
            <a:extLst>
              <a:ext uri="{FF2B5EF4-FFF2-40B4-BE49-F238E27FC236}">
                <a16:creationId xmlns:a16="http://schemas.microsoft.com/office/drawing/2014/main" id="{B712C177-4031-48DA-82E3-88BE6F4B0E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31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305B1834-9646-42E5-A7B8-F2738995C7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29901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Venst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9CB0EE-AD99-4A11-AADA-C4A4009C79B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0" y="0"/>
            <a:ext cx="7353300" cy="6858000"/>
          </a:xfrm>
          <a:prstGeom prst="round1Rect">
            <a:avLst>
              <a:gd name="adj" fmla="val 38976"/>
            </a:avLst>
          </a:prstGeom>
          <a:solidFill>
            <a:srgbClr val="002060"/>
          </a:solidFill>
        </p:spPr>
        <p:txBody>
          <a:bodyPr lIns="0" tIns="0" rIns="0" bIns="0"/>
          <a:lstStyle>
            <a:lvl1pPr marL="0" indent="0">
              <a:buNone/>
              <a:defRPr/>
            </a:lvl1pPr>
            <a:lvl5pPr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00C112-E41D-4154-A09B-F17BA74EE5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5341257" y="3232150"/>
            <a:ext cx="6850742" cy="3625851"/>
          </a:xfrm>
          <a:prstGeom prst="round1Rect">
            <a:avLst>
              <a:gd name="adj" fmla="val 38591"/>
            </a:avLst>
          </a:prstGeom>
          <a:solidFill>
            <a:srgbClr val="FDF3F2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67069" y="2090825"/>
            <a:ext cx="4210504" cy="553998"/>
          </a:xfrm>
        </p:spPr>
        <p:txBody>
          <a:bodyPr anchor="b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767068" y="2766475"/>
            <a:ext cx="4210505" cy="392650"/>
          </a:xfrm>
        </p:spPr>
        <p:txBody>
          <a:bodyPr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67069" y="4179840"/>
            <a:ext cx="4210505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0E5897B-0128-4833-ABC7-9D5B944D43E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addin_colorlist" hidden="1">
            <a:extLst>
              <a:ext uri="{FF2B5EF4-FFF2-40B4-BE49-F238E27FC236}">
                <a16:creationId xmlns:a16="http://schemas.microsoft.com/office/drawing/2014/main" id="{7BD4C53C-108D-4394-8456-4042468C0E3E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B367CA8A-46EF-4B57-A802-BB29E53CA959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8EC9AE72-4105-48A6-A086-47AFE82C935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addin_logo" hidden="1">
            <a:extLst>
              <a:ext uri="{FF2B5EF4-FFF2-40B4-BE49-F238E27FC236}">
                <a16:creationId xmlns:a16="http://schemas.microsoft.com/office/drawing/2014/main" id="{2F1AA884-7DE6-4EAE-BF6F-1767EE3A5B0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addin_title" hidden="1">
            <a:extLst>
              <a:ext uri="{FF2B5EF4-FFF2-40B4-BE49-F238E27FC236}">
                <a16:creationId xmlns:a16="http://schemas.microsoft.com/office/drawing/2014/main" id="{B8B387BA-8B81-4475-9FC8-702C90AFA83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5" name="addin_text" hidden="1">
            <a:extLst>
              <a:ext uri="{FF2B5EF4-FFF2-40B4-BE49-F238E27FC236}">
                <a16:creationId xmlns:a16="http://schemas.microsoft.com/office/drawing/2014/main" id="{D9145AC7-3FAF-40CE-9C66-69B589F5679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6818D3C5-E00B-4293-821C-798C4F134E3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767025" y="4614675"/>
            <a:ext cx="4210549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26" name="logo_blaa" hidden="1">
            <a:extLst>
              <a:ext uri="{FF2B5EF4-FFF2-40B4-BE49-F238E27FC236}">
                <a16:creationId xmlns:a16="http://schemas.microsoft.com/office/drawing/2014/main" id="{7DC63C87-6AA4-475A-BEDD-B61D42E725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8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05A0FFA5-D312-4238-878B-A590BBAD649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62911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3 bokser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13DEE0-CCAF-47EA-A14D-D76793842F6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49008" y="-8758"/>
            <a:ext cx="3949700" cy="6866758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016FC5DA-8226-4CF8-B228-E01FC14873E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39200" y="3490090"/>
            <a:ext cx="3352800" cy="3367907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A51F98C5-2BE5-42D7-BB2F-61E1BA87BFA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839200" y="0"/>
            <a:ext cx="3352800" cy="3367907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5F59F70E-C806-43BD-9D89-C54E8C3B0DB3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8839200" y="3498849"/>
            <a:ext cx="3352799" cy="335914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2DCA02DF-93B7-429F-A0AD-D85D318A8EAB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4749800" y="-2"/>
            <a:ext cx="3949700" cy="685799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394970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5913" y="910471"/>
            <a:ext cx="3949701" cy="553998"/>
          </a:xfrm>
        </p:spPr>
        <p:txBody>
          <a:bodyPr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46F41208-5C1D-4DD4-8A50-29FFF2F2242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8839200" y="0"/>
            <a:ext cx="3352799" cy="335914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4D51EAA-A93B-4020-8227-613B86276B8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F919271A-D69E-44B1-9601-857C23308C2F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524CAE9B-B20C-4A8D-934B-59339B019D1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AC83C4E6-04D0-4072-8F3C-7976CB3356C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addin_logo" hidden="1">
            <a:extLst>
              <a:ext uri="{FF2B5EF4-FFF2-40B4-BE49-F238E27FC236}">
                <a16:creationId xmlns:a16="http://schemas.microsoft.com/office/drawing/2014/main" id="{6A95789E-F5A3-4946-AB59-D1C0D4FF1F3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addin_title" hidden="1">
            <a:extLst>
              <a:ext uri="{FF2B5EF4-FFF2-40B4-BE49-F238E27FC236}">
                <a16:creationId xmlns:a16="http://schemas.microsoft.com/office/drawing/2014/main" id="{3D365EEB-3C51-4BE4-88F0-1FC8A2B887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5" name="addin_text" hidden="1">
            <a:extLst>
              <a:ext uri="{FF2B5EF4-FFF2-40B4-BE49-F238E27FC236}">
                <a16:creationId xmlns:a16="http://schemas.microsoft.com/office/drawing/2014/main" id="{0B668723-1F65-41E9-8B0D-4C408D3AF15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DefLogoHvit" hidden="1">
            <a:extLst>
              <a:ext uri="{FF2B5EF4-FFF2-40B4-BE49-F238E27FC236}">
                <a16:creationId xmlns:a16="http://schemas.microsoft.com/office/drawing/2014/main" id="{1B4E343D-3448-4288-96A0-8161A1BCA02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0" name="Text Placeholder 1">
            <a:extLst>
              <a:ext uri="{FF2B5EF4-FFF2-40B4-BE49-F238E27FC236}">
                <a16:creationId xmlns:a16="http://schemas.microsoft.com/office/drawing/2014/main" id="{549804D6-DBC7-4F01-9B86-DCB54C291E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5913" y="2121720"/>
            <a:ext cx="3949700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1" name="logo_blaa" hidden="1">
            <a:extLst>
              <a:ext uri="{FF2B5EF4-FFF2-40B4-BE49-F238E27FC236}">
                <a16:creationId xmlns:a16="http://schemas.microsoft.com/office/drawing/2014/main" id="{04E43283-FE22-49B4-8000-B2BF3E216D9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32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A4CC364E-FF8F-4D25-932D-28269C2B41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40943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innhold (Høy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BBFA32DA-0415-49CF-BCF9-38F570B362B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25597" y="0"/>
            <a:ext cx="4266403" cy="6866758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2DCA02DF-93B7-429F-A0AD-D85D318A8EAB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7925597" y="1"/>
            <a:ext cx="4259939" cy="6857999"/>
          </a:xfrm>
          <a:prstGeom prst="rect">
            <a:avLst/>
          </a:prstGeom>
          <a:solidFill>
            <a:srgbClr val="002060"/>
          </a:solidFill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6163919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DD2C0544-2BE4-48B0-9C84-7496C2E325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E35BFD6A-9EBA-437D-94D3-A22AE9F3BF6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BE9F07D1-9FDA-4010-B64C-C1629BFE350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0B018755-7928-4745-9B40-F3496CA5DF1C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633A8CE6-D1F0-4276-AE71-8C8663E262E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FDD8280D-ED4A-4383-944E-05E4FE2BF96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994003EC-43C4-4410-B11C-73FEE191870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3341E66A-52C3-4488-998F-D252AB6C05BB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BAA402BF-A073-4F44-B5BE-D9D57BDB227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199256" y="1698171"/>
            <a:ext cx="4259939" cy="383902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21" name="logo_blaa" hidden="1">
            <a:extLst>
              <a:ext uri="{FF2B5EF4-FFF2-40B4-BE49-F238E27FC236}">
                <a16:creationId xmlns:a16="http://schemas.microsoft.com/office/drawing/2014/main" id="{B775BF94-9F5B-4788-A52D-BFB8202FE0E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5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84B3C57B-99D4-4846-9435-8D560C9EFA9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92157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mellomtittel, tekst og innhold (Bak)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8A1C56D-C7B2-4042-9CD8-AA509F79511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66087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D40B92AA-42BC-432B-8FCD-86D6CFD8E50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15913" y="909186"/>
            <a:ext cx="1166087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1E363977-D9F6-454E-A94B-C68902B9588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98220" y="2476500"/>
            <a:ext cx="3978593" cy="355507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A81454-9B8B-4525-959D-5534FBD4C3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0F7888C7-E2BB-4F37-9548-732E47B2D66A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0D07F82-624B-4368-B875-4A5180E2445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EC608B2B-F460-4524-A128-B881BF70A79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61C83988-EF2B-4F8A-A221-FBA24707F9C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47B8B98E-1475-4FEF-A304-E855B226301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07811DB8-614D-4E24-9368-EBE38BEF6B9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3A47E8CE-2C1D-4AD7-95B9-E7E0918EBD50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4" name="logo_blaa" hidden="1">
            <a:extLst>
              <a:ext uri="{FF2B5EF4-FFF2-40B4-BE49-F238E27FC236}">
                <a16:creationId xmlns:a16="http://schemas.microsoft.com/office/drawing/2014/main" id="{621DFB39-CA77-4A0B-8B66-A0048D46904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5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59B664F1-AE77-4485-A4FF-50875675A61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92072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8A1C56D-C7B2-4042-9CD8-AA509F79511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5902DB0-F9C9-4208-AC04-F65B14A925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22416" y="2157469"/>
            <a:ext cx="5560333" cy="1938992"/>
          </a:xfrm>
        </p:spPr>
        <p:txBody>
          <a:bodyPr anchor="b">
            <a:noAutofit/>
          </a:bodyPr>
          <a:lstStyle>
            <a:lvl1pPr algn="ctr">
              <a:lnSpc>
                <a:spcPct val="90000"/>
              </a:lnSpc>
              <a:defRPr sz="3000">
                <a:latin typeface="+mj-lt"/>
              </a:defRPr>
            </a:lvl1pPr>
          </a:lstStyle>
          <a:p>
            <a:r>
              <a:rPr lang="en-US" dirty="0"/>
              <a:t>“</a:t>
            </a:r>
            <a:r>
              <a:rPr lang="en-US" dirty="0" err="1"/>
              <a:t>Sitat</a:t>
            </a:r>
            <a:r>
              <a:rPr lang="en-US" dirty="0"/>
              <a:t>”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262E9EA-50DA-4C6F-BDBD-45D2CC16F55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2417" y="4498845"/>
            <a:ext cx="5560332" cy="215444"/>
          </a:xfrm>
        </p:spPr>
        <p:txBody>
          <a:bodyPr>
            <a:noAutofit/>
          </a:bodyPr>
          <a:lstStyle>
            <a:lvl1pPr marL="0" indent="0" algn="ctr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8E93E590-141F-4D3A-BAE4-F780C71B13E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0359BBBD-8D4D-47A6-A6D2-15A5C12B778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91BDE199-DCB0-44B7-B468-DB0113CDAAD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5BC20023-01D6-43AC-AC9E-3D5BBB97537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9037258-551C-4040-900F-0E68A78A121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61EAB1CA-B254-4FF7-9B06-83529538730C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978D642-AF95-46D9-BDA8-AC5CCCB3ED30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E1023C14-08D5-4A55-A00C-020E6A8C9E4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4" name="logo_blaa" hidden="1">
            <a:extLst>
              <a:ext uri="{FF2B5EF4-FFF2-40B4-BE49-F238E27FC236}">
                <a16:creationId xmlns:a16="http://schemas.microsoft.com/office/drawing/2014/main" id="{58AF3182-C308-455B-A82A-B41BA1F722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5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3B313E4A-6BE2-4F93-B6C7-AA491E80D14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25112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660079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84523D-32B3-42D2-9506-B4449EF1765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15913" y="909186"/>
            <a:ext cx="1166087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315913" y="1460500"/>
            <a:ext cx="6719887" cy="4784725"/>
          </a:xfrm>
        </p:spPr>
        <p:txBody>
          <a:bodyPr/>
          <a:lstStyle/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99981B97-0927-4AE0-B50C-C8C76D99F25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64499" y="2152968"/>
            <a:ext cx="3912283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294E24CE-73E5-478C-A0AE-B3FF6F4E4C8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531F68E2-5378-49F8-9089-CF82D4C5C37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A3B53C9F-AC67-475F-A1A3-7F754C8F112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42717750-4B12-4D91-8622-DC0D4272850D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CBF86961-0370-4940-A239-56F95E63CBDB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0AE0909F-FA8A-42B2-A5EA-7A13B05B37C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9400D268-CC84-41FD-B9A3-9510D85E407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0E2F7EB6-BD9A-4CAB-81C5-FA6F6D8726B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064499" y="2673350"/>
            <a:ext cx="3912283" cy="3275464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25" name="logo_blaa" hidden="1">
            <a:extLst>
              <a:ext uri="{FF2B5EF4-FFF2-40B4-BE49-F238E27FC236}">
                <a16:creationId xmlns:a16="http://schemas.microsoft.com/office/drawing/2014/main" id="{6EC1C648-C2B5-4E3E-97B8-51E33A6D4FD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6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E130A81A-101F-405C-BADE-AEA1EEED6CA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13403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 (Høy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9DA6E-D112-4CF2-9E61-D2803FFC55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0"/>
            <a:ext cx="3343275" cy="6858000"/>
          </a:xfrm>
          <a:solidFill>
            <a:srgbClr val="EFEFEF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660079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3715658" y="1036637"/>
            <a:ext cx="8261126" cy="5364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95EA8AB-6B52-4A25-8679-9037A006B26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2C43F1F1-08A8-45E6-8709-A6CF646C389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29DE899F-C243-4AB6-84E9-84DD211AA6D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background" hidden="1">
            <a:extLst>
              <a:ext uri="{FF2B5EF4-FFF2-40B4-BE49-F238E27FC236}">
                <a16:creationId xmlns:a16="http://schemas.microsoft.com/office/drawing/2014/main" id="{FD84D5B2-05C4-4708-B0E6-8816C134C1A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BC7B844F-3B22-4BC5-AE8F-529F6F8103B2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91826AB-F933-47F3-A50A-E1A9C8C299C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882AA710-D5DF-4B9E-B682-8BC67348AB3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F27B46D2-22EB-487B-863E-8C88301E95B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6705" y="1191898"/>
            <a:ext cx="2822753" cy="462946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5" name="logo_blaa" hidden="1">
            <a:extLst>
              <a:ext uri="{FF2B5EF4-FFF2-40B4-BE49-F238E27FC236}">
                <a16:creationId xmlns:a16="http://schemas.microsoft.com/office/drawing/2014/main" id="{1F441257-1E00-4BF4-AEC1-54B59D9E60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1735008" cy="396000"/>
          </a:xfrm>
          <a:prstGeom prst="rect">
            <a:avLst/>
          </a:prstGeom>
        </p:spPr>
      </p:pic>
      <p:pic>
        <p:nvPicPr>
          <p:cNvPr id="18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13937A8F-B1E9-4D42-B2FC-ECBBD21A8E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48128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 (2 grafer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9DA6E-D112-4CF2-9E61-D2803FFC55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0"/>
            <a:ext cx="3343275" cy="6858000"/>
          </a:xfrm>
          <a:solidFill>
            <a:srgbClr val="EFEFEF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2821912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4281260" y="1036637"/>
            <a:ext cx="3343276" cy="5364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8" name="Chart Placeholder 5">
            <a:extLst>
              <a:ext uri="{FF2B5EF4-FFF2-40B4-BE49-F238E27FC236}">
                <a16:creationId xmlns:a16="http://schemas.microsoft.com/office/drawing/2014/main" id="{31484953-D908-4216-A821-FFF36AE77225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8418290" y="1036637"/>
            <a:ext cx="3343276" cy="5364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AF830C0-8048-4660-85F5-880345F1B2E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1260" y="445295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8373671-1454-4F00-862D-A2611E85FF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18290" y="445295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033B6724-4542-4E0D-A677-8E0AEC06B5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999124DB-8F02-409F-A729-E11030C3457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CD623913-286B-465D-A7E5-0DF3533D4623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CD92FFB2-664D-487F-A82D-D46DC13C7D0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A6BE133F-DD99-468C-8D55-748939F0F9C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AAE24BC9-EA40-4A42-B35A-A5F8924D3B2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2A25BEF6-DC40-4AF2-B91B-D50EB057310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171BDB52-B689-490F-A912-7D7E7080675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6704" y="1191898"/>
            <a:ext cx="2821911" cy="462946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23" name="logo_blaa" hidden="1">
            <a:extLst>
              <a:ext uri="{FF2B5EF4-FFF2-40B4-BE49-F238E27FC236}">
                <a16:creationId xmlns:a16="http://schemas.microsoft.com/office/drawing/2014/main" id="{CE013FE2-C931-42C4-968F-4DF411D4CE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1735008" cy="396000"/>
          </a:xfrm>
          <a:prstGeom prst="rect">
            <a:avLst/>
          </a:prstGeom>
        </p:spPr>
      </p:pic>
      <p:pic>
        <p:nvPicPr>
          <p:cNvPr id="24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E139520A-EC59-4D56-B897-7906D5AE2B0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0354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 med bilde (Høyre, sirkel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CDE15B9-BBD7-42A7-B667-4AABA43933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6118" y="0"/>
            <a:ext cx="6908798" cy="3589020"/>
          </a:xfrm>
          <a:custGeom>
            <a:avLst/>
            <a:gdLst>
              <a:gd name="connsiteX0" fmla="*/ 53674 w 6908798"/>
              <a:gd name="connsiteY0" fmla="*/ 0 h 3589020"/>
              <a:gd name="connsiteX1" fmla="*/ 6855124 w 6908798"/>
              <a:gd name="connsiteY1" fmla="*/ 0 h 3589020"/>
              <a:gd name="connsiteX2" fmla="*/ 6890963 w 6908798"/>
              <a:gd name="connsiteY2" fmla="*/ 208491 h 3589020"/>
              <a:gd name="connsiteX3" fmla="*/ 6908798 w 6908798"/>
              <a:gd name="connsiteY3" fmla="*/ 522069 h 3589020"/>
              <a:gd name="connsiteX4" fmla="*/ 3454399 w 6908798"/>
              <a:gd name="connsiteY4" fmla="*/ 3589020 h 3589020"/>
              <a:gd name="connsiteX5" fmla="*/ 0 w 6908798"/>
              <a:gd name="connsiteY5" fmla="*/ 522069 h 3589020"/>
              <a:gd name="connsiteX6" fmla="*/ 17835 w 6908798"/>
              <a:gd name="connsiteY6" fmla="*/ 208491 h 358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08798" h="3589020">
                <a:moveTo>
                  <a:pt x="53674" y="0"/>
                </a:moveTo>
                <a:lnTo>
                  <a:pt x="6855124" y="0"/>
                </a:lnTo>
                <a:lnTo>
                  <a:pt x="6890963" y="208491"/>
                </a:lnTo>
                <a:cubicBezTo>
                  <a:pt x="6902757" y="311593"/>
                  <a:pt x="6908798" y="416205"/>
                  <a:pt x="6908798" y="522069"/>
                </a:cubicBezTo>
                <a:cubicBezTo>
                  <a:pt x="6908798" y="2215899"/>
                  <a:pt x="5362211" y="3589020"/>
                  <a:pt x="3454399" y="3589020"/>
                </a:cubicBezTo>
                <a:cubicBezTo>
                  <a:pt x="1546587" y="3589020"/>
                  <a:pt x="0" y="2215899"/>
                  <a:pt x="0" y="522069"/>
                </a:cubicBezTo>
                <a:cubicBezTo>
                  <a:pt x="0" y="416205"/>
                  <a:pt x="6042" y="311593"/>
                  <a:pt x="17835" y="208491"/>
                </a:cubicBezTo>
                <a:close/>
              </a:path>
            </a:pathLst>
          </a:custGeom>
          <a:solidFill>
            <a:srgbClr val="F3DED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5C2C1ED-04B4-4BB0-995F-FBE0210316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89258" y="1"/>
            <a:ext cx="6502743" cy="5821831"/>
          </a:xfrm>
          <a:custGeom>
            <a:avLst/>
            <a:gdLst>
              <a:gd name="connsiteX0" fmla="*/ 641777 w 6502743"/>
              <a:gd name="connsiteY0" fmla="*/ 0 h 5821831"/>
              <a:gd name="connsiteX1" fmla="*/ 6502743 w 6502743"/>
              <a:gd name="connsiteY1" fmla="*/ 0 h 5821831"/>
              <a:gd name="connsiteX2" fmla="*/ 6502743 w 6502743"/>
              <a:gd name="connsiteY2" fmla="*/ 4581393 h 5821831"/>
              <a:gd name="connsiteX3" fmla="*/ 6368283 w 6502743"/>
              <a:gd name="connsiteY3" fmla="*/ 4729320 h 5821831"/>
              <a:gd name="connsiteX4" fmla="*/ 3730454 w 6502743"/>
              <a:gd name="connsiteY4" fmla="*/ 5821831 h 5821831"/>
              <a:gd name="connsiteX5" fmla="*/ 0 w 6502743"/>
              <a:gd name="connsiteY5" fmla="*/ 2091765 h 5821831"/>
              <a:gd name="connsiteX6" fmla="*/ 637103 w 6502743"/>
              <a:gd name="connsiteY6" fmla="*/ 6249 h 5821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02743" h="5821831">
                <a:moveTo>
                  <a:pt x="641777" y="0"/>
                </a:moveTo>
                <a:lnTo>
                  <a:pt x="6502743" y="0"/>
                </a:lnTo>
                <a:lnTo>
                  <a:pt x="6502743" y="4581393"/>
                </a:lnTo>
                <a:lnTo>
                  <a:pt x="6368283" y="4729320"/>
                </a:lnTo>
                <a:cubicBezTo>
                  <a:pt x="5693204" y="5404330"/>
                  <a:pt x="4760591" y="5821831"/>
                  <a:pt x="3730454" y="5821831"/>
                </a:cubicBezTo>
                <a:cubicBezTo>
                  <a:pt x="1670181" y="5821831"/>
                  <a:pt x="0" y="4151824"/>
                  <a:pt x="0" y="2091765"/>
                </a:cubicBezTo>
                <a:cubicBezTo>
                  <a:pt x="0" y="1319243"/>
                  <a:pt x="234870" y="601572"/>
                  <a:pt x="637103" y="6249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4952257"/>
            <a:ext cx="5912646" cy="969496"/>
          </a:xfrm>
        </p:spPr>
        <p:txBody>
          <a:bodyPr anchor="b">
            <a:noAutofit/>
          </a:bodyPr>
          <a:lstStyle>
            <a:lvl1pPr>
              <a:defRPr sz="7000">
                <a:solidFill>
                  <a:schemeClr val="accent2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kapittel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0EE1215-8BFC-4402-8AF8-777B7C8D6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6704" y="5976769"/>
            <a:ext cx="5912646" cy="432054"/>
          </a:xfrm>
        </p:spPr>
        <p:txBody>
          <a:bodyPr lIns="86400"/>
          <a:lstStyle>
            <a:lvl1pPr marL="0" indent="0" algn="l">
              <a:buNone/>
              <a:defRPr sz="1600">
                <a:solidFill>
                  <a:schemeClr val="accent2"/>
                </a:solidFill>
                <a:latin typeface="SpareBank 1 Light" panose="020B0500030000000000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E54C31-34D8-42E9-8DA6-17AEAE2973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6704" y="303620"/>
            <a:ext cx="1720380" cy="92333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accent2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7CC54D-2DC9-48B2-9120-D93F728550C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3B2FE8A8-D76E-449B-9226-24FC2258849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3E1D7BB8-B7E0-4C40-B081-6B8B4100FF7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61618193-91F3-4633-AF08-71C2D692B01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C1EA0EA8-9984-4892-BBD2-610B78FD97C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67C023F-45C9-4C10-A2C9-E1C6D66C3B1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76DF5DEA-4A8C-4684-BC3D-9C6A3A811E30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BA3F25F2-9508-42A0-840B-E7E985081894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9ED63FDA-C36D-BD3D-1679-3985D0F7EF5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5" name="logo_hvit" hidden="1">
            <a:extLst>
              <a:ext uri="{FF2B5EF4-FFF2-40B4-BE49-F238E27FC236}">
                <a16:creationId xmlns:a16="http://schemas.microsoft.com/office/drawing/2014/main" id="{2084C308-5BC2-6CBC-0A9B-FD3DAABD79AA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76471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 (4 grafer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9DA6E-D112-4CF2-9E61-D2803FFC55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0"/>
            <a:ext cx="3343275" cy="6858000"/>
          </a:xfrm>
          <a:solidFill>
            <a:srgbClr val="EFEFEF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2821912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4281260" y="851285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8" name="Chart Placeholder 5">
            <a:extLst>
              <a:ext uri="{FF2B5EF4-FFF2-40B4-BE49-F238E27FC236}">
                <a16:creationId xmlns:a16="http://schemas.microsoft.com/office/drawing/2014/main" id="{31484953-D908-4216-A821-FFF36AE77225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8418290" y="851285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AF830C0-8048-4660-85F5-880345F1B2E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1260" y="445295"/>
            <a:ext cx="3343275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8373671-1454-4F00-862D-A2611E85FF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18290" y="445295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8" name="Chart Placeholder 5">
            <a:extLst>
              <a:ext uri="{FF2B5EF4-FFF2-40B4-BE49-F238E27FC236}">
                <a16:creationId xmlns:a16="http://schemas.microsoft.com/office/drawing/2014/main" id="{67E0BF1E-FA82-4B7F-B923-BFDB61725C32}"/>
              </a:ext>
            </a:extLst>
          </p:cNvPr>
          <p:cNvSpPr>
            <a:spLocks noGrp="1"/>
          </p:cNvSpPr>
          <p:nvPr>
            <p:ph type="chart" sz="quarter" idx="36"/>
          </p:nvPr>
        </p:nvSpPr>
        <p:spPr>
          <a:xfrm>
            <a:off x="4281260" y="4113242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9" name="Chart Placeholder 5">
            <a:extLst>
              <a:ext uri="{FF2B5EF4-FFF2-40B4-BE49-F238E27FC236}">
                <a16:creationId xmlns:a16="http://schemas.microsoft.com/office/drawing/2014/main" id="{CA985493-FA53-488E-8517-92FC07AF2B01}"/>
              </a:ext>
            </a:extLst>
          </p:cNvPr>
          <p:cNvSpPr>
            <a:spLocks noGrp="1"/>
          </p:cNvSpPr>
          <p:nvPr>
            <p:ph type="chart" sz="quarter" idx="37"/>
          </p:nvPr>
        </p:nvSpPr>
        <p:spPr>
          <a:xfrm>
            <a:off x="8418290" y="4113242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BD22E512-6705-4C14-9589-C2DACC2CD1B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1260" y="3707252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1FD5F680-AEB8-4E1E-9514-7E53E039944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18290" y="3707252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D8FA83E3-5DF6-44FC-9818-DBD9AC1388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addin_colorlist" hidden="1">
            <a:extLst>
              <a:ext uri="{FF2B5EF4-FFF2-40B4-BE49-F238E27FC236}">
                <a16:creationId xmlns:a16="http://schemas.microsoft.com/office/drawing/2014/main" id="{026061BC-914B-4BA8-A2C4-CC0745516D4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7639C6D-46FA-4FA7-8EC0-21DEE11DB27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5" name="addin_background" hidden="1">
            <a:extLst>
              <a:ext uri="{FF2B5EF4-FFF2-40B4-BE49-F238E27FC236}">
                <a16:creationId xmlns:a16="http://schemas.microsoft.com/office/drawing/2014/main" id="{71D860E0-3EB4-4985-8611-DBB86048C27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040054D-988B-4548-8071-431E56D48E1E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3988038F-D2A8-423E-9DE1-C599EB065BA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7291C49E-6F93-4D1D-98F0-6D074E39ECF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2F7D3B47-0043-4A21-A582-E9A771DC02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6704" y="1191898"/>
            <a:ext cx="2821911" cy="462946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0" name="logo_blaa" hidden="1">
            <a:extLst>
              <a:ext uri="{FF2B5EF4-FFF2-40B4-BE49-F238E27FC236}">
                <a16:creationId xmlns:a16="http://schemas.microsoft.com/office/drawing/2014/main" id="{649B96D7-8379-4313-B87E-0743FDB57DA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1735008" cy="396000"/>
          </a:xfrm>
          <a:prstGeom prst="rect">
            <a:avLst/>
          </a:prstGeom>
        </p:spPr>
      </p:pic>
      <p:pic>
        <p:nvPicPr>
          <p:cNvPr id="31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8961B122-ADB1-4639-B72E-6CC4AFE913D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05973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vikling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8A1C56D-C7B2-4042-9CD8-AA509F79511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5902DB0-F9C9-4208-AC04-F65B14A925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73134" y="2359798"/>
            <a:ext cx="4533908" cy="2354491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17000">
                <a:latin typeface="SpareBank 1 Medium" panose="020B0500030000000000" pitchFamily="34" charset="0"/>
              </a:defRPr>
            </a:lvl1pPr>
          </a:lstStyle>
          <a:p>
            <a:r>
              <a:rPr lang="en-US" dirty="0"/>
              <a:t>00</a:t>
            </a:r>
          </a:p>
        </p:txBody>
      </p:sp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4012ADA4-FF9C-4A9A-9D47-9F7DF4E17A6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707042" y="2359797"/>
            <a:ext cx="3978593" cy="184999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600"/>
            </a:lvl1pPr>
          </a:lstStyle>
          <a:p>
            <a:pPr lvl="0"/>
            <a:r>
              <a:rPr lang="nb-NO" sz="1600"/>
              <a:t>Klikk for å redigere tekststiler i malen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BFCD7BF-3AB7-4429-8BC8-F8BC42C2A57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95E40C5A-6129-49F4-B4D2-D18CFE88C1D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6831A200-49F5-4645-BB55-B21422B4DD4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29F23ED3-8031-44D0-AF88-1C89758EB5A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696CEC71-F65A-43A1-962D-596ECDCFEFF5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19D9EC0F-9854-4585-BE93-674C85878F1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72B513AD-BD82-49A5-8EDC-A9F4BDC63D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DefLogoHvit" hidden="1">
            <a:extLst>
              <a:ext uri="{FF2B5EF4-FFF2-40B4-BE49-F238E27FC236}">
                <a16:creationId xmlns:a16="http://schemas.microsoft.com/office/drawing/2014/main" id="{0BB6941E-7A67-4E07-AB3F-FA53A5938919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2" name="logo_blaa" hidden="1">
            <a:extLst>
              <a:ext uri="{FF2B5EF4-FFF2-40B4-BE49-F238E27FC236}">
                <a16:creationId xmlns:a16="http://schemas.microsoft.com/office/drawing/2014/main" id="{F993B76B-8E25-4810-AA19-7E294F204C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4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2B0BCFCD-3118-473A-B423-9F78BB787DA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55920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ide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 hidden="1">
            <a:extLst>
              <a:ext uri="{FF2B5EF4-FFF2-40B4-BE49-F238E27FC236}">
                <a16:creationId xmlns:a16="http://schemas.microsoft.com/office/drawing/2014/main" id="{53E799FF-A7CB-461E-B019-32619A79E4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52511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26E3C71-6252-416E-BB06-9B02EAF49F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497807" y="4320383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497807" y="3894454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52B160-86DA-4012-954C-C6953026A9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15913" y="909186"/>
            <a:ext cx="1152511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E6A5C2C-D005-4D6A-B53B-999FAD2B2F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497807" y="2254021"/>
            <a:ext cx="1440180" cy="1439299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589B68B-6FC3-4A8E-A6B4-15BE438ABF2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981927" y="4320383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A88F8B5-8E03-43A4-B94C-726522E8C2B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81927" y="3894454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544BEA80-896A-4A78-A6E8-C08CC90D84B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81927" y="2254021"/>
            <a:ext cx="1440180" cy="1439299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3EFC636C-45F7-4D80-913A-E189DBD4B00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612058" y="4315621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2A3850B-57F8-4746-ABC4-07EFFB9552E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12058" y="3889692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BC51C625-F779-4CC0-B43C-69D91D5B9FB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12058" y="2249259"/>
            <a:ext cx="1440180" cy="1439299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F6F1C91C-5EFA-46E9-8499-1ACC2BBC19E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54053" y="4325288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38AB3A0E-5127-4287-9954-3E23BA96F27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154053" y="3899359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D4A5529C-9EF2-4C35-9351-C26E0DDC606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154053" y="2258926"/>
            <a:ext cx="1440180" cy="1439299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68C6EA9-B739-4680-AD52-7A2BDE15538B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1497807" y="2254021"/>
            <a:ext cx="1440180" cy="1439299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IKON SETTES INN HER</a:t>
            </a:r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B06652B2-4AB0-45B6-BED4-F119744C0781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3981927" y="2254021"/>
            <a:ext cx="1440180" cy="1439299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32D361F0-26FD-42CA-ABD7-D4A1E734FBA4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9154053" y="2258926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r>
              <a:rPr lang="en-US" dirty="0"/>
              <a:t> </a:t>
            </a:r>
          </a:p>
        </p:txBody>
      </p:sp>
      <p:sp>
        <p:nvSpPr>
          <p:cNvPr id="30" name="Content Placeholder 8">
            <a:extLst>
              <a:ext uri="{FF2B5EF4-FFF2-40B4-BE49-F238E27FC236}">
                <a16:creationId xmlns:a16="http://schemas.microsoft.com/office/drawing/2014/main" id="{B832E9B8-520B-4E6D-956D-A9A1F8270D28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612058" y="2249259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D004951B-E132-4CB5-BE08-014909997C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10686" y="6245941"/>
            <a:ext cx="1735008" cy="396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4" name="addin_colorlist" hidden="1">
            <a:extLst>
              <a:ext uri="{FF2B5EF4-FFF2-40B4-BE49-F238E27FC236}">
                <a16:creationId xmlns:a16="http://schemas.microsoft.com/office/drawing/2014/main" id="{6E501A22-635E-4E52-A781-CEFE3AAF9E1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ikon1, ikon2, ikon3, ikon4</a:t>
            </a:r>
          </a:p>
        </p:txBody>
      </p:sp>
      <p:sp>
        <p:nvSpPr>
          <p:cNvPr id="35" name="addin_colorbox" hidden="1">
            <a:extLst>
              <a:ext uri="{FF2B5EF4-FFF2-40B4-BE49-F238E27FC236}">
                <a16:creationId xmlns:a16="http://schemas.microsoft.com/office/drawing/2014/main" id="{C152D6E7-5ABD-462F-B484-D3C5A98E30C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6" name="addin_background" hidden="1">
            <a:extLst>
              <a:ext uri="{FF2B5EF4-FFF2-40B4-BE49-F238E27FC236}">
                <a16:creationId xmlns:a16="http://schemas.microsoft.com/office/drawing/2014/main" id="{E380263D-5A13-44BA-8F84-CE8D468BF3F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37" name="addin_logo" hidden="1">
            <a:extLst>
              <a:ext uri="{FF2B5EF4-FFF2-40B4-BE49-F238E27FC236}">
                <a16:creationId xmlns:a16="http://schemas.microsoft.com/office/drawing/2014/main" id="{A47615AF-2F92-48F5-9427-DB7CDFC14D1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8" name="addin_title" hidden="1">
            <a:extLst>
              <a:ext uri="{FF2B5EF4-FFF2-40B4-BE49-F238E27FC236}">
                <a16:creationId xmlns:a16="http://schemas.microsoft.com/office/drawing/2014/main" id="{DE8F631C-E719-4912-BF9F-B8C23CA2B3F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9" name="addin_text" hidden="1">
            <a:extLst>
              <a:ext uri="{FF2B5EF4-FFF2-40B4-BE49-F238E27FC236}">
                <a16:creationId xmlns:a16="http://schemas.microsoft.com/office/drawing/2014/main" id="{7FC205FB-165B-4339-88D1-EF192C650B2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40" name="logo_blaa" hidden="1">
            <a:extLst>
              <a:ext uri="{FF2B5EF4-FFF2-40B4-BE49-F238E27FC236}">
                <a16:creationId xmlns:a16="http://schemas.microsoft.com/office/drawing/2014/main" id="{A3115B95-C8AB-4FA6-A62C-C8CD7D4EED4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41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8747831C-975B-49DB-8051-21E966CEB7B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98909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ide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F73BE435-F82E-401E-BC8F-786DF65E161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542257" y="2161952"/>
            <a:ext cx="1440180" cy="1439299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3875DC22-FC29-439F-BE1C-C4CEEE74EFF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450495" y="2161952"/>
            <a:ext cx="1440180" cy="1439299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59238488-45B2-4EF9-9DCF-75A9D082AC0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367444" y="2161952"/>
            <a:ext cx="1440180" cy="1439299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12A2793-E8C0-4A44-AD6E-511C67CD47B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280970" y="2161952"/>
            <a:ext cx="1440180" cy="1439299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2EC5F670-0FCC-48B7-9C97-8A0ED134BF4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192632" y="2161952"/>
            <a:ext cx="1440180" cy="1439299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5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52511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26E3C71-6252-416E-BB06-9B02EAF49F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42258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42258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52B160-86DA-4012-954C-C6953026A9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15913" y="909186"/>
            <a:ext cx="1152511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589B68B-6FC3-4A8E-A6B4-15BE438ABF2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450495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A88F8B5-8E03-43A4-B94C-726522E8C2B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50495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3EFC636C-45F7-4D80-913A-E189DBD4B00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367444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2A3850B-57F8-4746-ABC4-07EFFB9552E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367444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F6F1C91C-5EFA-46E9-8499-1ACC2BBC19E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280970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38AB3A0E-5127-4287-9954-3E23BA96F27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80970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68C6EA9-B739-4680-AD52-7A2BDE15538B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1542257" y="2161952"/>
            <a:ext cx="1440180" cy="1439299"/>
          </a:xfrm>
        </p:spPr>
        <p:txBody>
          <a:bodyPr/>
          <a:lstStyle>
            <a:lvl1pPr marL="0" indent="0" algn="ctr">
              <a:buNone/>
              <a:defRPr sz="2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B06652B2-4AB0-45B6-BED4-F119744C0781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3450495" y="2161952"/>
            <a:ext cx="1440180" cy="1439299"/>
          </a:xfrm>
        </p:spPr>
        <p:txBody>
          <a:bodyPr/>
          <a:lstStyle>
            <a:lvl1pPr marL="0" indent="0" algn="ctr">
              <a:buNone/>
              <a:defRPr sz="2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32D361F0-26FD-42CA-ABD7-D4A1E734FBA4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7280970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0" name="Content Placeholder 8">
            <a:extLst>
              <a:ext uri="{FF2B5EF4-FFF2-40B4-BE49-F238E27FC236}">
                <a16:creationId xmlns:a16="http://schemas.microsoft.com/office/drawing/2014/main" id="{B832E9B8-520B-4E6D-956D-A9A1F8270D28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5367444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4" name="Content Placeholder 8">
            <a:extLst>
              <a:ext uri="{FF2B5EF4-FFF2-40B4-BE49-F238E27FC236}">
                <a16:creationId xmlns:a16="http://schemas.microsoft.com/office/drawing/2014/main" id="{3F540DE3-195D-4E6B-A7AF-31B5DF60F736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9192632" y="2161952"/>
            <a:ext cx="1440180" cy="1439299"/>
          </a:xfrm>
        </p:spPr>
        <p:txBody>
          <a:bodyPr/>
          <a:lstStyle>
            <a:lvl1pPr marL="0" indent="0" algn="ctr">
              <a:buNone/>
              <a:defRPr sz="2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2F891B1A-3BF6-4C12-A12A-239C8FCE033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192632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4D5D28B2-0704-4803-A645-557CB31EE3D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92632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0EFE922-5D7E-4DE7-BDD3-B34758502BD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8" name="addin_colorlist" hidden="1">
            <a:extLst>
              <a:ext uri="{FF2B5EF4-FFF2-40B4-BE49-F238E27FC236}">
                <a16:creationId xmlns:a16="http://schemas.microsoft.com/office/drawing/2014/main" id="{075E0F79-D570-480C-8DF3-E58C21E1F61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ikon1, ikon2, ikon3, ikon4</a:t>
            </a:r>
          </a:p>
        </p:txBody>
      </p:sp>
      <p:sp>
        <p:nvSpPr>
          <p:cNvPr id="39" name="addin_colorbox" hidden="1">
            <a:extLst>
              <a:ext uri="{FF2B5EF4-FFF2-40B4-BE49-F238E27FC236}">
                <a16:creationId xmlns:a16="http://schemas.microsoft.com/office/drawing/2014/main" id="{67B923A1-1928-48F4-99F0-2BC992E26D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40" name="addin_background" hidden="1">
            <a:extLst>
              <a:ext uri="{FF2B5EF4-FFF2-40B4-BE49-F238E27FC236}">
                <a16:creationId xmlns:a16="http://schemas.microsoft.com/office/drawing/2014/main" id="{C8275DA9-4738-44F4-80E0-B95FD7F7669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41" name="addin_logo" hidden="1">
            <a:extLst>
              <a:ext uri="{FF2B5EF4-FFF2-40B4-BE49-F238E27FC236}">
                <a16:creationId xmlns:a16="http://schemas.microsoft.com/office/drawing/2014/main" id="{50E7F9FC-E5AD-43C9-9814-D45E18A0765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42" name="addin_title" hidden="1">
            <a:extLst>
              <a:ext uri="{FF2B5EF4-FFF2-40B4-BE49-F238E27FC236}">
                <a16:creationId xmlns:a16="http://schemas.microsoft.com/office/drawing/2014/main" id="{4E85F3F3-61FE-46B8-9DCC-8DF708F7EF3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43" name="addin_text" hidden="1">
            <a:extLst>
              <a:ext uri="{FF2B5EF4-FFF2-40B4-BE49-F238E27FC236}">
                <a16:creationId xmlns:a16="http://schemas.microsoft.com/office/drawing/2014/main" id="{CCB6333A-8809-4730-B12B-15E8A5FE960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49" name="logo_blaa" hidden="1">
            <a:extLst>
              <a:ext uri="{FF2B5EF4-FFF2-40B4-BE49-F238E27FC236}">
                <a16:creationId xmlns:a16="http://schemas.microsoft.com/office/drawing/2014/main" id="{FA04A7F4-0997-46C3-AAB7-A12EEDF30D7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50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C53E6C48-047C-4A2C-B3C9-07073AEE62F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69568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ide (Med tekst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7C3D8B82-1186-4182-B0A5-AF811E03AAA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238625" y="3795682"/>
            <a:ext cx="895350" cy="872978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80279050-A64A-4B83-A905-1B3FC387D1B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38625" y="1771827"/>
            <a:ext cx="895350" cy="872978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0D0A5540-DE13-4650-A761-05A3821451B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866900" y="3795682"/>
            <a:ext cx="895350" cy="872978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913F1418-8863-4CCE-A609-28E1F569F71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866900" y="1771827"/>
            <a:ext cx="895350" cy="872978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94062DE1-5A03-401B-828E-C09837CBE7B2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639050" y="0"/>
            <a:ext cx="4552950" cy="6858000"/>
          </a:xfrm>
          <a:solidFill>
            <a:srgbClr val="005AA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6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6579396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26E3C71-6252-416E-BB06-9B02EAF49F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42257" y="3286065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42257" y="2809079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52B160-86DA-4012-954C-C6953026A9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15913" y="909186"/>
            <a:ext cx="6579396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3FDEC93C-B0F9-43F6-9A2B-43486128B15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913982" y="3286065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BD64AEBB-F5C6-49BB-A8BD-743146A4CBF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913982" y="2809079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52CFF93E-569D-485C-9953-C19AC5E3C45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542257" y="5309920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C8A6D454-40E4-4EA2-B644-EDCFBBCB62B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42257" y="4832934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1A3C0572-03EF-4F24-A0B1-253B71A2C1F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913982" y="5309920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04A24DB8-42A3-44EC-A86F-652A8538749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913982" y="4832934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0A96C8D-EA7E-4A1A-9503-66E8E35B8CEC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8369300" y="1098550"/>
            <a:ext cx="3608274" cy="393700"/>
          </a:xfrm>
        </p:spPr>
        <p:txBody>
          <a:bodyPr anchor="b"/>
          <a:lstStyle>
            <a:lvl1pPr marL="0" indent="0">
              <a:buNone/>
              <a:defRPr sz="30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BDC22F2-8CFA-49E4-A541-56C2672DA8B9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8369300" y="1605457"/>
            <a:ext cx="3608274" cy="3937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25147704-1371-462B-8BE0-901BF4C6B9A5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8369300" y="2882345"/>
            <a:ext cx="3608274" cy="393700"/>
          </a:xfrm>
        </p:spPr>
        <p:txBody>
          <a:bodyPr anchor="b"/>
          <a:lstStyle>
            <a:lvl1pPr marL="0" indent="0">
              <a:buNone/>
              <a:defRPr sz="30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8" name="Text Placeholder 15">
            <a:extLst>
              <a:ext uri="{FF2B5EF4-FFF2-40B4-BE49-F238E27FC236}">
                <a16:creationId xmlns:a16="http://schemas.microsoft.com/office/drawing/2014/main" id="{1CCA3D76-ECCA-4308-8AF0-909FC8B26F8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369300" y="3389252"/>
            <a:ext cx="3608274" cy="3937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60A7792F-9090-4A87-8964-DF22B9449CE4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8369300" y="4922063"/>
            <a:ext cx="3608274" cy="393700"/>
          </a:xfrm>
        </p:spPr>
        <p:txBody>
          <a:bodyPr anchor="b"/>
          <a:lstStyle>
            <a:lvl1pPr marL="0" indent="0">
              <a:buNone/>
              <a:defRPr sz="30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0" name="Text Placeholder 15">
            <a:extLst>
              <a:ext uri="{FF2B5EF4-FFF2-40B4-BE49-F238E27FC236}">
                <a16:creationId xmlns:a16="http://schemas.microsoft.com/office/drawing/2014/main" id="{A80D731A-25DF-478D-9DD2-54A9511D84F4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8369300" y="5428970"/>
            <a:ext cx="3608274" cy="3937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9D6001A3-F024-4A8E-B5CF-D1D78B3F4E4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866900" y="1771827"/>
            <a:ext cx="895350" cy="872978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1" name="Content Placeholder 8">
            <a:extLst>
              <a:ext uri="{FF2B5EF4-FFF2-40B4-BE49-F238E27FC236}">
                <a16:creationId xmlns:a16="http://schemas.microsoft.com/office/drawing/2014/main" id="{FB244F5A-705A-48E8-927E-F279AC5F5FEC}"/>
              </a:ext>
            </a:extLst>
          </p:cNvPr>
          <p:cNvSpPr>
            <a:spLocks noGrp="1"/>
          </p:cNvSpPr>
          <p:nvPr>
            <p:ph sz="quarter" idx="59" hasCustomPrompt="1"/>
          </p:nvPr>
        </p:nvSpPr>
        <p:spPr>
          <a:xfrm>
            <a:off x="1866900" y="1771827"/>
            <a:ext cx="895350" cy="872978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33" name="Content Placeholder 8">
            <a:extLst>
              <a:ext uri="{FF2B5EF4-FFF2-40B4-BE49-F238E27FC236}">
                <a16:creationId xmlns:a16="http://schemas.microsoft.com/office/drawing/2014/main" id="{3A7F4820-EF59-4DD5-A97C-2CBCBA008F35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4238625" y="1771827"/>
            <a:ext cx="895350" cy="872978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F98FC926-9B84-46D8-89CC-E751E9D26AD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66900" y="3795682"/>
            <a:ext cx="895350" cy="872978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3" name="Content Placeholder 8">
            <a:extLst>
              <a:ext uri="{FF2B5EF4-FFF2-40B4-BE49-F238E27FC236}">
                <a16:creationId xmlns:a16="http://schemas.microsoft.com/office/drawing/2014/main" id="{EE315A61-2E68-4EB9-B2F9-BDF0F31BDE53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866900" y="3795682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1FAD39D5-056D-4EB9-8E8D-ACED66A3A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38625" y="3795682"/>
            <a:ext cx="895350" cy="872978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5" name="Content Placeholder 8">
            <a:extLst>
              <a:ext uri="{FF2B5EF4-FFF2-40B4-BE49-F238E27FC236}">
                <a16:creationId xmlns:a16="http://schemas.microsoft.com/office/drawing/2014/main" id="{769CDA1B-0410-4357-A97C-A7947A450081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4238625" y="3795682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41910E6F-A89F-470C-B8C5-2CA101D8ECC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2" name="addin_colorlist" hidden="1">
            <a:extLst>
              <a:ext uri="{FF2B5EF4-FFF2-40B4-BE49-F238E27FC236}">
                <a16:creationId xmlns:a16="http://schemas.microsoft.com/office/drawing/2014/main" id="{2530AF2D-9963-4853-BC15-8D5711DC97A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ikon1, ikon2, ikon3, ikon4</a:t>
            </a:r>
          </a:p>
        </p:txBody>
      </p:sp>
      <p:sp>
        <p:nvSpPr>
          <p:cNvPr id="45" name="addin_colorbox" hidden="1">
            <a:extLst>
              <a:ext uri="{FF2B5EF4-FFF2-40B4-BE49-F238E27FC236}">
                <a16:creationId xmlns:a16="http://schemas.microsoft.com/office/drawing/2014/main" id="{4647CBF0-028B-48BC-8377-8664458D9C7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46" name="addin_background" hidden="1">
            <a:extLst>
              <a:ext uri="{FF2B5EF4-FFF2-40B4-BE49-F238E27FC236}">
                <a16:creationId xmlns:a16="http://schemas.microsoft.com/office/drawing/2014/main" id="{A4BBCABF-1EAD-4EE4-9436-DCF1D624554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56" name="addin_logo" hidden="1">
            <a:extLst>
              <a:ext uri="{FF2B5EF4-FFF2-40B4-BE49-F238E27FC236}">
                <a16:creationId xmlns:a16="http://schemas.microsoft.com/office/drawing/2014/main" id="{53D5C84E-F74F-4DE1-B8BD-09B906AD981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57" name="addin_title" hidden="1">
            <a:extLst>
              <a:ext uri="{FF2B5EF4-FFF2-40B4-BE49-F238E27FC236}">
                <a16:creationId xmlns:a16="http://schemas.microsoft.com/office/drawing/2014/main" id="{6A4887B0-59E8-4459-A232-FBE56D3489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58" name="addin_text" hidden="1">
            <a:extLst>
              <a:ext uri="{FF2B5EF4-FFF2-40B4-BE49-F238E27FC236}">
                <a16:creationId xmlns:a16="http://schemas.microsoft.com/office/drawing/2014/main" id="{DFF3A27C-DEC0-4C13-A024-9CDA6FA62D2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59" name="DefLogoHvit" hidden="1">
            <a:extLst>
              <a:ext uri="{FF2B5EF4-FFF2-40B4-BE49-F238E27FC236}">
                <a16:creationId xmlns:a16="http://schemas.microsoft.com/office/drawing/2014/main" id="{E242F738-11B7-4699-ADA7-AD2F8082B21C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62" name="logo_blaa" hidden="1">
            <a:extLst>
              <a:ext uri="{FF2B5EF4-FFF2-40B4-BE49-F238E27FC236}">
                <a16:creationId xmlns:a16="http://schemas.microsoft.com/office/drawing/2014/main" id="{6071EE30-C9B5-496D-8360-6E0AFED06E1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63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F9E8CEB5-C9BE-499E-B7EC-47FB4369C50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86069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CBE4C0-AD7E-4767-A37B-3C4FCC55BF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09692" y="1238672"/>
            <a:ext cx="5242508" cy="5242256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242492" y="566738"/>
            <a:ext cx="2775947" cy="5931262"/>
          </a:xfrm>
          <a:custGeom>
            <a:avLst/>
            <a:gdLst>
              <a:gd name="connsiteX0" fmla="*/ 0 w 2775947"/>
              <a:gd name="connsiteY0" fmla="*/ 0 h 5931262"/>
              <a:gd name="connsiteX1" fmla="*/ 2775947 w 2775947"/>
              <a:gd name="connsiteY1" fmla="*/ 0 h 5931262"/>
              <a:gd name="connsiteX2" fmla="*/ 2775947 w 2775947"/>
              <a:gd name="connsiteY2" fmla="*/ 5516988 h 5931262"/>
              <a:gd name="connsiteX3" fmla="*/ 2725403 w 2775947"/>
              <a:gd name="connsiteY3" fmla="*/ 5551158 h 5931262"/>
              <a:gd name="connsiteX4" fmla="*/ 1388454 w 2775947"/>
              <a:gd name="connsiteY4" fmla="*/ 5931262 h 5931262"/>
              <a:gd name="connsiteX5" fmla="*/ 51506 w 2775947"/>
              <a:gd name="connsiteY5" fmla="*/ 5551158 h 5931262"/>
              <a:gd name="connsiteX6" fmla="*/ 0 w 2775947"/>
              <a:gd name="connsiteY6" fmla="*/ 5516338 h 593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75947" h="5931262">
                <a:moveTo>
                  <a:pt x="0" y="0"/>
                </a:moveTo>
                <a:lnTo>
                  <a:pt x="2775947" y="0"/>
                </a:lnTo>
                <a:lnTo>
                  <a:pt x="2775947" y="5516988"/>
                </a:lnTo>
                <a:lnTo>
                  <a:pt x="2725403" y="5551158"/>
                </a:lnTo>
                <a:cubicBezTo>
                  <a:pt x="2330248" y="5793781"/>
                  <a:pt x="1872419" y="5931262"/>
                  <a:pt x="1388454" y="5931262"/>
                </a:cubicBezTo>
                <a:cubicBezTo>
                  <a:pt x="904490" y="5931262"/>
                  <a:pt x="446660" y="5793781"/>
                  <a:pt x="51506" y="5551158"/>
                </a:cubicBezTo>
                <a:lnTo>
                  <a:pt x="0" y="5516338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spcBef>
                <a:spcPts val="1800"/>
              </a:spcBef>
              <a:buNone/>
              <a:defRPr sz="4400"/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7CB38BD-06CD-4641-A90C-18CE66C56A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93199" y="391996"/>
            <a:ext cx="3269209" cy="642320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C83D3ED5-C123-48D8-BF8E-0476E8596C82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Title 13">
            <a:extLst>
              <a:ext uri="{FF2B5EF4-FFF2-40B4-BE49-F238E27FC236}">
                <a16:creationId xmlns:a16="http://schemas.microsoft.com/office/drawing/2014/main" id="{02A992B5-F485-45DA-B617-5194C3E6D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206151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4" name="Text Placeholder 27">
            <a:extLst>
              <a:ext uri="{FF2B5EF4-FFF2-40B4-BE49-F238E27FC236}">
                <a16:creationId xmlns:a16="http://schemas.microsoft.com/office/drawing/2014/main" id="{28E5F674-4C79-44C3-8673-EC472B01890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913" y="2819152"/>
            <a:ext cx="4695079" cy="268763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25" name="Logo">
            <a:extLst>
              <a:ext uri="{FF2B5EF4-FFF2-40B4-BE49-F238E27FC236}">
                <a16:creationId xmlns:a16="http://schemas.microsoft.com/office/drawing/2014/main" id="{6F504348-71B2-47D0-988E-B76DD129709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5938" y="5837638"/>
            <a:ext cx="507600" cy="50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21882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side (Neste sid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CBE4C0-AD7E-4767-A37B-3C4FCC55BF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08867" y="1283854"/>
            <a:ext cx="5242508" cy="5242256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341667" y="609539"/>
            <a:ext cx="2775947" cy="5931262"/>
          </a:xfrm>
          <a:custGeom>
            <a:avLst/>
            <a:gdLst>
              <a:gd name="connsiteX0" fmla="*/ 0 w 2775947"/>
              <a:gd name="connsiteY0" fmla="*/ 0 h 5931262"/>
              <a:gd name="connsiteX1" fmla="*/ 2775947 w 2775947"/>
              <a:gd name="connsiteY1" fmla="*/ 0 h 5931262"/>
              <a:gd name="connsiteX2" fmla="*/ 2775947 w 2775947"/>
              <a:gd name="connsiteY2" fmla="*/ 5516988 h 5931262"/>
              <a:gd name="connsiteX3" fmla="*/ 2725403 w 2775947"/>
              <a:gd name="connsiteY3" fmla="*/ 5551158 h 5931262"/>
              <a:gd name="connsiteX4" fmla="*/ 1388454 w 2775947"/>
              <a:gd name="connsiteY4" fmla="*/ 5931262 h 5931262"/>
              <a:gd name="connsiteX5" fmla="*/ 51506 w 2775947"/>
              <a:gd name="connsiteY5" fmla="*/ 5551158 h 5931262"/>
              <a:gd name="connsiteX6" fmla="*/ 0 w 2775947"/>
              <a:gd name="connsiteY6" fmla="*/ 5516338 h 593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75947" h="5931262">
                <a:moveTo>
                  <a:pt x="0" y="0"/>
                </a:moveTo>
                <a:lnTo>
                  <a:pt x="2775947" y="0"/>
                </a:lnTo>
                <a:lnTo>
                  <a:pt x="2775947" y="5516988"/>
                </a:lnTo>
                <a:lnTo>
                  <a:pt x="2725403" y="5551158"/>
                </a:lnTo>
                <a:cubicBezTo>
                  <a:pt x="2330248" y="5793781"/>
                  <a:pt x="1872419" y="5931262"/>
                  <a:pt x="1388454" y="5931262"/>
                </a:cubicBezTo>
                <a:cubicBezTo>
                  <a:pt x="904490" y="5931262"/>
                  <a:pt x="446660" y="5793781"/>
                  <a:pt x="51506" y="5551158"/>
                </a:cubicBezTo>
                <a:lnTo>
                  <a:pt x="0" y="5516338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/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82495" y="2162175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6F47EA2-9057-40E9-8497-026110B55D1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82495" y="3590080"/>
            <a:ext cx="4695079" cy="268763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7CB38BD-06CD-4641-A90C-18CE66C56A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092374" y="434797"/>
            <a:ext cx="3269209" cy="6423203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DA2EDFEE-A606-400C-BA08-036FC2EA105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3" name="logo_blaa" hidden="1">
            <a:extLst>
              <a:ext uri="{FF2B5EF4-FFF2-40B4-BE49-F238E27FC236}">
                <a16:creationId xmlns:a16="http://schemas.microsoft.com/office/drawing/2014/main" id="{ABCBE550-D028-43C6-8099-F104E6A5F9D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4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30E034C5-5E9E-46AC-AFB9-C8D130F8BC1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92042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CBE4C0-AD7E-4767-A37B-3C4FCC55BF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08867" y="1283854"/>
            <a:ext cx="5242508" cy="5242256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82495" y="2162175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6F47EA2-9057-40E9-8497-026110B55D1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82495" y="3590080"/>
            <a:ext cx="4695079" cy="268763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22" name="Circle 2">
            <a:extLst>
              <a:ext uri="{FF2B5EF4-FFF2-40B4-BE49-F238E27FC236}">
                <a16:creationId xmlns:a16="http://schemas.microsoft.com/office/drawing/2014/main" id="{643EB9AF-85D6-452D-8D92-900AFF59F2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235075" y="1303425"/>
            <a:ext cx="5019194" cy="5019194"/>
          </a:xfrm>
          <a:prstGeom prst="rect">
            <a:avLst/>
          </a:prstGeom>
        </p:spPr>
      </p:pic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1127143">
            <a:off x="1557912" y="3841396"/>
            <a:ext cx="4211870" cy="2376818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/>
            </a:lvl1pPr>
          </a:lstStyle>
          <a:p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0D2883-1DBB-4A89-BE2A-3AB6A6803EC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236677" y="3408539"/>
            <a:ext cx="4968936" cy="4090061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4" name="logo_blaa" hidden="1">
            <a:extLst>
              <a:ext uri="{FF2B5EF4-FFF2-40B4-BE49-F238E27FC236}">
                <a16:creationId xmlns:a16="http://schemas.microsoft.com/office/drawing/2014/main" id="{01220CB3-0E4F-4806-A40C-578F55CA2B8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5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C401D185-410C-4B5F-9507-9A9A25BEC9E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681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81 " pathEditMode="relative" ptsTypes="AA">
                                      <p:cBhvr>
                                        <p:cTn id="6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81 " pathEditMode="relative" ptsTypes="AA">
                                      <p:cBhvr>
                                        <p:cTn id="8" dur="2000" fill="hold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81 " pathEditMode="relative" ptsTypes="AA">
                                      <p:cBhvr>
                                        <p:cTn id="10" dur="2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5" grpId="0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0 -0.2581 " pathEditMode="relative" ptsTypes="AA">
                      <p:cBhvr>
                        <p:cTn dur="20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0 -0.2581 " pathEditMode="relative" ptsTypes="AA">
                      <p:cBhvr>
                        <p:cTn dur="20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side (Animasjon)">
    <p:bg>
      <p:bgPr>
        <a:solidFill>
          <a:srgbClr val="F8E9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5BB0CE27-C394-4607-98BB-7BA11CE74F4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96002" y="1"/>
            <a:ext cx="6095999" cy="6857998"/>
          </a:xfrm>
          <a:custGeom>
            <a:avLst/>
            <a:gdLst>
              <a:gd name="connsiteX0" fmla="*/ 1649621 w 6095999"/>
              <a:gd name="connsiteY0" fmla="*/ 0 h 6857998"/>
              <a:gd name="connsiteX1" fmla="*/ 6095999 w 6095999"/>
              <a:gd name="connsiteY1" fmla="*/ 0 h 6857998"/>
              <a:gd name="connsiteX2" fmla="*/ 6095999 w 6095999"/>
              <a:gd name="connsiteY2" fmla="*/ 6857998 h 6857998"/>
              <a:gd name="connsiteX3" fmla="*/ 1650155 w 6095999"/>
              <a:gd name="connsiteY3" fmla="*/ 6857998 h 6857998"/>
              <a:gd name="connsiteX4" fmla="*/ 1597925 w 6095999"/>
              <a:gd name="connsiteY4" fmla="*/ 6816955 h 6857998"/>
              <a:gd name="connsiteX5" fmla="*/ 0 w 6095999"/>
              <a:gd name="connsiteY5" fmla="*/ 3428789 h 6857998"/>
              <a:gd name="connsiteX6" fmla="*/ 1597925 w 6095999"/>
              <a:gd name="connsiteY6" fmla="*/ 40623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5999" h="6857998">
                <a:moveTo>
                  <a:pt x="1649621" y="0"/>
                </a:moveTo>
                <a:lnTo>
                  <a:pt x="6095999" y="0"/>
                </a:lnTo>
                <a:lnTo>
                  <a:pt x="6095999" y="6857998"/>
                </a:lnTo>
                <a:lnTo>
                  <a:pt x="1650155" y="6857998"/>
                </a:lnTo>
                <a:lnTo>
                  <a:pt x="1597925" y="6816955"/>
                </a:lnTo>
                <a:cubicBezTo>
                  <a:pt x="622032" y="6011615"/>
                  <a:pt x="0" y="4792841"/>
                  <a:pt x="0" y="3428789"/>
                </a:cubicBezTo>
                <a:cubicBezTo>
                  <a:pt x="0" y="2064738"/>
                  <a:pt x="622032" y="845963"/>
                  <a:pt x="1597925" y="40623"/>
                </a:cubicBezTo>
                <a:close/>
              </a:path>
            </a:pathLst>
          </a:custGeom>
          <a:solidFill>
            <a:srgbClr val="042478"/>
          </a:solidFill>
        </p:spPr>
        <p:txBody>
          <a:bodyPr wrap="square">
            <a:noAutofit/>
          </a:bodyPr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526EE899-D5E9-4D5E-880C-C006EB3F14F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itle 13">
            <a:extLst>
              <a:ext uri="{FF2B5EF4-FFF2-40B4-BE49-F238E27FC236}">
                <a16:creationId xmlns:a16="http://schemas.microsoft.com/office/drawing/2014/main" id="{F2EC2875-A8E4-4C69-9D40-24A9CCC2F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206151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42478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3" name="Text Placeholder 27">
            <a:extLst>
              <a:ext uri="{FF2B5EF4-FFF2-40B4-BE49-F238E27FC236}">
                <a16:creationId xmlns:a16="http://schemas.microsoft.com/office/drawing/2014/main" id="{C6E809E9-2EE0-4D5E-ABD5-7560E83DF04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913" y="2819152"/>
            <a:ext cx="4695079" cy="2687638"/>
          </a:xfrm>
        </p:spPr>
        <p:txBody>
          <a:bodyPr/>
          <a:lstStyle>
            <a:lvl1pPr>
              <a:defRPr sz="1400">
                <a:solidFill>
                  <a:srgbClr val="042478"/>
                </a:solidFill>
              </a:defRPr>
            </a:lvl1pPr>
            <a:lvl2pPr>
              <a:defRPr sz="1200">
                <a:solidFill>
                  <a:srgbClr val="042478"/>
                </a:solidFill>
              </a:defRPr>
            </a:lvl2pPr>
            <a:lvl3pPr>
              <a:defRPr sz="1100">
                <a:solidFill>
                  <a:srgbClr val="042478"/>
                </a:solidFill>
              </a:defRPr>
            </a:lvl3pPr>
            <a:lvl4pPr>
              <a:defRPr sz="1000">
                <a:solidFill>
                  <a:srgbClr val="042478"/>
                </a:solidFill>
              </a:defRPr>
            </a:lvl4pPr>
            <a:lvl5pPr>
              <a:defRPr sz="900">
                <a:solidFill>
                  <a:srgbClr val="042478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0095499">
            <a:off x="7470934" y="2251972"/>
            <a:ext cx="2477110" cy="5326551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/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7CB38BD-06CD-4641-A90C-18CE66C56A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20087460">
            <a:off x="7250598" y="2087988"/>
            <a:ext cx="2902052" cy="563668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8" name="Picture Placeholder 31">
            <a:extLst>
              <a:ext uri="{FF2B5EF4-FFF2-40B4-BE49-F238E27FC236}">
                <a16:creationId xmlns:a16="http://schemas.microsoft.com/office/drawing/2014/main" id="{81C825AF-C1C5-44BB-9F0A-1E28516D9E18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 rot="20095499">
            <a:off x="11413087" y="3189250"/>
            <a:ext cx="2480710" cy="5321378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/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6" name="Text Placeholder 64">
            <a:extLst>
              <a:ext uri="{FF2B5EF4-FFF2-40B4-BE49-F238E27FC236}">
                <a16:creationId xmlns:a16="http://schemas.microsoft.com/office/drawing/2014/main" id="{8001664F-BDA3-427D-9F79-FBB525E0DF0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 rot="20087460">
            <a:off x="11194429" y="3019296"/>
            <a:ext cx="2902052" cy="563668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6FA45245-CF0F-4C62-9C54-940D3464471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5938" y="5837638"/>
            <a:ext cx="507600" cy="50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183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3.33333E-6 L -0.0625 -0.2388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25" y="-11944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8" dur="2000" fill="hold"/>
                                        <p:tgtEl>
                                          <p:spTgt spid="6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10" dur="2000" fill="hold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7.40741E-7 L -0.0625 -0.23889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25" y="-11944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14" dur="2000" fill="hold"/>
                                        <p:tgtEl>
                                          <p:spTgt spid="2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18" dur="2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65" grpId="0" uiExpand="1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6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6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  <p:bldP spid="28" grpId="0"/>
      <p:bldP spid="26" grpId="0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click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c (Animasjon)">
    <p:bg>
      <p:bgPr>
        <a:solidFill>
          <a:srgbClr val="F8E9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4A80CED5-AB6B-4994-B3E6-B97FBE16A8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96002" y="1"/>
            <a:ext cx="6095999" cy="6857998"/>
          </a:xfrm>
          <a:custGeom>
            <a:avLst/>
            <a:gdLst>
              <a:gd name="connsiteX0" fmla="*/ 1649621 w 6095999"/>
              <a:gd name="connsiteY0" fmla="*/ 0 h 6857998"/>
              <a:gd name="connsiteX1" fmla="*/ 6095999 w 6095999"/>
              <a:gd name="connsiteY1" fmla="*/ 0 h 6857998"/>
              <a:gd name="connsiteX2" fmla="*/ 6095999 w 6095999"/>
              <a:gd name="connsiteY2" fmla="*/ 6857998 h 6857998"/>
              <a:gd name="connsiteX3" fmla="*/ 1650155 w 6095999"/>
              <a:gd name="connsiteY3" fmla="*/ 6857998 h 6857998"/>
              <a:gd name="connsiteX4" fmla="*/ 1597925 w 6095999"/>
              <a:gd name="connsiteY4" fmla="*/ 6816955 h 6857998"/>
              <a:gd name="connsiteX5" fmla="*/ 0 w 6095999"/>
              <a:gd name="connsiteY5" fmla="*/ 3428789 h 6857998"/>
              <a:gd name="connsiteX6" fmla="*/ 1597925 w 6095999"/>
              <a:gd name="connsiteY6" fmla="*/ 40623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5999" h="6857998">
                <a:moveTo>
                  <a:pt x="1649621" y="0"/>
                </a:moveTo>
                <a:lnTo>
                  <a:pt x="6095999" y="0"/>
                </a:lnTo>
                <a:lnTo>
                  <a:pt x="6095999" y="6857998"/>
                </a:lnTo>
                <a:lnTo>
                  <a:pt x="1650155" y="6857998"/>
                </a:lnTo>
                <a:lnTo>
                  <a:pt x="1597925" y="6816955"/>
                </a:lnTo>
                <a:cubicBezTo>
                  <a:pt x="622032" y="6011615"/>
                  <a:pt x="0" y="4792841"/>
                  <a:pt x="0" y="3428789"/>
                </a:cubicBezTo>
                <a:cubicBezTo>
                  <a:pt x="0" y="2064738"/>
                  <a:pt x="622032" y="845963"/>
                  <a:pt x="1597925" y="40623"/>
                </a:cubicBezTo>
                <a:close/>
              </a:path>
            </a:pathLst>
          </a:custGeom>
          <a:solidFill>
            <a:srgbClr val="042478"/>
          </a:solidFill>
        </p:spPr>
        <p:txBody>
          <a:bodyPr wrap="square">
            <a:noAutofit/>
          </a:bodyPr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526EE899-D5E9-4D5E-880C-C006EB3F14F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itle 13">
            <a:extLst>
              <a:ext uri="{FF2B5EF4-FFF2-40B4-BE49-F238E27FC236}">
                <a16:creationId xmlns:a16="http://schemas.microsoft.com/office/drawing/2014/main" id="{F2EC2875-A8E4-4C69-9D40-24A9CCC2F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206151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42478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3" name="Text Placeholder 27">
            <a:extLst>
              <a:ext uri="{FF2B5EF4-FFF2-40B4-BE49-F238E27FC236}">
                <a16:creationId xmlns:a16="http://schemas.microsoft.com/office/drawing/2014/main" id="{C6E809E9-2EE0-4D5E-ABD5-7560E83DF04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913" y="2819152"/>
            <a:ext cx="4695079" cy="2687638"/>
          </a:xfrm>
        </p:spPr>
        <p:txBody>
          <a:bodyPr/>
          <a:lstStyle>
            <a:lvl1pPr>
              <a:defRPr sz="1400">
                <a:solidFill>
                  <a:srgbClr val="042478"/>
                </a:solidFill>
              </a:defRPr>
            </a:lvl1pPr>
            <a:lvl2pPr>
              <a:defRPr sz="1200">
                <a:solidFill>
                  <a:srgbClr val="042478"/>
                </a:solidFill>
              </a:defRPr>
            </a:lvl2pPr>
            <a:lvl3pPr>
              <a:defRPr sz="1100">
                <a:solidFill>
                  <a:srgbClr val="042478"/>
                </a:solidFill>
              </a:defRPr>
            </a:lvl3pPr>
            <a:lvl4pPr>
              <a:defRPr sz="1000">
                <a:solidFill>
                  <a:srgbClr val="042478"/>
                </a:solidFill>
              </a:defRPr>
            </a:lvl4pPr>
            <a:lvl5pPr>
              <a:defRPr sz="900">
                <a:solidFill>
                  <a:srgbClr val="042478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6FA45245-CF0F-4C62-9C54-940D346447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5938" y="5837638"/>
            <a:ext cx="507600" cy="507600"/>
          </a:xfrm>
          <a:prstGeom prst="rect">
            <a:avLst/>
          </a:prstGeom>
        </p:spPr>
      </p:pic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EDD01A2-4366-4D2C-A0E7-B1B95B71D09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844477" y="1750446"/>
            <a:ext cx="5995752" cy="493526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Picture Placeholder 31">
            <a:extLst>
              <a:ext uri="{FF2B5EF4-FFF2-40B4-BE49-F238E27FC236}">
                <a16:creationId xmlns:a16="http://schemas.microsoft.com/office/drawing/2014/main" id="{26E0B4AE-3913-4C0F-A569-2625D1C2CEE1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1127143">
            <a:off x="7230274" y="2275124"/>
            <a:ext cx="5097572" cy="2882167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/>
            </a:lvl1pPr>
          </a:lstStyle>
          <a:p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r>
              <a:rPr lang="en-US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7622D3-E2C3-498F-9799-B2CB374E63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25569" y="5636682"/>
            <a:ext cx="3947160" cy="646518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CCB4E4-C2B8-4505-B3B2-E7A16D1D597F}"/>
              </a:ext>
            </a:extLst>
          </p:cNvPr>
          <p:cNvSpPr txBox="1"/>
          <p:nvPr userDrawn="1"/>
        </p:nvSpPr>
        <p:spPr>
          <a:xfrm>
            <a:off x="6821714" y="2445657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B9D396-4FA5-4E05-AA33-A3B2F34FDFD0}"/>
              </a:ext>
            </a:extLst>
          </p:cNvPr>
          <p:cNvSpPr txBox="1"/>
          <p:nvPr userDrawn="1"/>
        </p:nvSpPr>
        <p:spPr>
          <a:xfrm>
            <a:off x="6778171" y="2685142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65075B-279A-49F7-9EF7-C440206021BF}"/>
              </a:ext>
            </a:extLst>
          </p:cNvPr>
          <p:cNvSpPr txBox="1"/>
          <p:nvPr userDrawn="1"/>
        </p:nvSpPr>
        <p:spPr>
          <a:xfrm>
            <a:off x="6778171" y="2685142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D69F34-0256-46BB-95B6-72F3160484E5}"/>
              </a:ext>
            </a:extLst>
          </p:cNvPr>
          <p:cNvSpPr txBox="1"/>
          <p:nvPr userDrawn="1"/>
        </p:nvSpPr>
        <p:spPr>
          <a:xfrm>
            <a:off x="5054535" y="-24384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3604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3437 -0.14167 " pathEditMode="relative" ptsTypes="AA">
                                      <p:cBhvr>
                                        <p:cTn id="6" dur="2000" fill="hold"/>
                                        <p:tgtEl>
                                          <p:spTgt spid="2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3437 -0.14167 " pathEditMode="relative" ptsTypes="AA">
                                      <p:cBhvr>
                                        <p:cTn id="8" dur="20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1.85185E-6 L -0.03437 -0.14167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19" y="-7083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8789 0.17593 L 4.58333E-6 -1.48148E-6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284" y="-9051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7383 0.10393 L 0.24388 0.20069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03" y="4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3437 -0.14167 " pathEditMode="relative" ptsTypes="AA">
                      <p:cBhvr>
                        <p:cTn dur="2000" fill="hold"/>
                        <p:tgtEl>
                          <p:spTgt spid="2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3437 -0.14167 " pathEditMode="relative" ptsTypes="AA">
                      <p:cBhvr>
                        <p:cTn dur="2000" fill="hold"/>
                        <p:tgtEl>
                          <p:spTgt spid="2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  <p:bldP spid="24" grpId="0"/>
      <p:bldP spid="3" grpId="0" uiExpand="1" build="p" animBg="1">
        <p:tmplLst>
          <p:tmpl>
            <p:tnLst>
              <p:par>
                <p:cTn presetID="42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.08789 0.17593 L 4.58333E-6 -1.48148E-6 " pathEditMode="relative" rAng="0" ptsTypes="AA">
                      <p:cBhvr>
                        <p:cTn dur="2000" fill="hold"/>
                        <p:tgtEl>
                          <p:spTgt spid="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4284" y="-9051"/>
                    </p:animMotion>
                  </p:childTnLst>
                </p:cTn>
              </p:par>
            </p:tnLst>
          </p:tmpl>
          <p:tmpl lvl="1">
            <p:tnLst>
              <p:par>
                <p:cTn presetID="42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.17383 0.10393 L 0.24388 0.20069 " pathEditMode="relative" rAng="0" ptsTypes="AA">
                      <p:cBhvr>
                        <p:cTn dur="2000" fill="hold"/>
                        <p:tgtEl>
                          <p:spTgt spid="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3503" y="4838"/>
                    </p:animMotion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image" Target="../media/image4.png"/><Relationship Id="rId68" Type="http://schemas.openxmlformats.org/officeDocument/2006/relationships/image" Target="../media/image9.png"/><Relationship Id="rId84" Type="http://schemas.openxmlformats.org/officeDocument/2006/relationships/image" Target="../media/image25.png"/><Relationship Id="rId89" Type="http://schemas.openxmlformats.org/officeDocument/2006/relationships/image" Target="../media/image30.png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image" Target="../media/image15.png"/><Relationship Id="rId79" Type="http://schemas.openxmlformats.org/officeDocument/2006/relationships/image" Target="../media/image20.png"/><Relationship Id="rId102" Type="http://schemas.openxmlformats.org/officeDocument/2006/relationships/image" Target="../media/image43.png"/><Relationship Id="rId5" Type="http://schemas.openxmlformats.org/officeDocument/2006/relationships/slideLayout" Target="../slideLayouts/slideLayout5.xml"/><Relationship Id="rId90" Type="http://schemas.openxmlformats.org/officeDocument/2006/relationships/image" Target="../media/image31.png"/><Relationship Id="rId95" Type="http://schemas.openxmlformats.org/officeDocument/2006/relationships/image" Target="../media/image36.png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image" Target="../media/image5.png"/><Relationship Id="rId69" Type="http://schemas.openxmlformats.org/officeDocument/2006/relationships/image" Target="../media/image10.png"/><Relationship Id="rId80" Type="http://schemas.openxmlformats.org/officeDocument/2006/relationships/image" Target="../media/image21.png"/><Relationship Id="rId85" Type="http://schemas.openxmlformats.org/officeDocument/2006/relationships/image" Target="../media/image26.png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theme" Target="../theme/theme1.xml"/><Relationship Id="rId103" Type="http://schemas.openxmlformats.org/officeDocument/2006/relationships/image" Target="../media/image44.pn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image" Target="../media/image3.png"/><Relationship Id="rId70" Type="http://schemas.openxmlformats.org/officeDocument/2006/relationships/image" Target="../media/image11.png"/><Relationship Id="rId75" Type="http://schemas.openxmlformats.org/officeDocument/2006/relationships/image" Target="../media/image16.png"/><Relationship Id="rId83" Type="http://schemas.openxmlformats.org/officeDocument/2006/relationships/image" Target="../media/image24.png"/><Relationship Id="rId88" Type="http://schemas.openxmlformats.org/officeDocument/2006/relationships/image" Target="../media/image29.png"/><Relationship Id="rId91" Type="http://schemas.openxmlformats.org/officeDocument/2006/relationships/image" Target="../media/image32.png"/><Relationship Id="rId96" Type="http://schemas.openxmlformats.org/officeDocument/2006/relationships/image" Target="../media/image37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png"/><Relationship Id="rId65" Type="http://schemas.openxmlformats.org/officeDocument/2006/relationships/image" Target="../media/image6.png"/><Relationship Id="rId73" Type="http://schemas.openxmlformats.org/officeDocument/2006/relationships/image" Target="../media/image14.png"/><Relationship Id="rId78" Type="http://schemas.openxmlformats.org/officeDocument/2006/relationships/image" Target="../media/image19.png"/><Relationship Id="rId81" Type="http://schemas.openxmlformats.org/officeDocument/2006/relationships/image" Target="../media/image22.png"/><Relationship Id="rId86" Type="http://schemas.openxmlformats.org/officeDocument/2006/relationships/image" Target="../media/image27.png"/><Relationship Id="rId94" Type="http://schemas.openxmlformats.org/officeDocument/2006/relationships/image" Target="../media/image35.png"/><Relationship Id="rId99" Type="http://schemas.openxmlformats.org/officeDocument/2006/relationships/image" Target="../media/image40.png"/><Relationship Id="rId101" Type="http://schemas.openxmlformats.org/officeDocument/2006/relationships/image" Target="../media/image4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image" Target="../media/image17.png"/><Relationship Id="rId97" Type="http://schemas.openxmlformats.org/officeDocument/2006/relationships/image" Target="../media/image38.png"/><Relationship Id="rId104" Type="http://schemas.openxmlformats.org/officeDocument/2006/relationships/image" Target="../media/image45.png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12.png"/><Relationship Id="rId92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image" Target="../media/image7.png"/><Relationship Id="rId87" Type="http://schemas.openxmlformats.org/officeDocument/2006/relationships/image" Target="../media/image28.png"/><Relationship Id="rId61" Type="http://schemas.openxmlformats.org/officeDocument/2006/relationships/image" Target="../media/image2.svg"/><Relationship Id="rId82" Type="http://schemas.openxmlformats.org/officeDocument/2006/relationships/image" Target="../media/image23.png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image" Target="../media/image18.png"/><Relationship Id="rId100" Type="http://schemas.openxmlformats.org/officeDocument/2006/relationships/image" Target="../media/image41.png"/><Relationship Id="rId105" Type="http://schemas.openxmlformats.org/officeDocument/2006/relationships/image" Target="../media/image46.png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image" Target="../media/image13.png"/><Relationship Id="rId93" Type="http://schemas.openxmlformats.org/officeDocument/2006/relationships/image" Target="../media/image34.png"/><Relationship Id="rId98" Type="http://schemas.openxmlformats.org/officeDocument/2006/relationships/image" Target="../media/image39.png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image" Target="../media/image8.png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84.xml"/><Relationship Id="rId21" Type="http://schemas.openxmlformats.org/officeDocument/2006/relationships/slideLayout" Target="../slideLayouts/slideLayout79.xml"/><Relationship Id="rId42" Type="http://schemas.openxmlformats.org/officeDocument/2006/relationships/slideLayout" Target="../slideLayouts/slideLayout100.xml"/><Relationship Id="rId47" Type="http://schemas.openxmlformats.org/officeDocument/2006/relationships/slideLayout" Target="../slideLayouts/slideLayout105.xml"/><Relationship Id="rId63" Type="http://schemas.openxmlformats.org/officeDocument/2006/relationships/image" Target="../media/image13.png"/><Relationship Id="rId68" Type="http://schemas.openxmlformats.org/officeDocument/2006/relationships/image" Target="../media/image20.png"/><Relationship Id="rId84" Type="http://schemas.openxmlformats.org/officeDocument/2006/relationships/image" Target="../media/image44.png"/><Relationship Id="rId1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69.xml"/><Relationship Id="rId32" Type="http://schemas.openxmlformats.org/officeDocument/2006/relationships/slideLayout" Target="../slideLayouts/slideLayout90.xml"/><Relationship Id="rId37" Type="http://schemas.openxmlformats.org/officeDocument/2006/relationships/slideLayout" Target="../slideLayouts/slideLayout95.xml"/><Relationship Id="rId53" Type="http://schemas.openxmlformats.org/officeDocument/2006/relationships/oleObject" Target="../embeddings/oleObject1.bin"/><Relationship Id="rId58" Type="http://schemas.openxmlformats.org/officeDocument/2006/relationships/image" Target="../media/image6.png"/><Relationship Id="rId74" Type="http://schemas.openxmlformats.org/officeDocument/2006/relationships/image" Target="../media/image28.png"/><Relationship Id="rId79" Type="http://schemas.openxmlformats.org/officeDocument/2006/relationships/image" Target="../media/image37.png"/><Relationship Id="rId5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slideLayout" Target="../slideLayouts/slideLayout88.xml"/><Relationship Id="rId35" Type="http://schemas.openxmlformats.org/officeDocument/2006/relationships/slideLayout" Target="../slideLayouts/slideLayout93.xml"/><Relationship Id="rId43" Type="http://schemas.openxmlformats.org/officeDocument/2006/relationships/slideLayout" Target="../slideLayouts/slideLayout101.xml"/><Relationship Id="rId48" Type="http://schemas.openxmlformats.org/officeDocument/2006/relationships/slideLayout" Target="../slideLayouts/slideLayout106.xml"/><Relationship Id="rId56" Type="http://schemas.openxmlformats.org/officeDocument/2006/relationships/image" Target="../media/image2.svg"/><Relationship Id="rId64" Type="http://schemas.openxmlformats.org/officeDocument/2006/relationships/image" Target="../media/image14.png"/><Relationship Id="rId69" Type="http://schemas.openxmlformats.org/officeDocument/2006/relationships/image" Target="../media/image21.png"/><Relationship Id="rId77" Type="http://schemas.openxmlformats.org/officeDocument/2006/relationships/image" Target="../media/image35.png"/><Relationship Id="rId8" Type="http://schemas.openxmlformats.org/officeDocument/2006/relationships/slideLayout" Target="../slideLayouts/slideLayout66.xml"/><Relationship Id="rId51" Type="http://schemas.openxmlformats.org/officeDocument/2006/relationships/theme" Target="../theme/theme2.xml"/><Relationship Id="rId72" Type="http://schemas.openxmlformats.org/officeDocument/2006/relationships/image" Target="../media/image64.png"/><Relationship Id="rId80" Type="http://schemas.openxmlformats.org/officeDocument/2006/relationships/image" Target="../media/image38.png"/><Relationship Id="rId85" Type="http://schemas.openxmlformats.org/officeDocument/2006/relationships/image" Target="../media/image65.png"/><Relationship Id="rId3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33" Type="http://schemas.openxmlformats.org/officeDocument/2006/relationships/slideLayout" Target="../slideLayouts/slideLayout91.xml"/><Relationship Id="rId38" Type="http://schemas.openxmlformats.org/officeDocument/2006/relationships/slideLayout" Target="../slideLayouts/slideLayout96.xml"/><Relationship Id="rId46" Type="http://schemas.openxmlformats.org/officeDocument/2006/relationships/slideLayout" Target="../slideLayouts/slideLayout104.xml"/><Relationship Id="rId59" Type="http://schemas.openxmlformats.org/officeDocument/2006/relationships/image" Target="../media/image9.png"/><Relationship Id="rId67" Type="http://schemas.openxmlformats.org/officeDocument/2006/relationships/image" Target="../media/image19.png"/><Relationship Id="rId20" Type="http://schemas.openxmlformats.org/officeDocument/2006/relationships/slideLayout" Target="../slideLayouts/slideLayout78.xml"/><Relationship Id="rId41" Type="http://schemas.openxmlformats.org/officeDocument/2006/relationships/slideLayout" Target="../slideLayouts/slideLayout99.xml"/><Relationship Id="rId54" Type="http://schemas.openxmlformats.org/officeDocument/2006/relationships/image" Target="../media/image60.emf"/><Relationship Id="rId62" Type="http://schemas.openxmlformats.org/officeDocument/2006/relationships/image" Target="../media/image62.png"/><Relationship Id="rId70" Type="http://schemas.openxmlformats.org/officeDocument/2006/relationships/image" Target="../media/image22.png"/><Relationship Id="rId75" Type="http://schemas.openxmlformats.org/officeDocument/2006/relationships/image" Target="../media/image31.png"/><Relationship Id="rId83" Type="http://schemas.openxmlformats.org/officeDocument/2006/relationships/image" Target="../media/image43.png"/><Relationship Id="rId88" Type="http://schemas.openxmlformats.org/officeDocument/2006/relationships/image" Target="../media/image4.png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6.xml"/><Relationship Id="rId36" Type="http://schemas.openxmlformats.org/officeDocument/2006/relationships/slideLayout" Target="../slideLayouts/slideLayout94.xml"/><Relationship Id="rId49" Type="http://schemas.openxmlformats.org/officeDocument/2006/relationships/slideLayout" Target="../slideLayouts/slideLayout107.xml"/><Relationship Id="rId57" Type="http://schemas.openxmlformats.org/officeDocument/2006/relationships/image" Target="../media/image5.png"/><Relationship Id="rId10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9.xml"/><Relationship Id="rId44" Type="http://schemas.openxmlformats.org/officeDocument/2006/relationships/slideLayout" Target="../slideLayouts/slideLayout102.xml"/><Relationship Id="rId52" Type="http://schemas.openxmlformats.org/officeDocument/2006/relationships/tags" Target="../tags/tag2.xml"/><Relationship Id="rId60" Type="http://schemas.openxmlformats.org/officeDocument/2006/relationships/image" Target="../media/image10.png"/><Relationship Id="rId65" Type="http://schemas.openxmlformats.org/officeDocument/2006/relationships/image" Target="../media/image15.png"/><Relationship Id="rId73" Type="http://schemas.openxmlformats.org/officeDocument/2006/relationships/image" Target="../media/image27.png"/><Relationship Id="rId78" Type="http://schemas.openxmlformats.org/officeDocument/2006/relationships/image" Target="../media/image36.png"/><Relationship Id="rId81" Type="http://schemas.openxmlformats.org/officeDocument/2006/relationships/image" Target="../media/image41.png"/><Relationship Id="rId86" Type="http://schemas.openxmlformats.org/officeDocument/2006/relationships/image" Target="../media/image66.png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39" Type="http://schemas.openxmlformats.org/officeDocument/2006/relationships/slideLayout" Target="../slideLayouts/slideLayout97.xml"/><Relationship Id="rId34" Type="http://schemas.openxmlformats.org/officeDocument/2006/relationships/slideLayout" Target="../slideLayouts/slideLayout92.xml"/><Relationship Id="rId50" Type="http://schemas.openxmlformats.org/officeDocument/2006/relationships/slideLayout" Target="../slideLayouts/slideLayout108.xml"/><Relationship Id="rId55" Type="http://schemas.openxmlformats.org/officeDocument/2006/relationships/image" Target="../media/image1.png"/><Relationship Id="rId76" Type="http://schemas.openxmlformats.org/officeDocument/2006/relationships/image" Target="../media/image32.png"/><Relationship Id="rId7" Type="http://schemas.openxmlformats.org/officeDocument/2006/relationships/slideLayout" Target="../slideLayouts/slideLayout65.xml"/><Relationship Id="rId71" Type="http://schemas.openxmlformats.org/officeDocument/2006/relationships/image" Target="../media/image63.png"/><Relationship Id="rId2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82.xml"/><Relationship Id="rId40" Type="http://schemas.openxmlformats.org/officeDocument/2006/relationships/slideLayout" Target="../slideLayouts/slideLayout98.xml"/><Relationship Id="rId45" Type="http://schemas.openxmlformats.org/officeDocument/2006/relationships/slideLayout" Target="../slideLayouts/slideLayout103.xml"/><Relationship Id="rId66" Type="http://schemas.openxmlformats.org/officeDocument/2006/relationships/image" Target="../media/image16.png"/><Relationship Id="rId87" Type="http://schemas.openxmlformats.org/officeDocument/2006/relationships/image" Target="../media/image3.png"/><Relationship Id="rId61" Type="http://schemas.openxmlformats.org/officeDocument/2006/relationships/image" Target="../media/image61.png"/><Relationship Id="rId82" Type="http://schemas.openxmlformats.org/officeDocument/2006/relationships/image" Target="../media/image42.png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129.xml"/><Relationship Id="rId42" Type="http://schemas.openxmlformats.org/officeDocument/2006/relationships/slideLayout" Target="../slideLayouts/slideLayout150.xml"/><Relationship Id="rId47" Type="http://schemas.openxmlformats.org/officeDocument/2006/relationships/slideLayout" Target="../slideLayouts/slideLayout155.xml"/><Relationship Id="rId63" Type="http://schemas.openxmlformats.org/officeDocument/2006/relationships/image" Target="../media/image60.emf"/><Relationship Id="rId68" Type="http://schemas.openxmlformats.org/officeDocument/2006/relationships/image" Target="../media/image79.png"/><Relationship Id="rId84" Type="http://schemas.openxmlformats.org/officeDocument/2006/relationships/image" Target="../media/image95.png"/><Relationship Id="rId89" Type="http://schemas.openxmlformats.org/officeDocument/2006/relationships/image" Target="../media/image100.png"/><Relationship Id="rId16" Type="http://schemas.openxmlformats.org/officeDocument/2006/relationships/slideLayout" Target="../slideLayouts/slideLayout124.xml"/><Relationship Id="rId107" Type="http://schemas.openxmlformats.org/officeDocument/2006/relationships/image" Target="../media/image118.png"/><Relationship Id="rId11" Type="http://schemas.openxmlformats.org/officeDocument/2006/relationships/slideLayout" Target="../slideLayouts/slideLayout119.xml"/><Relationship Id="rId32" Type="http://schemas.openxmlformats.org/officeDocument/2006/relationships/slideLayout" Target="../slideLayouts/slideLayout140.xml"/><Relationship Id="rId37" Type="http://schemas.openxmlformats.org/officeDocument/2006/relationships/slideLayout" Target="../slideLayouts/slideLayout145.xml"/><Relationship Id="rId53" Type="http://schemas.openxmlformats.org/officeDocument/2006/relationships/slideLayout" Target="../slideLayouts/slideLayout161.xml"/><Relationship Id="rId58" Type="http://schemas.openxmlformats.org/officeDocument/2006/relationships/slideLayout" Target="../slideLayouts/slideLayout166.xml"/><Relationship Id="rId74" Type="http://schemas.openxmlformats.org/officeDocument/2006/relationships/image" Target="../media/image85.png"/><Relationship Id="rId79" Type="http://schemas.openxmlformats.org/officeDocument/2006/relationships/image" Target="../media/image90.png"/><Relationship Id="rId102" Type="http://schemas.openxmlformats.org/officeDocument/2006/relationships/image" Target="../media/image113.png"/><Relationship Id="rId5" Type="http://schemas.openxmlformats.org/officeDocument/2006/relationships/slideLayout" Target="../slideLayouts/slideLayout113.xml"/><Relationship Id="rId90" Type="http://schemas.openxmlformats.org/officeDocument/2006/relationships/image" Target="../media/image101.png"/><Relationship Id="rId95" Type="http://schemas.openxmlformats.org/officeDocument/2006/relationships/image" Target="../media/image106.png"/><Relationship Id="rId22" Type="http://schemas.openxmlformats.org/officeDocument/2006/relationships/slideLayout" Target="../slideLayouts/slideLayout130.xml"/><Relationship Id="rId27" Type="http://schemas.openxmlformats.org/officeDocument/2006/relationships/slideLayout" Target="../slideLayouts/slideLayout135.xml"/><Relationship Id="rId43" Type="http://schemas.openxmlformats.org/officeDocument/2006/relationships/slideLayout" Target="../slideLayouts/slideLayout151.xml"/><Relationship Id="rId48" Type="http://schemas.openxmlformats.org/officeDocument/2006/relationships/slideLayout" Target="../slideLayouts/slideLayout156.xml"/><Relationship Id="rId64" Type="http://schemas.openxmlformats.org/officeDocument/2006/relationships/image" Target="../media/image1.png"/><Relationship Id="rId69" Type="http://schemas.openxmlformats.org/officeDocument/2006/relationships/image" Target="../media/image80.png"/><Relationship Id="rId80" Type="http://schemas.openxmlformats.org/officeDocument/2006/relationships/image" Target="../media/image91.png"/><Relationship Id="rId85" Type="http://schemas.openxmlformats.org/officeDocument/2006/relationships/image" Target="../media/image96.png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25.xml"/><Relationship Id="rId33" Type="http://schemas.openxmlformats.org/officeDocument/2006/relationships/slideLayout" Target="../slideLayouts/slideLayout141.xml"/><Relationship Id="rId38" Type="http://schemas.openxmlformats.org/officeDocument/2006/relationships/slideLayout" Target="../slideLayouts/slideLayout146.xml"/><Relationship Id="rId59" Type="http://schemas.openxmlformats.org/officeDocument/2006/relationships/slideLayout" Target="../slideLayouts/slideLayout167.xml"/><Relationship Id="rId103" Type="http://schemas.openxmlformats.org/officeDocument/2006/relationships/image" Target="../media/image114.png"/><Relationship Id="rId20" Type="http://schemas.openxmlformats.org/officeDocument/2006/relationships/slideLayout" Target="../slideLayouts/slideLayout128.xml"/><Relationship Id="rId41" Type="http://schemas.openxmlformats.org/officeDocument/2006/relationships/slideLayout" Target="../slideLayouts/slideLayout149.xml"/><Relationship Id="rId54" Type="http://schemas.openxmlformats.org/officeDocument/2006/relationships/slideLayout" Target="../slideLayouts/slideLayout162.xml"/><Relationship Id="rId62" Type="http://schemas.openxmlformats.org/officeDocument/2006/relationships/oleObject" Target="../embeddings/oleObject2.bin"/><Relationship Id="rId70" Type="http://schemas.openxmlformats.org/officeDocument/2006/relationships/image" Target="../media/image81.png"/><Relationship Id="rId75" Type="http://schemas.openxmlformats.org/officeDocument/2006/relationships/image" Target="../media/image86.png"/><Relationship Id="rId83" Type="http://schemas.openxmlformats.org/officeDocument/2006/relationships/image" Target="../media/image94.png"/><Relationship Id="rId88" Type="http://schemas.openxmlformats.org/officeDocument/2006/relationships/image" Target="../media/image99.png"/><Relationship Id="rId91" Type="http://schemas.openxmlformats.org/officeDocument/2006/relationships/image" Target="../media/image102.png"/><Relationship Id="rId96" Type="http://schemas.openxmlformats.org/officeDocument/2006/relationships/image" Target="../media/image107.png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5" Type="http://schemas.openxmlformats.org/officeDocument/2006/relationships/slideLayout" Target="../slideLayouts/slideLayout123.xml"/><Relationship Id="rId23" Type="http://schemas.openxmlformats.org/officeDocument/2006/relationships/slideLayout" Target="../slideLayouts/slideLayout131.xml"/><Relationship Id="rId28" Type="http://schemas.openxmlformats.org/officeDocument/2006/relationships/slideLayout" Target="../slideLayouts/slideLayout136.xml"/><Relationship Id="rId36" Type="http://schemas.openxmlformats.org/officeDocument/2006/relationships/slideLayout" Target="../slideLayouts/slideLayout144.xml"/><Relationship Id="rId49" Type="http://schemas.openxmlformats.org/officeDocument/2006/relationships/slideLayout" Target="../slideLayouts/slideLayout157.xml"/><Relationship Id="rId57" Type="http://schemas.openxmlformats.org/officeDocument/2006/relationships/slideLayout" Target="../slideLayouts/slideLayout165.xml"/><Relationship Id="rId106" Type="http://schemas.openxmlformats.org/officeDocument/2006/relationships/image" Target="../media/image117.png"/><Relationship Id="rId10" Type="http://schemas.openxmlformats.org/officeDocument/2006/relationships/slideLayout" Target="../slideLayouts/slideLayout118.xml"/><Relationship Id="rId31" Type="http://schemas.openxmlformats.org/officeDocument/2006/relationships/slideLayout" Target="../slideLayouts/slideLayout139.xml"/><Relationship Id="rId44" Type="http://schemas.openxmlformats.org/officeDocument/2006/relationships/slideLayout" Target="../slideLayouts/slideLayout152.xml"/><Relationship Id="rId52" Type="http://schemas.openxmlformats.org/officeDocument/2006/relationships/slideLayout" Target="../slideLayouts/slideLayout160.xml"/><Relationship Id="rId60" Type="http://schemas.openxmlformats.org/officeDocument/2006/relationships/theme" Target="../theme/theme3.xml"/><Relationship Id="rId65" Type="http://schemas.openxmlformats.org/officeDocument/2006/relationships/image" Target="../media/image2.svg"/><Relationship Id="rId73" Type="http://schemas.openxmlformats.org/officeDocument/2006/relationships/image" Target="../media/image84.png"/><Relationship Id="rId78" Type="http://schemas.openxmlformats.org/officeDocument/2006/relationships/image" Target="../media/image89.png"/><Relationship Id="rId81" Type="http://schemas.openxmlformats.org/officeDocument/2006/relationships/image" Target="../media/image92.png"/><Relationship Id="rId86" Type="http://schemas.openxmlformats.org/officeDocument/2006/relationships/image" Target="../media/image97.png"/><Relationship Id="rId94" Type="http://schemas.openxmlformats.org/officeDocument/2006/relationships/image" Target="../media/image105.png"/><Relationship Id="rId99" Type="http://schemas.openxmlformats.org/officeDocument/2006/relationships/image" Target="../media/image110.png"/><Relationship Id="rId101" Type="http://schemas.openxmlformats.org/officeDocument/2006/relationships/image" Target="../media/image112.png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3" Type="http://schemas.openxmlformats.org/officeDocument/2006/relationships/slideLayout" Target="../slideLayouts/slideLayout121.xml"/><Relationship Id="rId18" Type="http://schemas.openxmlformats.org/officeDocument/2006/relationships/slideLayout" Target="../slideLayouts/slideLayout126.xml"/><Relationship Id="rId39" Type="http://schemas.openxmlformats.org/officeDocument/2006/relationships/slideLayout" Target="../slideLayouts/slideLayout147.xml"/><Relationship Id="rId34" Type="http://schemas.openxmlformats.org/officeDocument/2006/relationships/slideLayout" Target="../slideLayouts/slideLayout142.xml"/><Relationship Id="rId50" Type="http://schemas.openxmlformats.org/officeDocument/2006/relationships/slideLayout" Target="../slideLayouts/slideLayout158.xml"/><Relationship Id="rId55" Type="http://schemas.openxmlformats.org/officeDocument/2006/relationships/slideLayout" Target="../slideLayouts/slideLayout163.xml"/><Relationship Id="rId76" Type="http://schemas.openxmlformats.org/officeDocument/2006/relationships/image" Target="../media/image87.png"/><Relationship Id="rId97" Type="http://schemas.openxmlformats.org/officeDocument/2006/relationships/image" Target="../media/image108.png"/><Relationship Id="rId104" Type="http://schemas.openxmlformats.org/officeDocument/2006/relationships/image" Target="../media/image115.png"/><Relationship Id="rId7" Type="http://schemas.openxmlformats.org/officeDocument/2006/relationships/slideLayout" Target="../slideLayouts/slideLayout115.xml"/><Relationship Id="rId71" Type="http://schemas.openxmlformats.org/officeDocument/2006/relationships/image" Target="../media/image82.png"/><Relationship Id="rId92" Type="http://schemas.openxmlformats.org/officeDocument/2006/relationships/image" Target="../media/image103.png"/><Relationship Id="rId2" Type="http://schemas.openxmlformats.org/officeDocument/2006/relationships/slideLayout" Target="../slideLayouts/slideLayout110.xml"/><Relationship Id="rId29" Type="http://schemas.openxmlformats.org/officeDocument/2006/relationships/slideLayout" Target="../slideLayouts/slideLayout137.xml"/><Relationship Id="rId24" Type="http://schemas.openxmlformats.org/officeDocument/2006/relationships/slideLayout" Target="../slideLayouts/slideLayout132.xml"/><Relationship Id="rId40" Type="http://schemas.openxmlformats.org/officeDocument/2006/relationships/slideLayout" Target="../slideLayouts/slideLayout148.xml"/><Relationship Id="rId45" Type="http://schemas.openxmlformats.org/officeDocument/2006/relationships/slideLayout" Target="../slideLayouts/slideLayout153.xml"/><Relationship Id="rId66" Type="http://schemas.openxmlformats.org/officeDocument/2006/relationships/image" Target="../media/image77.png"/><Relationship Id="rId87" Type="http://schemas.openxmlformats.org/officeDocument/2006/relationships/image" Target="../media/image98.png"/><Relationship Id="rId61" Type="http://schemas.openxmlformats.org/officeDocument/2006/relationships/tags" Target="../tags/tag3.xml"/><Relationship Id="rId82" Type="http://schemas.openxmlformats.org/officeDocument/2006/relationships/image" Target="../media/image93.png"/><Relationship Id="rId1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22.xml"/><Relationship Id="rId30" Type="http://schemas.openxmlformats.org/officeDocument/2006/relationships/slideLayout" Target="../slideLayouts/slideLayout138.xml"/><Relationship Id="rId35" Type="http://schemas.openxmlformats.org/officeDocument/2006/relationships/slideLayout" Target="../slideLayouts/slideLayout143.xml"/><Relationship Id="rId56" Type="http://schemas.openxmlformats.org/officeDocument/2006/relationships/slideLayout" Target="../slideLayouts/slideLayout164.xml"/><Relationship Id="rId77" Type="http://schemas.openxmlformats.org/officeDocument/2006/relationships/image" Target="../media/image88.png"/><Relationship Id="rId100" Type="http://schemas.openxmlformats.org/officeDocument/2006/relationships/image" Target="../media/image111.png"/><Relationship Id="rId105" Type="http://schemas.openxmlformats.org/officeDocument/2006/relationships/image" Target="../media/image116.png"/><Relationship Id="rId8" Type="http://schemas.openxmlformats.org/officeDocument/2006/relationships/slideLayout" Target="../slideLayouts/slideLayout116.xml"/><Relationship Id="rId51" Type="http://schemas.openxmlformats.org/officeDocument/2006/relationships/slideLayout" Target="../slideLayouts/slideLayout159.xml"/><Relationship Id="rId72" Type="http://schemas.openxmlformats.org/officeDocument/2006/relationships/image" Target="../media/image83.png"/><Relationship Id="rId93" Type="http://schemas.openxmlformats.org/officeDocument/2006/relationships/image" Target="../media/image104.png"/><Relationship Id="rId98" Type="http://schemas.openxmlformats.org/officeDocument/2006/relationships/image" Target="../media/image109.png"/><Relationship Id="rId3" Type="http://schemas.openxmlformats.org/officeDocument/2006/relationships/slideLayout" Target="../slideLayouts/slideLayout111.xml"/><Relationship Id="rId25" Type="http://schemas.openxmlformats.org/officeDocument/2006/relationships/slideLayout" Target="../slideLayouts/slideLayout133.xml"/><Relationship Id="rId46" Type="http://schemas.openxmlformats.org/officeDocument/2006/relationships/slideLayout" Target="../slideLayouts/slideLayout154.xml"/><Relationship Id="rId67" Type="http://schemas.openxmlformats.org/officeDocument/2006/relationships/image" Target="../media/image78.png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93.xml"/><Relationship Id="rId21" Type="http://schemas.openxmlformats.org/officeDocument/2006/relationships/slideLayout" Target="../slideLayouts/slideLayout188.xml"/><Relationship Id="rId42" Type="http://schemas.openxmlformats.org/officeDocument/2006/relationships/slideLayout" Target="../slideLayouts/slideLayout209.xml"/><Relationship Id="rId47" Type="http://schemas.openxmlformats.org/officeDocument/2006/relationships/slideLayout" Target="../slideLayouts/slideLayout214.xml"/><Relationship Id="rId63" Type="http://schemas.openxmlformats.org/officeDocument/2006/relationships/image" Target="../media/image4.png"/><Relationship Id="rId68" Type="http://schemas.openxmlformats.org/officeDocument/2006/relationships/image" Target="../media/image9.png"/><Relationship Id="rId84" Type="http://schemas.openxmlformats.org/officeDocument/2006/relationships/image" Target="../media/image25.png"/><Relationship Id="rId89" Type="http://schemas.openxmlformats.org/officeDocument/2006/relationships/image" Target="../media/image30.png"/><Relationship Id="rId1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78.xml"/><Relationship Id="rId32" Type="http://schemas.openxmlformats.org/officeDocument/2006/relationships/slideLayout" Target="../slideLayouts/slideLayout199.xml"/><Relationship Id="rId37" Type="http://schemas.openxmlformats.org/officeDocument/2006/relationships/slideLayout" Target="../slideLayouts/slideLayout204.xml"/><Relationship Id="rId53" Type="http://schemas.openxmlformats.org/officeDocument/2006/relationships/slideLayout" Target="../slideLayouts/slideLayout220.xml"/><Relationship Id="rId58" Type="http://schemas.openxmlformats.org/officeDocument/2006/relationships/slideLayout" Target="../slideLayouts/slideLayout225.xml"/><Relationship Id="rId74" Type="http://schemas.openxmlformats.org/officeDocument/2006/relationships/image" Target="../media/image15.png"/><Relationship Id="rId79" Type="http://schemas.openxmlformats.org/officeDocument/2006/relationships/image" Target="../media/image20.png"/><Relationship Id="rId102" Type="http://schemas.openxmlformats.org/officeDocument/2006/relationships/image" Target="../media/image43.png"/><Relationship Id="rId5" Type="http://schemas.openxmlformats.org/officeDocument/2006/relationships/slideLayout" Target="../slideLayouts/slideLayout172.xml"/><Relationship Id="rId90" Type="http://schemas.openxmlformats.org/officeDocument/2006/relationships/image" Target="../media/image31.png"/><Relationship Id="rId95" Type="http://schemas.openxmlformats.org/officeDocument/2006/relationships/image" Target="../media/image36.png"/><Relationship Id="rId22" Type="http://schemas.openxmlformats.org/officeDocument/2006/relationships/slideLayout" Target="../slideLayouts/slideLayout189.xml"/><Relationship Id="rId27" Type="http://schemas.openxmlformats.org/officeDocument/2006/relationships/slideLayout" Target="../slideLayouts/slideLayout194.xml"/><Relationship Id="rId43" Type="http://schemas.openxmlformats.org/officeDocument/2006/relationships/slideLayout" Target="../slideLayouts/slideLayout210.xml"/><Relationship Id="rId48" Type="http://schemas.openxmlformats.org/officeDocument/2006/relationships/slideLayout" Target="../slideLayouts/slideLayout215.xml"/><Relationship Id="rId64" Type="http://schemas.openxmlformats.org/officeDocument/2006/relationships/image" Target="../media/image5.png"/><Relationship Id="rId69" Type="http://schemas.openxmlformats.org/officeDocument/2006/relationships/image" Target="../media/image10.png"/><Relationship Id="rId80" Type="http://schemas.openxmlformats.org/officeDocument/2006/relationships/image" Target="../media/image21.png"/><Relationship Id="rId85" Type="http://schemas.openxmlformats.org/officeDocument/2006/relationships/image" Target="../media/image26.png"/><Relationship Id="rId12" Type="http://schemas.openxmlformats.org/officeDocument/2006/relationships/slideLayout" Target="../slideLayouts/slideLayout179.xml"/><Relationship Id="rId17" Type="http://schemas.openxmlformats.org/officeDocument/2006/relationships/slideLayout" Target="../slideLayouts/slideLayout184.xml"/><Relationship Id="rId33" Type="http://schemas.openxmlformats.org/officeDocument/2006/relationships/slideLayout" Target="../slideLayouts/slideLayout200.xml"/><Relationship Id="rId38" Type="http://schemas.openxmlformats.org/officeDocument/2006/relationships/slideLayout" Target="../slideLayouts/slideLayout205.xml"/><Relationship Id="rId59" Type="http://schemas.openxmlformats.org/officeDocument/2006/relationships/theme" Target="../theme/theme4.xml"/><Relationship Id="rId103" Type="http://schemas.openxmlformats.org/officeDocument/2006/relationships/image" Target="../media/image44.png"/><Relationship Id="rId20" Type="http://schemas.openxmlformats.org/officeDocument/2006/relationships/slideLayout" Target="../slideLayouts/slideLayout187.xml"/><Relationship Id="rId41" Type="http://schemas.openxmlformats.org/officeDocument/2006/relationships/slideLayout" Target="../slideLayouts/slideLayout208.xml"/><Relationship Id="rId54" Type="http://schemas.openxmlformats.org/officeDocument/2006/relationships/slideLayout" Target="../slideLayouts/slideLayout221.xml"/><Relationship Id="rId62" Type="http://schemas.openxmlformats.org/officeDocument/2006/relationships/image" Target="../media/image3.png"/><Relationship Id="rId70" Type="http://schemas.openxmlformats.org/officeDocument/2006/relationships/image" Target="../media/image11.png"/><Relationship Id="rId75" Type="http://schemas.openxmlformats.org/officeDocument/2006/relationships/image" Target="../media/image16.png"/><Relationship Id="rId83" Type="http://schemas.openxmlformats.org/officeDocument/2006/relationships/image" Target="../media/image24.png"/><Relationship Id="rId88" Type="http://schemas.openxmlformats.org/officeDocument/2006/relationships/image" Target="../media/image29.png"/><Relationship Id="rId91" Type="http://schemas.openxmlformats.org/officeDocument/2006/relationships/image" Target="../media/image32.png"/><Relationship Id="rId96" Type="http://schemas.openxmlformats.org/officeDocument/2006/relationships/image" Target="../media/image37.png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5" Type="http://schemas.openxmlformats.org/officeDocument/2006/relationships/slideLayout" Target="../slideLayouts/slideLayout182.xml"/><Relationship Id="rId23" Type="http://schemas.openxmlformats.org/officeDocument/2006/relationships/slideLayout" Target="../slideLayouts/slideLayout190.xml"/><Relationship Id="rId28" Type="http://schemas.openxmlformats.org/officeDocument/2006/relationships/slideLayout" Target="../slideLayouts/slideLayout195.xml"/><Relationship Id="rId36" Type="http://schemas.openxmlformats.org/officeDocument/2006/relationships/slideLayout" Target="../slideLayouts/slideLayout203.xml"/><Relationship Id="rId49" Type="http://schemas.openxmlformats.org/officeDocument/2006/relationships/slideLayout" Target="../slideLayouts/slideLayout216.xml"/><Relationship Id="rId57" Type="http://schemas.openxmlformats.org/officeDocument/2006/relationships/slideLayout" Target="../slideLayouts/slideLayout224.xml"/><Relationship Id="rId10" Type="http://schemas.openxmlformats.org/officeDocument/2006/relationships/slideLayout" Target="../slideLayouts/slideLayout177.xml"/><Relationship Id="rId31" Type="http://schemas.openxmlformats.org/officeDocument/2006/relationships/slideLayout" Target="../slideLayouts/slideLayout198.xml"/><Relationship Id="rId44" Type="http://schemas.openxmlformats.org/officeDocument/2006/relationships/slideLayout" Target="../slideLayouts/slideLayout211.xml"/><Relationship Id="rId52" Type="http://schemas.openxmlformats.org/officeDocument/2006/relationships/slideLayout" Target="../slideLayouts/slideLayout219.xml"/><Relationship Id="rId60" Type="http://schemas.openxmlformats.org/officeDocument/2006/relationships/image" Target="../media/image1.png"/><Relationship Id="rId65" Type="http://schemas.openxmlformats.org/officeDocument/2006/relationships/image" Target="../media/image6.png"/><Relationship Id="rId73" Type="http://schemas.openxmlformats.org/officeDocument/2006/relationships/image" Target="../media/image14.png"/><Relationship Id="rId78" Type="http://schemas.openxmlformats.org/officeDocument/2006/relationships/image" Target="../media/image19.png"/><Relationship Id="rId81" Type="http://schemas.openxmlformats.org/officeDocument/2006/relationships/image" Target="../media/image22.png"/><Relationship Id="rId86" Type="http://schemas.openxmlformats.org/officeDocument/2006/relationships/image" Target="../media/image27.png"/><Relationship Id="rId94" Type="http://schemas.openxmlformats.org/officeDocument/2006/relationships/image" Target="../media/image35.png"/><Relationship Id="rId99" Type="http://schemas.openxmlformats.org/officeDocument/2006/relationships/image" Target="../media/image40.png"/><Relationship Id="rId101" Type="http://schemas.openxmlformats.org/officeDocument/2006/relationships/image" Target="../media/image42.png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3" Type="http://schemas.openxmlformats.org/officeDocument/2006/relationships/slideLayout" Target="../slideLayouts/slideLayout180.xml"/><Relationship Id="rId18" Type="http://schemas.openxmlformats.org/officeDocument/2006/relationships/slideLayout" Target="../slideLayouts/slideLayout185.xml"/><Relationship Id="rId39" Type="http://schemas.openxmlformats.org/officeDocument/2006/relationships/slideLayout" Target="../slideLayouts/slideLayout206.xml"/><Relationship Id="rId34" Type="http://schemas.openxmlformats.org/officeDocument/2006/relationships/slideLayout" Target="../slideLayouts/slideLayout201.xml"/><Relationship Id="rId50" Type="http://schemas.openxmlformats.org/officeDocument/2006/relationships/slideLayout" Target="../slideLayouts/slideLayout217.xml"/><Relationship Id="rId55" Type="http://schemas.openxmlformats.org/officeDocument/2006/relationships/slideLayout" Target="../slideLayouts/slideLayout222.xml"/><Relationship Id="rId76" Type="http://schemas.openxmlformats.org/officeDocument/2006/relationships/image" Target="../media/image17.png"/><Relationship Id="rId97" Type="http://schemas.openxmlformats.org/officeDocument/2006/relationships/image" Target="../media/image38.png"/><Relationship Id="rId104" Type="http://schemas.openxmlformats.org/officeDocument/2006/relationships/image" Target="../media/image45.png"/><Relationship Id="rId7" Type="http://schemas.openxmlformats.org/officeDocument/2006/relationships/slideLayout" Target="../slideLayouts/slideLayout174.xml"/><Relationship Id="rId71" Type="http://schemas.openxmlformats.org/officeDocument/2006/relationships/image" Target="../media/image12.png"/><Relationship Id="rId92" Type="http://schemas.openxmlformats.org/officeDocument/2006/relationships/image" Target="../media/image33.png"/><Relationship Id="rId2" Type="http://schemas.openxmlformats.org/officeDocument/2006/relationships/slideLayout" Target="../slideLayouts/slideLayout169.xml"/><Relationship Id="rId29" Type="http://schemas.openxmlformats.org/officeDocument/2006/relationships/slideLayout" Target="../slideLayouts/slideLayout196.xml"/><Relationship Id="rId24" Type="http://schemas.openxmlformats.org/officeDocument/2006/relationships/slideLayout" Target="../slideLayouts/slideLayout191.xml"/><Relationship Id="rId40" Type="http://schemas.openxmlformats.org/officeDocument/2006/relationships/slideLayout" Target="../slideLayouts/slideLayout207.xml"/><Relationship Id="rId45" Type="http://schemas.openxmlformats.org/officeDocument/2006/relationships/slideLayout" Target="../slideLayouts/slideLayout212.xml"/><Relationship Id="rId66" Type="http://schemas.openxmlformats.org/officeDocument/2006/relationships/image" Target="../media/image7.png"/><Relationship Id="rId87" Type="http://schemas.openxmlformats.org/officeDocument/2006/relationships/image" Target="../media/image28.png"/><Relationship Id="rId61" Type="http://schemas.openxmlformats.org/officeDocument/2006/relationships/image" Target="../media/image2.svg"/><Relationship Id="rId82" Type="http://schemas.openxmlformats.org/officeDocument/2006/relationships/image" Target="../media/image23.png"/><Relationship Id="rId19" Type="http://schemas.openxmlformats.org/officeDocument/2006/relationships/slideLayout" Target="../slideLayouts/slideLayout186.xml"/><Relationship Id="rId14" Type="http://schemas.openxmlformats.org/officeDocument/2006/relationships/slideLayout" Target="../slideLayouts/slideLayout181.xml"/><Relationship Id="rId30" Type="http://schemas.openxmlformats.org/officeDocument/2006/relationships/slideLayout" Target="../slideLayouts/slideLayout197.xml"/><Relationship Id="rId35" Type="http://schemas.openxmlformats.org/officeDocument/2006/relationships/slideLayout" Target="../slideLayouts/slideLayout202.xml"/><Relationship Id="rId56" Type="http://schemas.openxmlformats.org/officeDocument/2006/relationships/slideLayout" Target="../slideLayouts/slideLayout223.xml"/><Relationship Id="rId77" Type="http://schemas.openxmlformats.org/officeDocument/2006/relationships/image" Target="../media/image18.png"/><Relationship Id="rId100" Type="http://schemas.openxmlformats.org/officeDocument/2006/relationships/image" Target="../media/image41.png"/><Relationship Id="rId105" Type="http://schemas.openxmlformats.org/officeDocument/2006/relationships/image" Target="../media/image46.png"/><Relationship Id="rId8" Type="http://schemas.openxmlformats.org/officeDocument/2006/relationships/slideLayout" Target="../slideLayouts/slideLayout175.xml"/><Relationship Id="rId51" Type="http://schemas.openxmlformats.org/officeDocument/2006/relationships/slideLayout" Target="../slideLayouts/slideLayout218.xml"/><Relationship Id="rId72" Type="http://schemas.openxmlformats.org/officeDocument/2006/relationships/image" Target="../media/image13.png"/><Relationship Id="rId93" Type="http://schemas.openxmlformats.org/officeDocument/2006/relationships/image" Target="../media/image34.png"/><Relationship Id="rId98" Type="http://schemas.openxmlformats.org/officeDocument/2006/relationships/image" Target="../media/image39.png"/><Relationship Id="rId3" Type="http://schemas.openxmlformats.org/officeDocument/2006/relationships/slideLayout" Target="../slideLayouts/slideLayout170.xml"/><Relationship Id="rId25" Type="http://schemas.openxmlformats.org/officeDocument/2006/relationships/slideLayout" Target="../slideLayouts/slideLayout192.xml"/><Relationship Id="rId46" Type="http://schemas.openxmlformats.org/officeDocument/2006/relationships/slideLayout" Target="../slideLayouts/slideLayout213.xml"/><Relationship Id="rId67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 hidden="1">
            <a:extLst>
              <a:ext uri="{FF2B5EF4-FFF2-40B4-BE49-F238E27FC236}">
                <a16:creationId xmlns:a16="http://schemas.microsoft.com/office/drawing/2014/main" id="{12333E4B-DADC-438D-A77F-6F8FFB150D5F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10210800" y="6246493"/>
            <a:ext cx="1766888" cy="394054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32B0E46-2566-4F11-ABAD-D6C0B6124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037095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D29D8-B23F-46B7-8050-6AAB182CA6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90600" y="2466340"/>
            <a:ext cx="10363200" cy="3685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0B729C-D9B5-4BAD-A4AF-B9C9C53C7A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57800" y="6531818"/>
            <a:ext cx="2743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000"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036BEE-333E-40FE-81F8-7D75301356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2013" y="6531818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F644A0-11AB-422F-BCF2-F71EDA1198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6704" y="6531818"/>
            <a:ext cx="47625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2B126447-041E-41AD-8F4D-D6CD89ABAD14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  <p:pic>
        <p:nvPicPr>
          <p:cNvPr id="9" name="MainLogo" hidden="1">
            <a:extLst>
              <a:ext uri="{FF2B5EF4-FFF2-40B4-BE49-F238E27FC236}">
                <a16:creationId xmlns:a16="http://schemas.microsoft.com/office/drawing/2014/main" id="{0FEC348C-3024-48F7-BA1F-A8E85ED4717D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10210800" y="6246493"/>
            <a:ext cx="1766888" cy="394054"/>
          </a:xfrm>
          <a:prstGeom prst="rect">
            <a:avLst/>
          </a:prstGeom>
        </p:spPr>
      </p:pic>
      <p:pic>
        <p:nvPicPr>
          <p:cNvPr id="41" name="Logo_SpareBank1_blaa" hidden="1">
            <a:extLst>
              <a:ext uri="{FF2B5EF4-FFF2-40B4-BE49-F238E27FC236}">
                <a16:creationId xmlns:a16="http://schemas.microsoft.com/office/drawing/2014/main" id="{26889095-5A5D-49DD-A0A5-9AB7450D2561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4860" y="6246493"/>
            <a:ext cx="1790700" cy="395530"/>
          </a:xfrm>
          <a:prstGeom prst="rect">
            <a:avLst/>
          </a:prstGeom>
        </p:spPr>
      </p:pic>
      <p:pic>
        <p:nvPicPr>
          <p:cNvPr id="42" name="Logo_SpareBank1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B281BB2C-43DF-46B5-BFA5-6F4A7CA09A87}"/>
              </a:ext>
            </a:extLst>
          </p:cNvPr>
          <p:cNvPicPr>
            <a:picLocks noChangeAspect="1"/>
          </p:cNvPicPr>
          <p:nvPr userDrawn="1"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4860" y="6246493"/>
            <a:ext cx="1790700" cy="395530"/>
          </a:xfrm>
          <a:prstGeom prst="rect">
            <a:avLst/>
          </a:prstGeom>
        </p:spPr>
      </p:pic>
      <p:pic>
        <p:nvPicPr>
          <p:cNvPr id="10" name="Logo_SpareBank1_BV_blaa" hidden="1">
            <a:extLst>
              <a:ext uri="{FF2B5EF4-FFF2-40B4-BE49-F238E27FC236}">
                <a16:creationId xmlns:a16="http://schemas.microsoft.com/office/drawing/2014/main" id="{337BA596-8B64-402E-86E9-AD510C310981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2" name="Logo_SpareBank1_BV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8F3AAF89-402C-4577-AF3F-CB1B14EE28D5}"/>
              </a:ext>
            </a:extLst>
          </p:cNvPr>
          <p:cNvPicPr>
            <a:picLocks noChangeAspect="1"/>
          </p:cNvPicPr>
          <p:nvPr userDrawn="1"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7" name="Logo_Sparebank1_Finanshuset_SMN_hvit" descr="Et bilde som inneholder tekst, Font, Grafikk, skjermbilde&#10;&#10;Automatisk generert beskrivelse" hidden="1">
            <a:extLst>
              <a:ext uri="{FF2B5EF4-FFF2-40B4-BE49-F238E27FC236}">
                <a16:creationId xmlns:a16="http://schemas.microsoft.com/office/drawing/2014/main" id="{C00983B6-724E-8654-136C-10DA1B36EC19}"/>
              </a:ext>
            </a:extLst>
          </p:cNvPr>
          <p:cNvPicPr>
            <a:picLocks noChangeAspect="1"/>
          </p:cNvPicPr>
          <p:nvPr userDrawn="1"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4193" y="6166026"/>
            <a:ext cx="2667000" cy="560754"/>
          </a:xfrm>
          <a:prstGeom prst="rect">
            <a:avLst/>
          </a:prstGeom>
        </p:spPr>
      </p:pic>
      <p:pic>
        <p:nvPicPr>
          <p:cNvPr id="26" name="Logo_Sparebank1_Finanshuset_SMN_blaa" descr="Et bilde som inneholder tekst, Font, skjermbilde, Grafikk&#10;&#10;Automatisk generert beskrivelse" hidden="1">
            <a:extLst>
              <a:ext uri="{FF2B5EF4-FFF2-40B4-BE49-F238E27FC236}">
                <a16:creationId xmlns:a16="http://schemas.microsoft.com/office/drawing/2014/main" id="{E5A439F3-A790-39A5-B921-2222260E11C9}"/>
              </a:ext>
            </a:extLst>
          </p:cNvPr>
          <p:cNvPicPr>
            <a:picLocks noChangeAspect="1"/>
          </p:cNvPicPr>
          <p:nvPr userDrawn="1"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4193" y="6166026"/>
            <a:ext cx="2667000" cy="560754"/>
          </a:xfrm>
          <a:prstGeom prst="rect">
            <a:avLst/>
          </a:prstGeom>
        </p:spPr>
      </p:pic>
      <p:pic>
        <p:nvPicPr>
          <p:cNvPr id="13" name="Logo_SpareBank1_Gudbrandsdal_blaa" descr="Et bilde som inneholder tekst, servise, tallerken&#10;&#10;Automatisk generert beskrivelse" hidden="1">
            <a:extLst>
              <a:ext uri="{FF2B5EF4-FFF2-40B4-BE49-F238E27FC236}">
                <a16:creationId xmlns:a16="http://schemas.microsoft.com/office/drawing/2014/main" id="{AFD5BAD2-74AE-4444-BCC4-51169384C913}"/>
              </a:ext>
            </a:extLst>
          </p:cNvPr>
          <p:cNvPicPr>
            <a:picLocks noChangeAspect="1"/>
          </p:cNvPicPr>
          <p:nvPr userDrawn="1"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4" name="Logo_SpareBank1_Gudbrandsdal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90BF8D02-10A3-4AC0-BEE6-3B5090834FD0}"/>
              </a:ext>
            </a:extLst>
          </p:cNvPr>
          <p:cNvPicPr>
            <a:picLocks noChangeAspect="1"/>
          </p:cNvPicPr>
          <p:nvPr userDrawn="1"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50" name="Logo_SpareBank1_Hallingdal_Valdres_blaa" descr="Et bilde som inneholder Font, Grafikk, tekst, logo&#10;&#10;Automatisk generert beskrivelse" hidden="1">
            <a:extLst>
              <a:ext uri="{FF2B5EF4-FFF2-40B4-BE49-F238E27FC236}">
                <a16:creationId xmlns:a16="http://schemas.microsoft.com/office/drawing/2014/main" id="{27F75B8D-6D75-0AAE-29E1-CC8C5311F016}"/>
              </a:ext>
            </a:extLst>
          </p:cNvPr>
          <p:cNvPicPr>
            <a:picLocks noChangeAspect="1"/>
          </p:cNvPicPr>
          <p:nvPr userDrawn="1"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47" name="Logo_SpareBank1_Hallingdal_Valdres_hvit" descr="Et bilde som inneholder tekst, Font, Grafikk, logo&#10;&#10;Automatisk generert beskrivelse" hidden="1">
            <a:extLst>
              <a:ext uri="{FF2B5EF4-FFF2-40B4-BE49-F238E27FC236}">
                <a16:creationId xmlns:a16="http://schemas.microsoft.com/office/drawing/2014/main" id="{068CC6F1-6D69-A85B-4F11-01BEB14D8B17}"/>
              </a:ext>
            </a:extLst>
          </p:cNvPr>
          <p:cNvPicPr>
            <a:picLocks noChangeAspect="1"/>
          </p:cNvPicPr>
          <p:nvPr userDrawn="1"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17" name="Logo_SpareBank1_Helgeland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EC5B6B60-05C3-4790-9BE2-468FBEC579C0}"/>
              </a:ext>
            </a:extLst>
          </p:cNvPr>
          <p:cNvPicPr>
            <a:picLocks noChangeAspect="1"/>
          </p:cNvPicPr>
          <p:nvPr userDrawn="1"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8" name="Logo_SpareBank1_Helgeland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3D71C81C-49B7-4263-BF6E-8174CC880EC0}"/>
              </a:ext>
            </a:extLst>
          </p:cNvPr>
          <p:cNvPicPr>
            <a:picLocks noChangeAspect="1"/>
          </p:cNvPicPr>
          <p:nvPr userDrawn="1"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9" name="Logo_SpareBank1_Lom_og_Skjaak_blaa" hidden="1">
            <a:extLst>
              <a:ext uri="{FF2B5EF4-FFF2-40B4-BE49-F238E27FC236}">
                <a16:creationId xmlns:a16="http://schemas.microsoft.com/office/drawing/2014/main" id="{35FF033A-4390-43B3-B8A8-AC195AE221A3}"/>
              </a:ext>
            </a:extLst>
          </p:cNvPr>
          <p:cNvPicPr>
            <a:picLocks noChangeAspect="1"/>
          </p:cNvPicPr>
          <p:nvPr userDrawn="1"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7295" y="6246493"/>
            <a:ext cx="1730393" cy="396000"/>
          </a:xfrm>
          <a:prstGeom prst="rect">
            <a:avLst/>
          </a:prstGeom>
        </p:spPr>
      </p:pic>
      <p:pic>
        <p:nvPicPr>
          <p:cNvPr id="20" name="Logo_SpareBank1_Lom_og_Skjaak_hvit" hidden="1">
            <a:extLst>
              <a:ext uri="{FF2B5EF4-FFF2-40B4-BE49-F238E27FC236}">
                <a16:creationId xmlns:a16="http://schemas.microsoft.com/office/drawing/2014/main" id="{CBC18373-AB34-4DCC-98F4-7CAAD4D7E90A}"/>
              </a:ext>
            </a:extLst>
          </p:cNvPr>
          <p:cNvPicPr>
            <a:picLocks noChangeAspect="1"/>
          </p:cNvPicPr>
          <p:nvPr userDrawn="1"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7295" y="6246493"/>
            <a:ext cx="1730393" cy="396000"/>
          </a:xfrm>
          <a:prstGeom prst="rect">
            <a:avLst/>
          </a:prstGeom>
        </p:spPr>
      </p:pic>
      <p:pic>
        <p:nvPicPr>
          <p:cNvPr id="56" name="Logo_SpareBank1_Markets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AA4D8C26-175A-4172-92A2-9D1E73A60A27}"/>
              </a:ext>
            </a:extLst>
          </p:cNvPr>
          <p:cNvPicPr>
            <a:picLocks noChangeAspect="1"/>
          </p:cNvPicPr>
          <p:nvPr userDrawn="1"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738" y="6246493"/>
            <a:ext cx="1739950" cy="396000"/>
          </a:xfrm>
          <a:prstGeom prst="rect">
            <a:avLst/>
          </a:prstGeom>
        </p:spPr>
      </p:pic>
      <p:pic>
        <p:nvPicPr>
          <p:cNvPr id="57" name="Logo_SpareBank1_Markets_blaa" hidden="1">
            <a:extLst>
              <a:ext uri="{FF2B5EF4-FFF2-40B4-BE49-F238E27FC236}">
                <a16:creationId xmlns:a16="http://schemas.microsoft.com/office/drawing/2014/main" id="{6C6544F4-B749-4A47-9088-26C15C03DA3F}"/>
              </a:ext>
            </a:extLst>
          </p:cNvPr>
          <p:cNvPicPr>
            <a:picLocks noChangeAspect="1"/>
          </p:cNvPicPr>
          <p:nvPr userDrawn="1"/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738" y="6246493"/>
            <a:ext cx="1739950" cy="396000"/>
          </a:xfrm>
          <a:prstGeom prst="rect">
            <a:avLst/>
          </a:prstGeom>
        </p:spPr>
      </p:pic>
      <p:pic>
        <p:nvPicPr>
          <p:cNvPr id="21" name="Logo_SpareBank1_Modum_blaa" hidden="1">
            <a:extLst>
              <a:ext uri="{FF2B5EF4-FFF2-40B4-BE49-F238E27FC236}">
                <a16:creationId xmlns:a16="http://schemas.microsoft.com/office/drawing/2014/main" id="{2BB456BD-D714-4320-9FD6-D7AD08FAAA18}"/>
              </a:ext>
            </a:extLst>
          </p:cNvPr>
          <p:cNvPicPr>
            <a:picLocks noChangeAspect="1"/>
          </p:cNvPicPr>
          <p:nvPr userDrawn="1"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2" name="Logo_SpareBank1_Modum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AA7A283A-E9F0-4566-A3E0-8F0620EA765D}"/>
              </a:ext>
            </a:extLst>
          </p:cNvPr>
          <p:cNvPicPr>
            <a:picLocks noChangeAspect="1"/>
          </p:cNvPicPr>
          <p:nvPr userDrawn="1"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3" name="Logo_SpareBank1_Nord-Norge_blaa" hidden="1">
            <a:extLst>
              <a:ext uri="{FF2B5EF4-FFF2-40B4-BE49-F238E27FC236}">
                <a16:creationId xmlns:a16="http://schemas.microsoft.com/office/drawing/2014/main" id="{43101046-2EBF-4947-A6EB-C233820190C4}"/>
              </a:ext>
            </a:extLst>
          </p:cNvPr>
          <p:cNvPicPr>
            <a:picLocks noChangeAspect="1"/>
          </p:cNvPicPr>
          <p:nvPr userDrawn="1"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4" name="Logo_SpareBank1_Nord-Norg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19CE5EB4-30DC-4B90-A86D-39C358D12350}"/>
              </a:ext>
            </a:extLst>
          </p:cNvPr>
          <p:cNvPicPr>
            <a:picLocks noChangeAspect="1"/>
          </p:cNvPicPr>
          <p:nvPr userDrawn="1"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43" name="Logo_SpareBank1_Nordmør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81907AB8-BA84-45CC-8D3B-49BE2C96D615}"/>
              </a:ext>
            </a:extLst>
          </p:cNvPr>
          <p:cNvPicPr>
            <a:picLocks noChangeAspect="1"/>
          </p:cNvPicPr>
          <p:nvPr userDrawn="1"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44" name="Logo_SpareBank1_Nordmøre_blaa" hidden="1">
            <a:extLst>
              <a:ext uri="{FF2B5EF4-FFF2-40B4-BE49-F238E27FC236}">
                <a16:creationId xmlns:a16="http://schemas.microsoft.com/office/drawing/2014/main" id="{450BB9C8-39CA-4C74-A7B9-E5DFA114E314}"/>
              </a:ext>
            </a:extLst>
          </p:cNvPr>
          <p:cNvPicPr>
            <a:picLocks noChangeAspect="1"/>
          </p:cNvPicPr>
          <p:nvPr userDrawn="1"/>
        </p:nvPicPr>
        <p:blipFill>
          <a:blip r:embed="rId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52" name="Logo_SpareBank1_Regnskapshuset_blaa" descr="Et bilde som inneholder tekst, servise, tallerken&#10;&#10;Automatisk generert beskrivelse" hidden="1">
            <a:extLst>
              <a:ext uri="{FF2B5EF4-FFF2-40B4-BE49-F238E27FC236}">
                <a16:creationId xmlns:a16="http://schemas.microsoft.com/office/drawing/2014/main" id="{64664DE2-B7F1-4F09-8F8F-49FA5E240A8F}"/>
              </a:ext>
            </a:extLst>
          </p:cNvPr>
          <p:cNvPicPr>
            <a:picLocks noChangeAspect="1"/>
          </p:cNvPicPr>
          <p:nvPr userDrawn="1"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6624" y="6246493"/>
            <a:ext cx="1741064" cy="396000"/>
          </a:xfrm>
          <a:prstGeom prst="rect">
            <a:avLst/>
          </a:prstGeom>
        </p:spPr>
      </p:pic>
      <p:pic>
        <p:nvPicPr>
          <p:cNvPr id="54" name="Logo_SpareBank1_Regnskapshuset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F0EA445F-A2B1-4FB0-B81B-2A87CBF18084}"/>
              </a:ext>
            </a:extLst>
          </p:cNvPr>
          <p:cNvPicPr>
            <a:picLocks noChangeAspect="1"/>
          </p:cNvPicPr>
          <p:nvPr userDrawn="1"/>
        </p:nvPicPr>
        <p:blipFill>
          <a:blip r:embed="rId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6624" y="6246493"/>
            <a:ext cx="1741064" cy="396000"/>
          </a:xfrm>
          <a:prstGeom prst="rect">
            <a:avLst/>
          </a:prstGeom>
        </p:spPr>
      </p:pic>
      <p:pic>
        <p:nvPicPr>
          <p:cNvPr id="27" name="Logo_SpareBank1_Ringerike_Hadeland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B4E9C587-69DB-47CF-91A0-25BB068F5902}"/>
              </a:ext>
            </a:extLst>
          </p:cNvPr>
          <p:cNvPicPr>
            <a:picLocks noChangeAspect="1"/>
          </p:cNvPicPr>
          <p:nvPr userDrawn="1"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568" y="6246493"/>
            <a:ext cx="2001120" cy="396000"/>
          </a:xfrm>
          <a:prstGeom prst="rect">
            <a:avLst/>
          </a:prstGeom>
        </p:spPr>
      </p:pic>
      <p:pic>
        <p:nvPicPr>
          <p:cNvPr id="28" name="Logo_SpareBank1_Ringerike_Hadeland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BE66D82E-E542-474E-80B4-974766CF869D}"/>
              </a:ext>
            </a:extLst>
          </p:cNvPr>
          <p:cNvPicPr>
            <a:picLocks noChangeAspect="1"/>
          </p:cNvPicPr>
          <p:nvPr userDrawn="1"/>
        </p:nvPicPr>
        <p:blipFill>
          <a:blip r:embed="rId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568" y="6246493"/>
            <a:ext cx="2001120" cy="396000"/>
          </a:xfrm>
          <a:prstGeom prst="rect">
            <a:avLst/>
          </a:prstGeom>
        </p:spPr>
      </p:pic>
      <p:pic>
        <p:nvPicPr>
          <p:cNvPr id="53" name="Logo_SpareBank1_SamSpar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5B79E6DA-CD6C-4D54-90FE-4C8597BD6958}"/>
              </a:ext>
            </a:extLst>
          </p:cNvPr>
          <p:cNvPicPr>
            <a:picLocks noChangeAspect="1"/>
          </p:cNvPicPr>
          <p:nvPr userDrawn="1"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169" y="6246493"/>
            <a:ext cx="1740519" cy="396000"/>
          </a:xfrm>
          <a:prstGeom prst="rect">
            <a:avLst/>
          </a:prstGeom>
        </p:spPr>
      </p:pic>
      <p:pic>
        <p:nvPicPr>
          <p:cNvPr id="55" name="Logo_SpareBank1_SamSpar_blaa" hidden="1">
            <a:extLst>
              <a:ext uri="{FF2B5EF4-FFF2-40B4-BE49-F238E27FC236}">
                <a16:creationId xmlns:a16="http://schemas.microsoft.com/office/drawing/2014/main" id="{244336BA-B162-4D7A-9AE5-117FCBDC4277}"/>
              </a:ext>
            </a:extLst>
          </p:cNvPr>
          <p:cNvPicPr>
            <a:picLocks noChangeAspect="1"/>
          </p:cNvPicPr>
          <p:nvPr userDrawn="1"/>
        </p:nvPicPr>
        <p:blipFill>
          <a:blip r:embed="rId8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169" y="6246493"/>
            <a:ext cx="1740519" cy="396000"/>
          </a:xfrm>
          <a:prstGeom prst="rect">
            <a:avLst/>
          </a:prstGeom>
        </p:spPr>
      </p:pic>
      <p:pic>
        <p:nvPicPr>
          <p:cNvPr id="29" name="Logo_SpareBank1_SMN_blaa" hidden="1">
            <a:extLst>
              <a:ext uri="{FF2B5EF4-FFF2-40B4-BE49-F238E27FC236}">
                <a16:creationId xmlns:a16="http://schemas.microsoft.com/office/drawing/2014/main" id="{10B56460-52F0-4BA9-81C3-AC3FC01D16AB}"/>
              </a:ext>
            </a:extLst>
          </p:cNvPr>
          <p:cNvPicPr>
            <a:picLocks noChangeAspect="1"/>
          </p:cNvPicPr>
          <p:nvPr userDrawn="1"/>
        </p:nvPicPr>
        <p:blipFill>
          <a:blip r:embed="rId9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0" name="Logo_SpareBank1_SMN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EA6BA4FD-86B8-4A25-A7A7-6A94E8E62B42}"/>
              </a:ext>
            </a:extLst>
          </p:cNvPr>
          <p:cNvPicPr>
            <a:picLocks noChangeAspect="1"/>
          </p:cNvPicPr>
          <p:nvPr userDrawn="1"/>
        </p:nvPicPr>
        <p:blipFill>
          <a:blip r:embed="rId9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5" name="Logo_SpareBank1_Sogn_og_Fjordane_hvit" descr="Et bilde som inneholder tekst, Font, Grafikk, logo&#10;&#10;Automatisk generert beskrivelse" hidden="1">
            <a:extLst>
              <a:ext uri="{FF2B5EF4-FFF2-40B4-BE49-F238E27FC236}">
                <a16:creationId xmlns:a16="http://schemas.microsoft.com/office/drawing/2014/main" id="{4A68584D-4A00-9387-9C11-04BD62241A82}"/>
              </a:ext>
            </a:extLst>
          </p:cNvPr>
          <p:cNvPicPr>
            <a:picLocks noChangeAspect="1"/>
          </p:cNvPicPr>
          <p:nvPr userDrawn="1"/>
        </p:nvPicPr>
        <p:blipFill>
          <a:blip r:embed="rId9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40" name="Logo_SpareBank1_Sogn_og_Fjordane_blaa" descr="Et bilde som inneholder Font, tekst, Grafikk, logo&#10;&#10;Automatisk generert beskrivelse" hidden="1">
            <a:extLst>
              <a:ext uri="{FF2B5EF4-FFF2-40B4-BE49-F238E27FC236}">
                <a16:creationId xmlns:a16="http://schemas.microsoft.com/office/drawing/2014/main" id="{10381E7A-6DB9-2EAA-36E9-7E47C3C7ED9D}"/>
              </a:ext>
            </a:extLst>
          </p:cNvPr>
          <p:cNvPicPr>
            <a:picLocks noChangeAspect="1"/>
          </p:cNvPicPr>
          <p:nvPr userDrawn="1"/>
        </p:nvPicPr>
        <p:blipFill>
          <a:blip r:embed="rId9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31" name="Logo_SpareBank1_SR-Bank_blaa" hidden="1">
            <a:extLst>
              <a:ext uri="{FF2B5EF4-FFF2-40B4-BE49-F238E27FC236}">
                <a16:creationId xmlns:a16="http://schemas.microsoft.com/office/drawing/2014/main" id="{71D6B0B7-324F-4237-9E44-DFEC9DCB8EA2}"/>
              </a:ext>
            </a:extLst>
          </p:cNvPr>
          <p:cNvPicPr>
            <a:picLocks noChangeAspect="1"/>
          </p:cNvPicPr>
          <p:nvPr userDrawn="1"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2" name="Logo_SpareBank1_SR-Bank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5350D87F-F50A-41F8-B2F1-7B0487EE5A88}"/>
              </a:ext>
            </a:extLst>
          </p:cNvPr>
          <p:cNvPicPr>
            <a:picLocks noChangeAspect="1"/>
          </p:cNvPicPr>
          <p:nvPr userDrawn="1"/>
        </p:nvPicPr>
        <p:blipFill>
          <a:blip r:embed="rId9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3" name="Logo_SpareBank1_Søre_Sunnmøre_blaa" hidden="1">
            <a:extLst>
              <a:ext uri="{FF2B5EF4-FFF2-40B4-BE49-F238E27FC236}">
                <a16:creationId xmlns:a16="http://schemas.microsoft.com/office/drawing/2014/main" id="{144379FE-2380-48A2-97E8-A0FB04AF94FD}"/>
              </a:ext>
            </a:extLst>
          </p:cNvPr>
          <p:cNvPicPr>
            <a:picLocks noChangeAspect="1"/>
          </p:cNvPicPr>
          <p:nvPr userDrawn="1"/>
        </p:nvPicPr>
        <p:blipFill>
          <a:blip r:embed="rId9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4" name="Logo_SpareBank1_Søre_Sunnmør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7CC72A1B-F55A-432C-931E-CF9326068516}"/>
              </a:ext>
            </a:extLst>
          </p:cNvPr>
          <p:cNvPicPr>
            <a:picLocks noChangeAspect="1"/>
          </p:cNvPicPr>
          <p:nvPr userDrawn="1"/>
        </p:nvPicPr>
        <p:blipFill>
          <a:blip r:embed="rId9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45" name="Logo_SpareBank1_Sørøst-Norg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95F2A5E6-C54F-4ED7-B293-C96F59F99C56}"/>
              </a:ext>
            </a:extLst>
          </p:cNvPr>
          <p:cNvPicPr>
            <a:picLocks noChangeAspect="1"/>
          </p:cNvPicPr>
          <p:nvPr userDrawn="1"/>
        </p:nvPicPr>
        <p:blipFill>
          <a:blip r:embed="rId9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169" y="6246493"/>
            <a:ext cx="1740519" cy="396000"/>
          </a:xfrm>
          <a:prstGeom prst="rect">
            <a:avLst/>
          </a:prstGeom>
        </p:spPr>
      </p:pic>
      <p:pic>
        <p:nvPicPr>
          <p:cNvPr id="51" name="Logo_SpareBank1_Sørøst-Norge_blaa" hidden="1">
            <a:extLst>
              <a:ext uri="{FF2B5EF4-FFF2-40B4-BE49-F238E27FC236}">
                <a16:creationId xmlns:a16="http://schemas.microsoft.com/office/drawing/2014/main" id="{9F247EDB-7F55-4751-909A-2C3B8B7053AE}"/>
              </a:ext>
            </a:extLst>
          </p:cNvPr>
          <p:cNvPicPr>
            <a:picLocks noChangeAspect="1"/>
          </p:cNvPicPr>
          <p:nvPr userDrawn="1"/>
        </p:nvPicPr>
        <p:blipFill>
          <a:blip r:embed="rId9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169" y="6246493"/>
            <a:ext cx="1740519" cy="396000"/>
          </a:xfrm>
          <a:prstGeom prst="rect">
            <a:avLst/>
          </a:prstGeom>
        </p:spPr>
      </p:pic>
      <p:pic>
        <p:nvPicPr>
          <p:cNvPr id="35" name="Logo_SpareBank1_Telemark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E7DA024E-9A38-4E86-9D1D-5203A16C3871}"/>
              </a:ext>
            </a:extLst>
          </p:cNvPr>
          <p:cNvPicPr>
            <a:picLocks noChangeAspect="1"/>
          </p:cNvPicPr>
          <p:nvPr userDrawn="1"/>
        </p:nvPicPr>
        <p:blipFill>
          <a:blip r:embed="rId10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6" name="Logo_SpareBank1_Telemark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C2F89C1B-E846-49C4-9A74-8A50DEF0089C}"/>
              </a:ext>
            </a:extLst>
          </p:cNvPr>
          <p:cNvPicPr>
            <a:picLocks noChangeAspect="1"/>
          </p:cNvPicPr>
          <p:nvPr userDrawn="1"/>
        </p:nvPicPr>
        <p:blipFill>
          <a:blip r:embed="rId10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7" name="Logo_SpareBank1_Østfold_Akershus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28CB051C-CCF4-48CA-B170-DFEBE327A97B}"/>
              </a:ext>
            </a:extLst>
          </p:cNvPr>
          <p:cNvPicPr>
            <a:picLocks noChangeAspect="1"/>
          </p:cNvPicPr>
          <p:nvPr userDrawn="1"/>
        </p:nvPicPr>
        <p:blipFill>
          <a:blip r:embed="rId10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9624" y="6246493"/>
            <a:ext cx="1868064" cy="396000"/>
          </a:xfrm>
          <a:prstGeom prst="rect">
            <a:avLst/>
          </a:prstGeom>
        </p:spPr>
      </p:pic>
      <p:pic>
        <p:nvPicPr>
          <p:cNvPr id="38" name="Logo_SpareBank1_Østfold_Akershus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412B20B2-EEB3-4CB5-9343-EBF2A3ABEC38}"/>
              </a:ext>
            </a:extLst>
          </p:cNvPr>
          <p:cNvPicPr>
            <a:picLocks noChangeAspect="1"/>
          </p:cNvPicPr>
          <p:nvPr userDrawn="1"/>
        </p:nvPicPr>
        <p:blipFill>
          <a:blip r:embed="rId10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9624" y="6246493"/>
            <a:ext cx="1868064" cy="396000"/>
          </a:xfrm>
          <a:prstGeom prst="rect">
            <a:avLst/>
          </a:prstGeom>
        </p:spPr>
      </p:pic>
      <p:pic>
        <p:nvPicPr>
          <p:cNvPr id="48" name="Logo_SpareBank1_Østlandet_blaa" descr="Et bilde som inneholder tekst, servise, tallerken&#10;&#10;Automatisk generert beskrivelse" hidden="1">
            <a:extLst>
              <a:ext uri="{FF2B5EF4-FFF2-40B4-BE49-F238E27FC236}">
                <a16:creationId xmlns:a16="http://schemas.microsoft.com/office/drawing/2014/main" id="{E927BB58-AF04-4D48-9C20-378D9B7A49BC}"/>
              </a:ext>
            </a:extLst>
          </p:cNvPr>
          <p:cNvPicPr>
            <a:picLocks noChangeAspect="1"/>
          </p:cNvPicPr>
          <p:nvPr userDrawn="1"/>
        </p:nvPicPr>
        <p:blipFill>
          <a:blip r:embed="rId10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2347" y="6246493"/>
            <a:ext cx="1675341" cy="396000"/>
          </a:xfrm>
          <a:prstGeom prst="rect">
            <a:avLst/>
          </a:prstGeom>
        </p:spPr>
      </p:pic>
      <p:pic>
        <p:nvPicPr>
          <p:cNvPr id="39" name="Logo_SpareBank1_Østlandet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AA84A37E-35CA-403D-ABDF-9F75F8E49A16}"/>
              </a:ext>
            </a:extLst>
          </p:cNvPr>
          <p:cNvPicPr>
            <a:picLocks noChangeAspect="1"/>
          </p:cNvPicPr>
          <p:nvPr userDrawn="1"/>
        </p:nvPicPr>
        <p:blipFill>
          <a:blip r:embed="rId10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2347" y="6246493"/>
            <a:ext cx="1675341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338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98" r:id="rId12"/>
    <p:sldLayoutId id="2147483699" r:id="rId13"/>
    <p:sldLayoutId id="2147483700" r:id="rId14"/>
    <p:sldLayoutId id="2147483702" r:id="rId15"/>
    <p:sldLayoutId id="2147483703" r:id="rId16"/>
    <p:sldLayoutId id="2147483704" r:id="rId17"/>
    <p:sldLayoutId id="2147483659" r:id="rId18"/>
    <p:sldLayoutId id="2147483660" r:id="rId19"/>
    <p:sldLayoutId id="2147483661" r:id="rId20"/>
    <p:sldLayoutId id="2147483697" r:id="rId21"/>
    <p:sldLayoutId id="2147483662" r:id="rId22"/>
    <p:sldLayoutId id="2147483663" r:id="rId23"/>
    <p:sldLayoutId id="2147483664" r:id="rId24"/>
    <p:sldLayoutId id="2147483665" r:id="rId25"/>
    <p:sldLayoutId id="2147483666" r:id="rId26"/>
    <p:sldLayoutId id="2147483667" r:id="rId27"/>
    <p:sldLayoutId id="2147483668" r:id="rId28"/>
    <p:sldLayoutId id="2147483669" r:id="rId29"/>
    <p:sldLayoutId id="2147483670" r:id="rId30"/>
    <p:sldLayoutId id="2147483671" r:id="rId31"/>
    <p:sldLayoutId id="2147483675" r:id="rId32"/>
    <p:sldLayoutId id="2147483676" r:id="rId33"/>
    <p:sldLayoutId id="2147483677" r:id="rId34"/>
    <p:sldLayoutId id="2147483678" r:id="rId35"/>
    <p:sldLayoutId id="2147483679" r:id="rId36"/>
    <p:sldLayoutId id="2147483680" r:id="rId37"/>
    <p:sldLayoutId id="2147483681" r:id="rId38"/>
    <p:sldLayoutId id="2147483682" r:id="rId39"/>
    <p:sldLayoutId id="2147483683" r:id="rId40"/>
    <p:sldLayoutId id="2147483684" r:id="rId41"/>
    <p:sldLayoutId id="2147483685" r:id="rId42"/>
    <p:sldLayoutId id="2147483691" r:id="rId43"/>
    <p:sldLayoutId id="2147483694" r:id="rId44"/>
    <p:sldLayoutId id="2147483692" r:id="rId45"/>
    <p:sldLayoutId id="2147483695" r:id="rId46"/>
    <p:sldLayoutId id="2147483686" r:id="rId47"/>
    <p:sldLayoutId id="2147483687" r:id="rId48"/>
    <p:sldLayoutId id="2147483688" r:id="rId49"/>
    <p:sldLayoutId id="2147483689" r:id="rId50"/>
    <p:sldLayoutId id="2147483705" r:id="rId51"/>
    <p:sldLayoutId id="2147483690" r:id="rId52"/>
    <p:sldLayoutId id="2147483696" r:id="rId53"/>
    <p:sldLayoutId id="2147483707" r:id="rId54"/>
    <p:sldLayoutId id="2147483708" r:id="rId55"/>
    <p:sldLayoutId id="2147483709" r:id="rId56"/>
    <p:sldLayoutId id="2147483710" r:id="rId57"/>
    <p:sldLayoutId id="2147483711" r:id="rId5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rgbClr val="00207D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rgbClr val="00207D"/>
          </a:solidFill>
          <a:latin typeface="+mn-lt"/>
          <a:ea typeface="+mn-ea"/>
          <a:cs typeface="+mn-cs"/>
        </a:defRPr>
      </a:lvl1pPr>
      <a:lvl2pPr marL="7452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207D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rgbClr val="00207D"/>
          </a:solidFill>
          <a:latin typeface="+mn-lt"/>
          <a:ea typeface="+mn-ea"/>
          <a:cs typeface="+mn-cs"/>
        </a:defRPr>
      </a:lvl3pPr>
      <a:lvl4pPr marL="16380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207D"/>
          </a:solidFill>
          <a:latin typeface="+mn-lt"/>
          <a:ea typeface="+mn-ea"/>
          <a:cs typeface="+mn-cs"/>
        </a:defRPr>
      </a:lvl4pPr>
      <a:lvl5pPr marL="20880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207D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>
            <a:extLst>
              <a:ext uri="{FF2B5EF4-FFF2-40B4-BE49-F238E27FC236}">
                <a16:creationId xmlns:a16="http://schemas.microsoft.com/office/drawing/2014/main" id="{B3D3F682-054F-4F49-ADBF-4A0B720023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190979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3" imgW="347" imgH="348" progId="TCLayout.ActiveDocument.1">
                  <p:embed/>
                </p:oleObj>
              </mc:Choice>
              <mc:Fallback>
                <p:oleObj name="think-cell Slide" r:id="rId53" imgW="347" imgH="348" progId="TCLayout.ActiveDocument.1">
                  <p:embed/>
                  <p:pic>
                    <p:nvPicPr>
                      <p:cNvPr id="44" name="Objekt 43" hidden="1">
                        <a:extLst>
                          <a:ext uri="{FF2B5EF4-FFF2-40B4-BE49-F238E27FC236}">
                            <a16:creationId xmlns:a16="http://schemas.microsoft.com/office/drawing/2014/main" id="{B3D3F682-054F-4F49-ADBF-4A0B720023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 hidden="1">
            <a:extLst>
              <a:ext uri="{FF2B5EF4-FFF2-40B4-BE49-F238E27FC236}">
                <a16:creationId xmlns:a16="http://schemas.microsoft.com/office/drawing/2014/main" id="{12333E4B-DADC-438D-A77F-6F8FFB150D5F}"/>
              </a:ext>
            </a:extLst>
          </p:cNvPr>
          <p:cNvPicPr>
            <a:picLocks noChangeAspect="1"/>
          </p:cNvPicPr>
          <p:nvPr userDrawn="1"/>
        </p:nvPicPr>
        <p:blipFill>
          <a:blip r:embed="rId55">
            <a:extLs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10210800" y="6246493"/>
            <a:ext cx="1766888" cy="394054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32B0E46-2566-4F11-ABAD-D6C0B6124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037095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D29D8-B23F-46B7-8050-6AAB182CA6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90600" y="2466340"/>
            <a:ext cx="10363200" cy="3685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0B729C-D9B5-4BAD-A4AF-B9C9C53C7A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57800" y="6531818"/>
            <a:ext cx="2743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036BEE-333E-40FE-81F8-7D75301356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2013" y="6531818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F644A0-11AB-422F-BCF2-F71EDA1198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6704" y="6531818"/>
            <a:ext cx="47625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2B126447-041E-41AD-8F4D-D6CD89ABAD14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  <p:pic>
        <p:nvPicPr>
          <p:cNvPr id="9" name="MainLogo" hidden="1">
            <a:extLst>
              <a:ext uri="{FF2B5EF4-FFF2-40B4-BE49-F238E27FC236}">
                <a16:creationId xmlns:a16="http://schemas.microsoft.com/office/drawing/2014/main" id="{0FEC348C-3024-48F7-BA1F-A8E85ED4717D}"/>
              </a:ext>
            </a:extLst>
          </p:cNvPr>
          <p:cNvPicPr>
            <a:picLocks noChangeAspect="1"/>
          </p:cNvPicPr>
          <p:nvPr userDrawn="1"/>
        </p:nvPicPr>
        <p:blipFill>
          <a:blip r:embed="rId55">
            <a:extLs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10210800" y="6246493"/>
            <a:ext cx="1766888" cy="394054"/>
          </a:xfrm>
          <a:prstGeom prst="rect">
            <a:avLst/>
          </a:prstGeom>
        </p:spPr>
      </p:pic>
      <p:pic>
        <p:nvPicPr>
          <p:cNvPr id="10" name="SpareBank1_BV_blaa" hidden="1">
            <a:extLst>
              <a:ext uri="{FF2B5EF4-FFF2-40B4-BE49-F238E27FC236}">
                <a16:creationId xmlns:a16="http://schemas.microsoft.com/office/drawing/2014/main" id="{337BA596-8B64-402E-86E9-AD510C310981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2" name="SpareBank1_BV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8F3AAF89-402C-4577-AF3F-CB1B14EE28D5}"/>
              </a:ext>
            </a:extLst>
          </p:cNvPr>
          <p:cNvPicPr>
            <a:picLocks noChangeAspect="1"/>
          </p:cNvPicPr>
          <p:nvPr userDrawn="1"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3" name="SpareBank1_Gudbrandsdal_blaa" descr="Et bilde som inneholder tekst, servise, tallerken&#10;&#10;Automatisk generert beskrivelse" hidden="1">
            <a:extLst>
              <a:ext uri="{FF2B5EF4-FFF2-40B4-BE49-F238E27FC236}">
                <a16:creationId xmlns:a16="http://schemas.microsoft.com/office/drawing/2014/main" id="{AFD5BAD2-74AE-4444-BCC4-51169384C913}"/>
              </a:ext>
            </a:extLst>
          </p:cNvPr>
          <p:cNvPicPr>
            <a:picLocks noChangeAspect="1"/>
          </p:cNvPicPr>
          <p:nvPr userDrawn="1"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4" name="SpareBank1_Gudbrandsdal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90BF8D02-10A3-4AC0-BEE6-3B5090834FD0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5" name="SpareBank1_Hallingdal_Valdres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3E406213-2D3C-4FF9-B4F9-D6359A1A5E22}"/>
              </a:ext>
            </a:extLst>
          </p:cNvPr>
          <p:cNvPicPr>
            <a:picLocks noChangeAspect="1"/>
          </p:cNvPicPr>
          <p:nvPr userDrawn="1"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0792" y="6246493"/>
            <a:ext cx="1996896" cy="396000"/>
          </a:xfrm>
          <a:prstGeom prst="rect">
            <a:avLst/>
          </a:prstGeom>
        </p:spPr>
      </p:pic>
      <p:pic>
        <p:nvPicPr>
          <p:cNvPr id="16" name="SpareBank1_Hallingdal_Valdres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493F8F0E-A8DB-4A2B-A166-5959BF70F90F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0792" y="6246493"/>
            <a:ext cx="1996896" cy="396000"/>
          </a:xfrm>
          <a:prstGeom prst="rect">
            <a:avLst/>
          </a:prstGeom>
        </p:spPr>
      </p:pic>
      <p:pic>
        <p:nvPicPr>
          <p:cNvPr id="17" name="SpareBank1_Helgeland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EC5B6B60-05C3-4790-9BE2-468FBEC579C0}"/>
              </a:ext>
            </a:extLst>
          </p:cNvPr>
          <p:cNvPicPr>
            <a:picLocks noChangeAspect="1"/>
          </p:cNvPicPr>
          <p:nvPr userDrawn="1"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8" name="SpareBank1_Helgeland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3D71C81C-49B7-4263-BF6E-8174CC880EC0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9" name="SpareBank1_Lom_og_Skjaak_blaa" hidden="1">
            <a:extLst>
              <a:ext uri="{FF2B5EF4-FFF2-40B4-BE49-F238E27FC236}">
                <a16:creationId xmlns:a16="http://schemas.microsoft.com/office/drawing/2014/main" id="{35FF033A-4390-43B3-B8A8-AC195AE221A3}"/>
              </a:ext>
            </a:extLst>
          </p:cNvPr>
          <p:cNvPicPr>
            <a:picLocks noChangeAspect="1"/>
          </p:cNvPicPr>
          <p:nvPr userDrawn="1"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7295" y="6246493"/>
            <a:ext cx="1730393" cy="396000"/>
          </a:xfrm>
          <a:prstGeom prst="rect">
            <a:avLst/>
          </a:prstGeom>
        </p:spPr>
      </p:pic>
      <p:pic>
        <p:nvPicPr>
          <p:cNvPr id="20" name="SpareBank1_Lom_og_Skjaak_hvit" hidden="1">
            <a:extLst>
              <a:ext uri="{FF2B5EF4-FFF2-40B4-BE49-F238E27FC236}">
                <a16:creationId xmlns:a16="http://schemas.microsoft.com/office/drawing/2014/main" id="{CBC18373-AB34-4DCC-98F4-7CAAD4D7E90A}"/>
              </a:ext>
            </a:extLst>
          </p:cNvPr>
          <p:cNvPicPr>
            <a:picLocks noChangeAspect="1"/>
          </p:cNvPicPr>
          <p:nvPr userDrawn="1"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7295" y="6246493"/>
            <a:ext cx="1730393" cy="396000"/>
          </a:xfrm>
          <a:prstGeom prst="rect">
            <a:avLst/>
          </a:prstGeom>
        </p:spPr>
      </p:pic>
      <p:pic>
        <p:nvPicPr>
          <p:cNvPr id="21" name="SpareBank1_Modum_blaa" hidden="1">
            <a:extLst>
              <a:ext uri="{FF2B5EF4-FFF2-40B4-BE49-F238E27FC236}">
                <a16:creationId xmlns:a16="http://schemas.microsoft.com/office/drawing/2014/main" id="{2BB456BD-D714-4320-9FD6-D7AD08FAAA18}"/>
              </a:ext>
            </a:extLst>
          </p:cNvPr>
          <p:cNvPicPr>
            <a:picLocks noChangeAspect="1"/>
          </p:cNvPicPr>
          <p:nvPr userDrawn="1"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2" name="SpareBank1_Modum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AA7A283A-E9F0-4566-A3E0-8F0620EA765D}"/>
              </a:ext>
            </a:extLst>
          </p:cNvPr>
          <p:cNvPicPr>
            <a:picLocks noChangeAspect="1"/>
          </p:cNvPicPr>
          <p:nvPr userDrawn="1"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3" name="SpareBank1_Nord-Norge_blaa" hidden="1">
            <a:extLst>
              <a:ext uri="{FF2B5EF4-FFF2-40B4-BE49-F238E27FC236}">
                <a16:creationId xmlns:a16="http://schemas.microsoft.com/office/drawing/2014/main" id="{43101046-2EBF-4947-A6EB-C233820190C4}"/>
              </a:ext>
            </a:extLst>
          </p:cNvPr>
          <p:cNvPicPr>
            <a:picLocks noChangeAspect="1"/>
          </p:cNvPicPr>
          <p:nvPr userDrawn="1"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4" name="SpareBank1_Nord-Norg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19CE5EB4-30DC-4B90-A86D-39C358D12350}"/>
              </a:ext>
            </a:extLst>
          </p:cNvPr>
          <p:cNvPicPr>
            <a:picLocks noChangeAspect="1"/>
          </p:cNvPicPr>
          <p:nvPr userDrawn="1"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5" name="SpareBank1_Nordvest_blaa" descr="Et bilde som inneholder tekst, servise, tallerken&#10;&#10;Automatisk generert beskrivelse" hidden="1">
            <a:extLst>
              <a:ext uri="{FF2B5EF4-FFF2-40B4-BE49-F238E27FC236}">
                <a16:creationId xmlns:a16="http://schemas.microsoft.com/office/drawing/2014/main" id="{2580651B-7AA8-4286-9065-63B39F7868CF}"/>
              </a:ext>
            </a:extLst>
          </p:cNvPr>
          <p:cNvPicPr>
            <a:picLocks noChangeAspect="1"/>
          </p:cNvPicPr>
          <p:nvPr userDrawn="1"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6" name="SpareBank1_Nordvest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BF0A5C74-5D15-4866-9E1C-BAA9D19E649D}"/>
              </a:ext>
            </a:extLst>
          </p:cNvPr>
          <p:cNvPicPr>
            <a:picLocks noChangeAspect="1"/>
          </p:cNvPicPr>
          <p:nvPr userDrawn="1"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7" name="SpareBank1_Ringerike_Hadeland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B4E9C587-69DB-47CF-91A0-25BB068F5902}"/>
              </a:ext>
            </a:extLst>
          </p:cNvPr>
          <p:cNvPicPr>
            <a:picLocks noChangeAspect="1"/>
          </p:cNvPicPr>
          <p:nvPr userDrawn="1"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568" y="6246493"/>
            <a:ext cx="2001120" cy="396000"/>
          </a:xfrm>
          <a:prstGeom prst="rect">
            <a:avLst/>
          </a:prstGeom>
        </p:spPr>
      </p:pic>
      <p:pic>
        <p:nvPicPr>
          <p:cNvPr id="28" name="SpareBank1_Ringerike_Hadeland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BE66D82E-E542-474E-80B4-974766CF869D}"/>
              </a:ext>
            </a:extLst>
          </p:cNvPr>
          <p:cNvPicPr>
            <a:picLocks noChangeAspect="1"/>
          </p:cNvPicPr>
          <p:nvPr userDrawn="1"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568" y="6246493"/>
            <a:ext cx="2001120" cy="396000"/>
          </a:xfrm>
          <a:prstGeom prst="rect">
            <a:avLst/>
          </a:prstGeom>
        </p:spPr>
      </p:pic>
      <p:pic>
        <p:nvPicPr>
          <p:cNvPr id="29" name="SpareBank1_SMN_blaa" hidden="1">
            <a:extLst>
              <a:ext uri="{FF2B5EF4-FFF2-40B4-BE49-F238E27FC236}">
                <a16:creationId xmlns:a16="http://schemas.microsoft.com/office/drawing/2014/main" id="{10B56460-52F0-4BA9-81C3-AC3FC01D16AB}"/>
              </a:ext>
            </a:extLst>
          </p:cNvPr>
          <p:cNvPicPr>
            <a:picLocks noChangeAspect="1"/>
          </p:cNvPicPr>
          <p:nvPr userDrawn="1"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0" name="SpareBank1_SMN_hvit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EA6BA4FD-86B8-4A25-A7A7-6A94E8E62B42}"/>
              </a:ext>
            </a:extLst>
          </p:cNvPr>
          <p:cNvPicPr>
            <a:picLocks noChangeAspect="1"/>
          </p:cNvPicPr>
          <p:nvPr userDrawn="1"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1" name="SpareBank1_SR-Bank_blaa" hidden="1">
            <a:extLst>
              <a:ext uri="{FF2B5EF4-FFF2-40B4-BE49-F238E27FC236}">
                <a16:creationId xmlns:a16="http://schemas.microsoft.com/office/drawing/2014/main" id="{71D6B0B7-324F-4237-9E44-DFEC9DCB8EA2}"/>
              </a:ext>
            </a:extLst>
          </p:cNvPr>
          <p:cNvPicPr>
            <a:picLocks noChangeAspect="1"/>
          </p:cNvPicPr>
          <p:nvPr userDrawn="1"/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2" name="SpareBank1_SR-Bank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5350D87F-F50A-41F8-B2F1-7B0487EE5A88}"/>
              </a:ext>
            </a:extLst>
          </p:cNvPr>
          <p:cNvPicPr>
            <a:picLocks noChangeAspect="1"/>
          </p:cNvPicPr>
          <p:nvPr userDrawn="1"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3" name="SpareBank1_Søre_Sunnmøre_blaa" hidden="1">
            <a:extLst>
              <a:ext uri="{FF2B5EF4-FFF2-40B4-BE49-F238E27FC236}">
                <a16:creationId xmlns:a16="http://schemas.microsoft.com/office/drawing/2014/main" id="{144379FE-2380-48A2-97E8-A0FB04AF94FD}"/>
              </a:ext>
            </a:extLst>
          </p:cNvPr>
          <p:cNvPicPr>
            <a:picLocks noChangeAspect="1"/>
          </p:cNvPicPr>
          <p:nvPr userDrawn="1"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4" name="SpareBank1_Søre_Sunnmør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7CC72A1B-F55A-432C-931E-CF9326068516}"/>
              </a:ext>
            </a:extLst>
          </p:cNvPr>
          <p:cNvPicPr>
            <a:picLocks noChangeAspect="1"/>
          </p:cNvPicPr>
          <p:nvPr userDrawn="1"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5" name="SpareBank1_Telemark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E7DA024E-9A38-4E86-9D1D-5203A16C3871}"/>
              </a:ext>
            </a:extLst>
          </p:cNvPr>
          <p:cNvPicPr>
            <a:picLocks noChangeAspect="1"/>
          </p:cNvPicPr>
          <p:nvPr userDrawn="1"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6" name="SpareBank1_Telemark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C2F89C1B-E846-49C4-9A74-8A50DEF0089C}"/>
              </a:ext>
            </a:extLst>
          </p:cNvPr>
          <p:cNvPicPr>
            <a:picLocks noChangeAspect="1"/>
          </p:cNvPicPr>
          <p:nvPr userDrawn="1"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7" name="SpareBank1_Østfold_Akershus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28CB051C-CCF4-48CA-B170-DFEBE327A97B}"/>
              </a:ext>
            </a:extLst>
          </p:cNvPr>
          <p:cNvPicPr>
            <a:picLocks noChangeAspect="1"/>
          </p:cNvPicPr>
          <p:nvPr userDrawn="1"/>
        </p:nvPicPr>
        <p:blipFill>
          <a:blip r:embed="rId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9624" y="6246493"/>
            <a:ext cx="1868064" cy="396000"/>
          </a:xfrm>
          <a:prstGeom prst="rect">
            <a:avLst/>
          </a:prstGeom>
        </p:spPr>
      </p:pic>
      <p:pic>
        <p:nvPicPr>
          <p:cNvPr id="38" name="SpareBank1_Østfold_Akershus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412B20B2-EEB3-4CB5-9343-EBF2A3ABEC38}"/>
              </a:ext>
            </a:extLst>
          </p:cNvPr>
          <p:cNvPicPr>
            <a:picLocks noChangeAspect="1"/>
          </p:cNvPicPr>
          <p:nvPr userDrawn="1"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9624" y="6246493"/>
            <a:ext cx="1868064" cy="396000"/>
          </a:xfrm>
          <a:prstGeom prst="rect">
            <a:avLst/>
          </a:prstGeom>
        </p:spPr>
      </p:pic>
      <p:pic>
        <p:nvPicPr>
          <p:cNvPr id="39" name="SpareBank1_Østlandet_blaa" descr="Et bilde som inneholder tekst, servise&#10;&#10;Automatisk generert beskrivelse" hidden="1">
            <a:extLst>
              <a:ext uri="{FF2B5EF4-FFF2-40B4-BE49-F238E27FC236}">
                <a16:creationId xmlns:a16="http://schemas.microsoft.com/office/drawing/2014/main" id="{F6BB7452-ADE1-4E1C-9246-86E795C1D884}"/>
              </a:ext>
            </a:extLst>
          </p:cNvPr>
          <p:cNvPicPr>
            <a:picLocks noChangeAspect="1"/>
          </p:cNvPicPr>
          <p:nvPr userDrawn="1"/>
        </p:nvPicPr>
        <p:blipFill>
          <a:blip r:embed="rId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40" name="SpareBank1_Østlandet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41AAC948-7948-44CC-9AD2-13C10DEFD3EA}"/>
              </a:ext>
            </a:extLst>
          </p:cNvPr>
          <p:cNvPicPr>
            <a:picLocks noChangeAspect="1"/>
          </p:cNvPicPr>
          <p:nvPr userDrawn="1"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41" name="SpareBank1_blaa" hidden="1">
            <a:extLst>
              <a:ext uri="{FF2B5EF4-FFF2-40B4-BE49-F238E27FC236}">
                <a16:creationId xmlns:a16="http://schemas.microsoft.com/office/drawing/2014/main" id="{26889095-5A5D-49DD-A0A5-9AB7450D2561}"/>
              </a:ext>
            </a:extLst>
          </p:cNvPr>
          <p:cNvPicPr>
            <a:picLocks noChangeAspect="1"/>
          </p:cNvPicPr>
          <p:nvPr userDrawn="1"/>
        </p:nvPicPr>
        <p:blipFill>
          <a:blip r:embed="rId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4860" y="6246493"/>
            <a:ext cx="1792828" cy="396000"/>
          </a:xfrm>
          <a:prstGeom prst="rect">
            <a:avLst/>
          </a:prstGeom>
        </p:spPr>
      </p:pic>
      <p:pic>
        <p:nvPicPr>
          <p:cNvPr id="42" name="SpareBank1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B281BB2C-43DF-46B5-BFA5-6F4A7CA09A87}"/>
              </a:ext>
            </a:extLst>
          </p:cNvPr>
          <p:cNvPicPr>
            <a:picLocks noChangeAspect="1"/>
          </p:cNvPicPr>
          <p:nvPr userDrawn="1"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4860" y="6246493"/>
            <a:ext cx="1792828" cy="396000"/>
          </a:xfrm>
          <a:prstGeom prst="rect">
            <a:avLst/>
          </a:prstGeom>
        </p:spPr>
      </p:pic>
      <p:sp>
        <p:nvSpPr>
          <p:cNvPr id="7" name="MSIPCMContentMarking" descr="{&quot;HashCode&quot;:-1100104204,&quot;Placement&quot;:&quot;Footer&quot;,&quot;Top&quot;:516.65155,&quot;Left&quot;:0.0,&quot;SlideWidth&quot;:960,&quot;SlideHeight&quot;:540}">
            <a:extLst>
              <a:ext uri="{FF2B5EF4-FFF2-40B4-BE49-F238E27FC236}">
                <a16:creationId xmlns:a16="http://schemas.microsoft.com/office/drawing/2014/main" id="{AD33EA96-8C5E-4901-B6AF-97BA9FE2D82C}"/>
              </a:ext>
            </a:extLst>
          </p:cNvPr>
          <p:cNvSpPr txBox="1"/>
          <p:nvPr userDrawn="1"/>
        </p:nvSpPr>
        <p:spPr>
          <a:xfrm>
            <a:off x="0" y="6561475"/>
            <a:ext cx="1310094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1200">
                <a:solidFill>
                  <a:srgbClr val="AF6400"/>
                </a:solidFill>
                <a:latin typeface="Calibri" panose="020F0502020204030204" pitchFamily="34" charset="0"/>
              </a:rPr>
              <a:t>F O R T R O L I G</a:t>
            </a:r>
            <a:endParaRPr lang="nb-NO" sz="1200">
              <a:solidFill>
                <a:srgbClr val="AF64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5351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  <p:sldLayoutId id="2147483733" r:id="rId17"/>
    <p:sldLayoutId id="2147483734" r:id="rId18"/>
    <p:sldLayoutId id="2147483735" r:id="rId19"/>
    <p:sldLayoutId id="2147483736" r:id="rId20"/>
    <p:sldLayoutId id="2147483737" r:id="rId21"/>
    <p:sldLayoutId id="2147483738" r:id="rId22"/>
    <p:sldLayoutId id="2147483739" r:id="rId23"/>
    <p:sldLayoutId id="2147483740" r:id="rId24"/>
    <p:sldLayoutId id="2147483741" r:id="rId25"/>
    <p:sldLayoutId id="2147483742" r:id="rId26"/>
    <p:sldLayoutId id="2147483743" r:id="rId27"/>
    <p:sldLayoutId id="2147483744" r:id="rId28"/>
    <p:sldLayoutId id="2147483745" r:id="rId29"/>
    <p:sldLayoutId id="2147483746" r:id="rId30"/>
    <p:sldLayoutId id="2147483747" r:id="rId31"/>
    <p:sldLayoutId id="2147483748" r:id="rId32"/>
    <p:sldLayoutId id="2147483749" r:id="rId33"/>
    <p:sldLayoutId id="2147483750" r:id="rId34"/>
    <p:sldLayoutId id="2147483751" r:id="rId35"/>
    <p:sldLayoutId id="2147483752" r:id="rId36"/>
    <p:sldLayoutId id="2147483753" r:id="rId37"/>
    <p:sldLayoutId id="2147483754" r:id="rId38"/>
    <p:sldLayoutId id="2147483755" r:id="rId39"/>
    <p:sldLayoutId id="2147483756" r:id="rId40"/>
    <p:sldLayoutId id="2147483757" r:id="rId41"/>
    <p:sldLayoutId id="2147483758" r:id="rId42"/>
    <p:sldLayoutId id="2147483759" r:id="rId43"/>
    <p:sldLayoutId id="2147483760" r:id="rId44"/>
    <p:sldLayoutId id="2147483761" r:id="rId45"/>
    <p:sldLayoutId id="2147483762" r:id="rId46"/>
    <p:sldLayoutId id="2147483763" r:id="rId47"/>
    <p:sldLayoutId id="2147483764" r:id="rId48"/>
    <p:sldLayoutId id="2147483765" r:id="rId49"/>
    <p:sldLayoutId id="2147483766" r:id="rId5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7452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16380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880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DAD05F54-A1FE-75E4-20B5-781342C025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1"/>
            </p:custDataLst>
            <p:extLst>
              <p:ext uri="{D42A27DB-BD31-4B8C-83A1-F6EECF244321}">
                <p14:modId xmlns:p14="http://schemas.microsoft.com/office/powerpoint/2010/main" val="1832313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2" imgW="360" imgH="360" progId="TCLayout.ActiveDocument.1">
                  <p:embed/>
                </p:oleObj>
              </mc:Choice>
              <mc:Fallback>
                <p:oleObj name="think-cell Slide" r:id="rId62" imgW="360" imgH="360" progId="TCLayout.ActiveDocument.1">
                  <p:embed/>
                  <p:pic>
                    <p:nvPicPr>
                      <p:cNvPr id="25" name="Objekt 24" hidden="1">
                        <a:extLst>
                          <a:ext uri="{FF2B5EF4-FFF2-40B4-BE49-F238E27FC236}">
                            <a16:creationId xmlns:a16="http://schemas.microsoft.com/office/drawing/2014/main" id="{DAD05F54-A1FE-75E4-20B5-781342C025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 hidden="1">
            <a:extLst>
              <a:ext uri="{FF2B5EF4-FFF2-40B4-BE49-F238E27FC236}">
                <a16:creationId xmlns:a16="http://schemas.microsoft.com/office/drawing/2014/main" id="{12333E4B-DADC-438D-A77F-6F8FFB150D5F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10210800" y="6246493"/>
            <a:ext cx="1766888" cy="394054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32B0E46-2566-4F11-ABAD-D6C0B6124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037095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D29D8-B23F-46B7-8050-6AAB182CA6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90600" y="2466340"/>
            <a:ext cx="10363200" cy="3685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0B729C-D9B5-4BAD-A4AF-B9C9C53C7A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57800" y="6531818"/>
            <a:ext cx="2743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000"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036BEE-333E-40FE-81F8-7D75301356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2013" y="6531818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F644A0-11AB-422F-BCF2-F71EDA1198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6704" y="6531818"/>
            <a:ext cx="47625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2B126447-041E-41AD-8F4D-D6CD89ABAD14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  <p:pic>
        <p:nvPicPr>
          <p:cNvPr id="9" name="MainLogo" hidden="1">
            <a:extLst>
              <a:ext uri="{FF2B5EF4-FFF2-40B4-BE49-F238E27FC236}">
                <a16:creationId xmlns:a16="http://schemas.microsoft.com/office/drawing/2014/main" id="{0FEC348C-3024-48F7-BA1F-A8E85ED4717D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10210800" y="6246493"/>
            <a:ext cx="1766888" cy="394054"/>
          </a:xfrm>
          <a:prstGeom prst="rect">
            <a:avLst/>
          </a:prstGeom>
        </p:spPr>
      </p:pic>
      <p:pic>
        <p:nvPicPr>
          <p:cNvPr id="41" name="Logo_SpareBank1_blaa" hidden="1">
            <a:extLst>
              <a:ext uri="{FF2B5EF4-FFF2-40B4-BE49-F238E27FC236}">
                <a16:creationId xmlns:a16="http://schemas.microsoft.com/office/drawing/2014/main" id="{26889095-5A5D-49DD-A0A5-9AB7450D2561}"/>
              </a:ext>
            </a:extLst>
          </p:cNvPr>
          <p:cNvPicPr>
            <a:picLocks noChangeAspect="1"/>
          </p:cNvPicPr>
          <p:nvPr userDrawn="1"/>
        </p:nvPicPr>
        <p:blipFill>
          <a:blip r:embed="rId6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4860" y="6246493"/>
            <a:ext cx="1792828" cy="396000"/>
          </a:xfrm>
          <a:prstGeom prst="rect">
            <a:avLst/>
          </a:prstGeom>
        </p:spPr>
      </p:pic>
      <p:pic>
        <p:nvPicPr>
          <p:cNvPr id="42" name="Logo_SpareBank1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B281BB2C-43DF-46B5-BFA5-6F4A7CA09A87}"/>
              </a:ext>
            </a:extLst>
          </p:cNvPr>
          <p:cNvPicPr>
            <a:picLocks noChangeAspect="1"/>
          </p:cNvPicPr>
          <p:nvPr userDrawn="1"/>
        </p:nvPicPr>
        <p:blipFill>
          <a:blip r:embed="rId6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4860" y="6246493"/>
            <a:ext cx="1792828" cy="396000"/>
          </a:xfrm>
          <a:prstGeom prst="rect">
            <a:avLst/>
          </a:prstGeom>
        </p:spPr>
      </p:pic>
      <p:pic>
        <p:nvPicPr>
          <p:cNvPr id="10" name="Logo_SpareBank1_BV_blaa" hidden="1">
            <a:extLst>
              <a:ext uri="{FF2B5EF4-FFF2-40B4-BE49-F238E27FC236}">
                <a16:creationId xmlns:a16="http://schemas.microsoft.com/office/drawing/2014/main" id="{337BA596-8B64-402E-86E9-AD510C310981}"/>
              </a:ext>
            </a:extLst>
          </p:cNvPr>
          <p:cNvPicPr>
            <a:picLocks noChangeAspect="1"/>
          </p:cNvPicPr>
          <p:nvPr userDrawn="1"/>
        </p:nvPicPr>
        <p:blipFill>
          <a:blip r:embed="rId6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2" name="Logo_SpareBank1_BV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8F3AAF89-402C-4577-AF3F-CB1B14EE28D5}"/>
              </a:ext>
            </a:extLst>
          </p:cNvPr>
          <p:cNvPicPr>
            <a:picLocks noChangeAspect="1"/>
          </p:cNvPicPr>
          <p:nvPr userDrawn="1"/>
        </p:nvPicPr>
        <p:blipFill>
          <a:blip r:embed="rId6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3" name="Logo_SpareBank1_Gudbrandsdal_blaa" descr="Et bilde som inneholder tekst, servise, tallerken&#10;&#10;Automatisk generert beskrivelse" hidden="1">
            <a:extLst>
              <a:ext uri="{FF2B5EF4-FFF2-40B4-BE49-F238E27FC236}">
                <a16:creationId xmlns:a16="http://schemas.microsoft.com/office/drawing/2014/main" id="{AFD5BAD2-74AE-4444-BCC4-51169384C913}"/>
              </a:ext>
            </a:extLst>
          </p:cNvPr>
          <p:cNvPicPr>
            <a:picLocks noChangeAspect="1"/>
          </p:cNvPicPr>
          <p:nvPr userDrawn="1"/>
        </p:nvPicPr>
        <p:blipFill>
          <a:blip r:embed="rId7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4" name="Logo_SpareBank1_Gudbrandsdal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90BF8D02-10A3-4AC0-BEE6-3B5090834FD0}"/>
              </a:ext>
            </a:extLst>
          </p:cNvPr>
          <p:cNvPicPr>
            <a:picLocks noChangeAspect="1"/>
          </p:cNvPicPr>
          <p:nvPr userDrawn="1"/>
        </p:nvPicPr>
        <p:blipFill>
          <a:blip r:embed="rId7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5" name="Logo_SpareBank1_Hallingdal_Valdres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3E406213-2D3C-4FF9-B4F9-D6359A1A5E22}"/>
              </a:ext>
            </a:extLst>
          </p:cNvPr>
          <p:cNvPicPr>
            <a:picLocks noChangeAspect="1"/>
          </p:cNvPicPr>
          <p:nvPr userDrawn="1"/>
        </p:nvPicPr>
        <p:blipFill>
          <a:blip r:embed="rId7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80792" y="6246493"/>
            <a:ext cx="1996896" cy="396000"/>
          </a:xfrm>
          <a:prstGeom prst="rect">
            <a:avLst/>
          </a:prstGeom>
        </p:spPr>
      </p:pic>
      <p:pic>
        <p:nvPicPr>
          <p:cNvPr id="16" name="Logo_SpareBank1_Hallingdal_Valdres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493F8F0E-A8DB-4A2B-A166-5959BF70F90F}"/>
              </a:ext>
            </a:extLst>
          </p:cNvPr>
          <p:cNvPicPr>
            <a:picLocks noChangeAspect="1"/>
          </p:cNvPicPr>
          <p:nvPr userDrawn="1"/>
        </p:nvPicPr>
        <p:blipFill>
          <a:blip r:embed="rId7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80792" y="6246493"/>
            <a:ext cx="1996896" cy="396000"/>
          </a:xfrm>
          <a:prstGeom prst="rect">
            <a:avLst/>
          </a:prstGeom>
        </p:spPr>
      </p:pic>
      <p:pic>
        <p:nvPicPr>
          <p:cNvPr id="17" name="Logo_SpareBank1_Helgeland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EC5B6B60-05C3-4790-9BE2-468FBEC579C0}"/>
              </a:ext>
            </a:extLst>
          </p:cNvPr>
          <p:cNvPicPr>
            <a:picLocks noChangeAspect="1"/>
          </p:cNvPicPr>
          <p:nvPr userDrawn="1"/>
        </p:nvPicPr>
        <p:blipFill>
          <a:blip r:embed="rId7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8" name="Logo_SpareBank1_Helgeland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3D71C81C-49B7-4263-BF6E-8174CC880EC0}"/>
              </a:ext>
            </a:extLst>
          </p:cNvPr>
          <p:cNvPicPr>
            <a:picLocks noChangeAspect="1"/>
          </p:cNvPicPr>
          <p:nvPr userDrawn="1"/>
        </p:nvPicPr>
        <p:blipFill>
          <a:blip r:embed="rId7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9" name="Logo_SpareBank1_Lom_og_Skjaak_blaa" hidden="1">
            <a:extLst>
              <a:ext uri="{FF2B5EF4-FFF2-40B4-BE49-F238E27FC236}">
                <a16:creationId xmlns:a16="http://schemas.microsoft.com/office/drawing/2014/main" id="{35FF033A-4390-43B3-B8A8-AC195AE221A3}"/>
              </a:ext>
            </a:extLst>
          </p:cNvPr>
          <p:cNvPicPr>
            <a:picLocks noChangeAspect="1"/>
          </p:cNvPicPr>
          <p:nvPr userDrawn="1"/>
        </p:nvPicPr>
        <p:blipFill>
          <a:blip r:embed="rId7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7295" y="6246493"/>
            <a:ext cx="1730393" cy="396000"/>
          </a:xfrm>
          <a:prstGeom prst="rect">
            <a:avLst/>
          </a:prstGeom>
        </p:spPr>
      </p:pic>
      <p:pic>
        <p:nvPicPr>
          <p:cNvPr id="20" name="Logo_SpareBank1_Lom_og_Skjaak_hvit" hidden="1">
            <a:extLst>
              <a:ext uri="{FF2B5EF4-FFF2-40B4-BE49-F238E27FC236}">
                <a16:creationId xmlns:a16="http://schemas.microsoft.com/office/drawing/2014/main" id="{CBC18373-AB34-4DCC-98F4-7CAAD4D7E90A}"/>
              </a:ext>
            </a:extLst>
          </p:cNvPr>
          <p:cNvPicPr>
            <a:picLocks noChangeAspect="1"/>
          </p:cNvPicPr>
          <p:nvPr userDrawn="1"/>
        </p:nvPicPr>
        <p:blipFill>
          <a:blip r:embed="rId7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7295" y="6246493"/>
            <a:ext cx="1730393" cy="396000"/>
          </a:xfrm>
          <a:prstGeom prst="rect">
            <a:avLst/>
          </a:prstGeom>
        </p:spPr>
      </p:pic>
      <p:pic>
        <p:nvPicPr>
          <p:cNvPr id="56" name="Logo_SpareBank1_Markets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AA4D8C26-175A-4172-92A2-9D1E73A60A27}"/>
              </a:ext>
            </a:extLst>
          </p:cNvPr>
          <p:cNvPicPr>
            <a:picLocks noChangeAspect="1"/>
          </p:cNvPicPr>
          <p:nvPr userDrawn="1"/>
        </p:nvPicPr>
        <p:blipFill>
          <a:blip r:embed="rId7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7738" y="6246493"/>
            <a:ext cx="1739950" cy="396000"/>
          </a:xfrm>
          <a:prstGeom prst="rect">
            <a:avLst/>
          </a:prstGeom>
        </p:spPr>
      </p:pic>
      <p:pic>
        <p:nvPicPr>
          <p:cNvPr id="57" name="Logo_SpareBank1_Markets_blaa" hidden="1">
            <a:extLst>
              <a:ext uri="{FF2B5EF4-FFF2-40B4-BE49-F238E27FC236}">
                <a16:creationId xmlns:a16="http://schemas.microsoft.com/office/drawing/2014/main" id="{6C6544F4-B749-4A47-9088-26C15C03DA3F}"/>
              </a:ext>
            </a:extLst>
          </p:cNvPr>
          <p:cNvPicPr>
            <a:picLocks noChangeAspect="1"/>
          </p:cNvPicPr>
          <p:nvPr userDrawn="1"/>
        </p:nvPicPr>
        <p:blipFill>
          <a:blip r:embed="rId7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7738" y="6246493"/>
            <a:ext cx="1739950" cy="396000"/>
          </a:xfrm>
          <a:prstGeom prst="rect">
            <a:avLst/>
          </a:prstGeom>
        </p:spPr>
      </p:pic>
      <p:pic>
        <p:nvPicPr>
          <p:cNvPr id="21" name="Logo_SpareBank1_Modum_blaa" hidden="1">
            <a:extLst>
              <a:ext uri="{FF2B5EF4-FFF2-40B4-BE49-F238E27FC236}">
                <a16:creationId xmlns:a16="http://schemas.microsoft.com/office/drawing/2014/main" id="{2BB456BD-D714-4320-9FD6-D7AD08FAAA18}"/>
              </a:ext>
            </a:extLst>
          </p:cNvPr>
          <p:cNvPicPr>
            <a:picLocks noChangeAspect="1"/>
          </p:cNvPicPr>
          <p:nvPr userDrawn="1"/>
        </p:nvPicPr>
        <p:blipFill>
          <a:blip r:embed="rId8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2" name="Logo_SpareBank1_Modum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AA7A283A-E9F0-4566-A3E0-8F0620EA765D}"/>
              </a:ext>
            </a:extLst>
          </p:cNvPr>
          <p:cNvPicPr>
            <a:picLocks noChangeAspect="1"/>
          </p:cNvPicPr>
          <p:nvPr userDrawn="1"/>
        </p:nvPicPr>
        <p:blipFill>
          <a:blip r:embed="rId8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3" name="Logo_SpareBank1_Nord-Norge_blaa" hidden="1">
            <a:extLst>
              <a:ext uri="{FF2B5EF4-FFF2-40B4-BE49-F238E27FC236}">
                <a16:creationId xmlns:a16="http://schemas.microsoft.com/office/drawing/2014/main" id="{43101046-2EBF-4947-A6EB-C233820190C4}"/>
              </a:ext>
            </a:extLst>
          </p:cNvPr>
          <p:cNvPicPr>
            <a:picLocks noChangeAspect="1"/>
          </p:cNvPicPr>
          <p:nvPr userDrawn="1"/>
        </p:nvPicPr>
        <p:blipFill>
          <a:blip r:embed="rId8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4" name="Logo_SpareBank1_Nord-Norg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19CE5EB4-30DC-4B90-A86D-39C358D12350}"/>
              </a:ext>
            </a:extLst>
          </p:cNvPr>
          <p:cNvPicPr>
            <a:picLocks noChangeAspect="1"/>
          </p:cNvPicPr>
          <p:nvPr userDrawn="1"/>
        </p:nvPicPr>
        <p:blipFill>
          <a:blip r:embed="rId8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43" name="Logo_SpareBank1_Nordmør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81907AB8-BA84-45CC-8D3B-49BE2C96D615}"/>
              </a:ext>
            </a:extLst>
          </p:cNvPr>
          <p:cNvPicPr>
            <a:picLocks noChangeAspect="1"/>
          </p:cNvPicPr>
          <p:nvPr userDrawn="1"/>
        </p:nvPicPr>
        <p:blipFill>
          <a:blip r:embed="rId8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44" name="Logo_SpareBank1_Nordmøre_blaa" hidden="1">
            <a:extLst>
              <a:ext uri="{FF2B5EF4-FFF2-40B4-BE49-F238E27FC236}">
                <a16:creationId xmlns:a16="http://schemas.microsoft.com/office/drawing/2014/main" id="{450BB9C8-39CA-4C74-A7B9-E5DFA114E314}"/>
              </a:ext>
            </a:extLst>
          </p:cNvPr>
          <p:cNvPicPr>
            <a:picLocks noChangeAspect="1"/>
          </p:cNvPicPr>
          <p:nvPr userDrawn="1"/>
        </p:nvPicPr>
        <p:blipFill>
          <a:blip r:embed="rId8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52" name="Logo_SpareBank1_Regnskapshuset_blaa" descr="Et bilde som inneholder tekst, servise, tallerken&#10;&#10;Automatisk generert beskrivelse" hidden="1">
            <a:extLst>
              <a:ext uri="{FF2B5EF4-FFF2-40B4-BE49-F238E27FC236}">
                <a16:creationId xmlns:a16="http://schemas.microsoft.com/office/drawing/2014/main" id="{64664DE2-B7F1-4F09-8F8F-49FA5E240A8F}"/>
              </a:ext>
            </a:extLst>
          </p:cNvPr>
          <p:cNvPicPr>
            <a:picLocks noChangeAspect="1"/>
          </p:cNvPicPr>
          <p:nvPr userDrawn="1"/>
        </p:nvPicPr>
        <p:blipFill>
          <a:blip r:embed="rId8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624" y="6246493"/>
            <a:ext cx="1741064" cy="396000"/>
          </a:xfrm>
          <a:prstGeom prst="rect">
            <a:avLst/>
          </a:prstGeom>
        </p:spPr>
      </p:pic>
      <p:pic>
        <p:nvPicPr>
          <p:cNvPr id="54" name="Logo_SpareBank1_Regnskapshuset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F0EA445F-A2B1-4FB0-B81B-2A87CBF18084}"/>
              </a:ext>
            </a:extLst>
          </p:cNvPr>
          <p:cNvPicPr>
            <a:picLocks noChangeAspect="1"/>
          </p:cNvPicPr>
          <p:nvPr userDrawn="1"/>
        </p:nvPicPr>
        <p:blipFill>
          <a:blip r:embed="rId8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624" y="6246493"/>
            <a:ext cx="1741064" cy="396000"/>
          </a:xfrm>
          <a:prstGeom prst="rect">
            <a:avLst/>
          </a:prstGeom>
        </p:spPr>
      </p:pic>
      <p:pic>
        <p:nvPicPr>
          <p:cNvPr id="27" name="Logo_SpareBank1_Ringerike_Hadeland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B4E9C587-69DB-47CF-91A0-25BB068F5902}"/>
              </a:ext>
            </a:extLst>
          </p:cNvPr>
          <p:cNvPicPr>
            <a:picLocks noChangeAspect="1"/>
          </p:cNvPicPr>
          <p:nvPr userDrawn="1"/>
        </p:nvPicPr>
        <p:blipFill>
          <a:blip r:embed="rId8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6568" y="6246493"/>
            <a:ext cx="2001120" cy="396000"/>
          </a:xfrm>
          <a:prstGeom prst="rect">
            <a:avLst/>
          </a:prstGeom>
        </p:spPr>
      </p:pic>
      <p:pic>
        <p:nvPicPr>
          <p:cNvPr id="28" name="Logo_SpareBank1_Ringerike_Hadeland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BE66D82E-E542-474E-80B4-974766CF869D}"/>
              </a:ext>
            </a:extLst>
          </p:cNvPr>
          <p:cNvPicPr>
            <a:picLocks noChangeAspect="1"/>
          </p:cNvPicPr>
          <p:nvPr userDrawn="1"/>
        </p:nvPicPr>
        <p:blipFill>
          <a:blip r:embed="rId8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6568" y="6246493"/>
            <a:ext cx="2001120" cy="396000"/>
          </a:xfrm>
          <a:prstGeom prst="rect">
            <a:avLst/>
          </a:prstGeom>
        </p:spPr>
      </p:pic>
      <p:pic>
        <p:nvPicPr>
          <p:cNvPr id="53" name="Logo_SpareBank1_SamSpar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5B79E6DA-CD6C-4D54-90FE-4C8597BD6958}"/>
              </a:ext>
            </a:extLst>
          </p:cNvPr>
          <p:cNvPicPr>
            <a:picLocks noChangeAspect="1"/>
          </p:cNvPicPr>
          <p:nvPr userDrawn="1"/>
        </p:nvPicPr>
        <p:blipFill>
          <a:blip r:embed="rId9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7169" y="6246493"/>
            <a:ext cx="1740519" cy="396000"/>
          </a:xfrm>
          <a:prstGeom prst="rect">
            <a:avLst/>
          </a:prstGeom>
        </p:spPr>
      </p:pic>
      <p:pic>
        <p:nvPicPr>
          <p:cNvPr id="55" name="Logo_SpareBank1_SamSpar_blaa" hidden="1">
            <a:extLst>
              <a:ext uri="{FF2B5EF4-FFF2-40B4-BE49-F238E27FC236}">
                <a16:creationId xmlns:a16="http://schemas.microsoft.com/office/drawing/2014/main" id="{244336BA-B162-4D7A-9AE5-117FCBDC4277}"/>
              </a:ext>
            </a:extLst>
          </p:cNvPr>
          <p:cNvPicPr>
            <a:picLocks noChangeAspect="1"/>
          </p:cNvPicPr>
          <p:nvPr userDrawn="1"/>
        </p:nvPicPr>
        <p:blipFill>
          <a:blip r:embed="rId9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7169" y="6246493"/>
            <a:ext cx="1740519" cy="396000"/>
          </a:xfrm>
          <a:prstGeom prst="rect">
            <a:avLst/>
          </a:prstGeom>
        </p:spPr>
      </p:pic>
      <p:pic>
        <p:nvPicPr>
          <p:cNvPr id="29" name="Logo_SpareBank1_SMN_blaa" hidden="1">
            <a:extLst>
              <a:ext uri="{FF2B5EF4-FFF2-40B4-BE49-F238E27FC236}">
                <a16:creationId xmlns:a16="http://schemas.microsoft.com/office/drawing/2014/main" id="{10B56460-52F0-4BA9-81C3-AC3FC01D16AB}"/>
              </a:ext>
            </a:extLst>
          </p:cNvPr>
          <p:cNvPicPr>
            <a:picLocks noChangeAspect="1"/>
          </p:cNvPicPr>
          <p:nvPr userDrawn="1"/>
        </p:nvPicPr>
        <p:blipFill>
          <a:blip r:embed="rId9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0" name="Logo_SpareBank1_SMN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EA6BA4FD-86B8-4A25-A7A7-6A94E8E62B42}"/>
              </a:ext>
            </a:extLst>
          </p:cNvPr>
          <p:cNvPicPr>
            <a:picLocks noChangeAspect="1"/>
          </p:cNvPicPr>
          <p:nvPr userDrawn="1"/>
        </p:nvPicPr>
        <p:blipFill>
          <a:blip r:embed="rId9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1" name="Logo_SpareBank1_SR-Bank_blaa" hidden="1">
            <a:extLst>
              <a:ext uri="{FF2B5EF4-FFF2-40B4-BE49-F238E27FC236}">
                <a16:creationId xmlns:a16="http://schemas.microsoft.com/office/drawing/2014/main" id="{71D6B0B7-324F-4237-9E44-DFEC9DCB8EA2}"/>
              </a:ext>
            </a:extLst>
          </p:cNvPr>
          <p:cNvPicPr>
            <a:picLocks noChangeAspect="1"/>
          </p:cNvPicPr>
          <p:nvPr userDrawn="1"/>
        </p:nvPicPr>
        <p:blipFill>
          <a:blip r:embed="rId9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2" name="Logo_SpareBank1_SR-Bank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5350D87F-F50A-41F8-B2F1-7B0487EE5A88}"/>
              </a:ext>
            </a:extLst>
          </p:cNvPr>
          <p:cNvPicPr>
            <a:picLocks noChangeAspect="1"/>
          </p:cNvPicPr>
          <p:nvPr userDrawn="1"/>
        </p:nvPicPr>
        <p:blipFill>
          <a:blip r:embed="rId9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3" name="Logo_SpareBank1_Søre_Sunnmøre_blaa" hidden="1">
            <a:extLst>
              <a:ext uri="{FF2B5EF4-FFF2-40B4-BE49-F238E27FC236}">
                <a16:creationId xmlns:a16="http://schemas.microsoft.com/office/drawing/2014/main" id="{144379FE-2380-48A2-97E8-A0FB04AF94FD}"/>
              </a:ext>
            </a:extLst>
          </p:cNvPr>
          <p:cNvPicPr>
            <a:picLocks noChangeAspect="1"/>
          </p:cNvPicPr>
          <p:nvPr userDrawn="1"/>
        </p:nvPicPr>
        <p:blipFill>
          <a:blip r:embed="rId9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4" name="Logo_SpareBank1_Søre_Sunnmør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7CC72A1B-F55A-432C-931E-CF9326068516}"/>
              </a:ext>
            </a:extLst>
          </p:cNvPr>
          <p:cNvPicPr>
            <a:picLocks noChangeAspect="1"/>
          </p:cNvPicPr>
          <p:nvPr userDrawn="1"/>
        </p:nvPicPr>
        <p:blipFill>
          <a:blip r:embed="rId9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45" name="Logo_SpareBank1_Sørøst-Norg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95F2A5E6-C54F-4ED7-B293-C96F59F99C56}"/>
              </a:ext>
            </a:extLst>
          </p:cNvPr>
          <p:cNvPicPr>
            <a:picLocks noChangeAspect="1"/>
          </p:cNvPicPr>
          <p:nvPr userDrawn="1"/>
        </p:nvPicPr>
        <p:blipFill>
          <a:blip r:embed="rId9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7169" y="6246493"/>
            <a:ext cx="1740519" cy="396000"/>
          </a:xfrm>
          <a:prstGeom prst="rect">
            <a:avLst/>
          </a:prstGeom>
        </p:spPr>
      </p:pic>
      <p:pic>
        <p:nvPicPr>
          <p:cNvPr id="51" name="Logo_SpareBank1_Sørøst-Norge_blaa" hidden="1">
            <a:extLst>
              <a:ext uri="{FF2B5EF4-FFF2-40B4-BE49-F238E27FC236}">
                <a16:creationId xmlns:a16="http://schemas.microsoft.com/office/drawing/2014/main" id="{9F247EDB-7F55-4751-909A-2C3B8B7053AE}"/>
              </a:ext>
            </a:extLst>
          </p:cNvPr>
          <p:cNvPicPr>
            <a:picLocks noChangeAspect="1"/>
          </p:cNvPicPr>
          <p:nvPr userDrawn="1"/>
        </p:nvPicPr>
        <p:blipFill>
          <a:blip r:embed="rId9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7169" y="6246493"/>
            <a:ext cx="1740519" cy="396000"/>
          </a:xfrm>
          <a:prstGeom prst="rect">
            <a:avLst/>
          </a:prstGeom>
        </p:spPr>
      </p:pic>
      <p:pic>
        <p:nvPicPr>
          <p:cNvPr id="35" name="Logo_SpareBank1_Telemark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E7DA024E-9A38-4E86-9D1D-5203A16C3871}"/>
              </a:ext>
            </a:extLst>
          </p:cNvPr>
          <p:cNvPicPr>
            <a:picLocks noChangeAspect="1"/>
          </p:cNvPicPr>
          <p:nvPr userDrawn="1"/>
        </p:nvPicPr>
        <p:blipFill>
          <a:blip r:embed="rId10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6" name="Logo_SpareBank1_Telemark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C2F89C1B-E846-49C4-9A74-8A50DEF0089C}"/>
              </a:ext>
            </a:extLst>
          </p:cNvPr>
          <p:cNvPicPr>
            <a:picLocks noChangeAspect="1"/>
          </p:cNvPicPr>
          <p:nvPr userDrawn="1"/>
        </p:nvPicPr>
        <p:blipFill>
          <a:blip r:embed="rId10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7" name="Logo_SpareBank1_Østfold_Akershus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28CB051C-CCF4-48CA-B170-DFEBE327A97B}"/>
              </a:ext>
            </a:extLst>
          </p:cNvPr>
          <p:cNvPicPr>
            <a:picLocks noChangeAspect="1"/>
          </p:cNvPicPr>
          <p:nvPr userDrawn="1"/>
        </p:nvPicPr>
        <p:blipFill>
          <a:blip r:embed="rId10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9624" y="6246493"/>
            <a:ext cx="1868064" cy="396000"/>
          </a:xfrm>
          <a:prstGeom prst="rect">
            <a:avLst/>
          </a:prstGeom>
        </p:spPr>
      </p:pic>
      <p:pic>
        <p:nvPicPr>
          <p:cNvPr id="38" name="Logo_SpareBank1_Østfold_Akershus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412B20B2-EEB3-4CB5-9343-EBF2A3ABEC38}"/>
              </a:ext>
            </a:extLst>
          </p:cNvPr>
          <p:cNvPicPr>
            <a:picLocks noChangeAspect="1"/>
          </p:cNvPicPr>
          <p:nvPr userDrawn="1"/>
        </p:nvPicPr>
        <p:blipFill>
          <a:blip r:embed="rId10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9624" y="6246493"/>
            <a:ext cx="1868064" cy="396000"/>
          </a:xfrm>
          <a:prstGeom prst="rect">
            <a:avLst/>
          </a:prstGeom>
        </p:spPr>
      </p:pic>
      <p:pic>
        <p:nvPicPr>
          <p:cNvPr id="48" name="Logo_SpareBank1_Østlandet_blaa" descr="Et bilde som inneholder tekst, servise, tallerken&#10;&#10;Automatisk generert beskrivelse" hidden="1">
            <a:extLst>
              <a:ext uri="{FF2B5EF4-FFF2-40B4-BE49-F238E27FC236}">
                <a16:creationId xmlns:a16="http://schemas.microsoft.com/office/drawing/2014/main" id="{E927BB58-AF04-4D48-9C20-378D9B7A49BC}"/>
              </a:ext>
            </a:extLst>
          </p:cNvPr>
          <p:cNvPicPr>
            <a:picLocks noChangeAspect="1"/>
          </p:cNvPicPr>
          <p:nvPr userDrawn="1"/>
        </p:nvPicPr>
        <p:blipFill>
          <a:blip r:embed="rId10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2347" y="6246493"/>
            <a:ext cx="1675341" cy="396000"/>
          </a:xfrm>
          <a:prstGeom prst="rect">
            <a:avLst/>
          </a:prstGeom>
        </p:spPr>
      </p:pic>
      <p:pic>
        <p:nvPicPr>
          <p:cNvPr id="39" name="Logo_SpareBank1_Østlandet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AA84A37E-35CA-403D-ABDF-9F75F8E49A16}"/>
              </a:ext>
            </a:extLst>
          </p:cNvPr>
          <p:cNvPicPr>
            <a:picLocks noChangeAspect="1"/>
          </p:cNvPicPr>
          <p:nvPr userDrawn="1"/>
        </p:nvPicPr>
        <p:blipFill>
          <a:blip r:embed="rId10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2347" y="6246493"/>
            <a:ext cx="1675341" cy="396000"/>
          </a:xfrm>
          <a:prstGeom prst="rect">
            <a:avLst/>
          </a:prstGeom>
        </p:spPr>
      </p:pic>
      <p:pic>
        <p:nvPicPr>
          <p:cNvPr id="50" name="Logo_Eiendomsmegler1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D90C3E49-B1DF-4F62-B02A-7F9B83B3DF85}"/>
              </a:ext>
            </a:extLst>
          </p:cNvPr>
          <p:cNvPicPr>
            <a:picLocks noChangeAspect="1"/>
          </p:cNvPicPr>
          <p:nvPr userDrawn="1"/>
        </p:nvPicPr>
        <p:blipFill>
          <a:blip r:embed="rId10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2152" y="6246493"/>
            <a:ext cx="2285536" cy="396000"/>
          </a:xfrm>
          <a:prstGeom prst="rect">
            <a:avLst/>
          </a:prstGeom>
        </p:spPr>
      </p:pic>
      <p:pic>
        <p:nvPicPr>
          <p:cNvPr id="58" name="Logo_Eiendomsmegler1_blaa" hidden="1">
            <a:extLst>
              <a:ext uri="{FF2B5EF4-FFF2-40B4-BE49-F238E27FC236}">
                <a16:creationId xmlns:a16="http://schemas.microsoft.com/office/drawing/2014/main" id="{0D6E1CDE-4D7E-41B2-BD34-83976C6A0C3E}"/>
              </a:ext>
            </a:extLst>
          </p:cNvPr>
          <p:cNvPicPr>
            <a:picLocks noChangeAspect="1"/>
          </p:cNvPicPr>
          <p:nvPr userDrawn="1"/>
        </p:nvPicPr>
        <p:blipFill>
          <a:blip r:embed="rId10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2152" y="6246493"/>
            <a:ext cx="2285536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894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79" r:id="rId12"/>
    <p:sldLayoutId id="2147483780" r:id="rId13"/>
    <p:sldLayoutId id="2147483781" r:id="rId14"/>
    <p:sldLayoutId id="2147483782" r:id="rId15"/>
    <p:sldLayoutId id="2147483783" r:id="rId16"/>
    <p:sldLayoutId id="2147483784" r:id="rId17"/>
    <p:sldLayoutId id="2147483785" r:id="rId18"/>
    <p:sldLayoutId id="2147483786" r:id="rId19"/>
    <p:sldLayoutId id="2147483787" r:id="rId20"/>
    <p:sldLayoutId id="2147483788" r:id="rId21"/>
    <p:sldLayoutId id="2147483789" r:id="rId22"/>
    <p:sldLayoutId id="2147483790" r:id="rId23"/>
    <p:sldLayoutId id="2147483791" r:id="rId24"/>
    <p:sldLayoutId id="2147483792" r:id="rId25"/>
    <p:sldLayoutId id="2147483793" r:id="rId26"/>
    <p:sldLayoutId id="2147483794" r:id="rId27"/>
    <p:sldLayoutId id="2147483795" r:id="rId28"/>
    <p:sldLayoutId id="2147483796" r:id="rId29"/>
    <p:sldLayoutId id="2147483797" r:id="rId30"/>
    <p:sldLayoutId id="2147483798" r:id="rId31"/>
    <p:sldLayoutId id="2147483799" r:id="rId32"/>
    <p:sldLayoutId id="2147483800" r:id="rId33"/>
    <p:sldLayoutId id="2147483801" r:id="rId34"/>
    <p:sldLayoutId id="2147483802" r:id="rId35"/>
    <p:sldLayoutId id="2147483803" r:id="rId36"/>
    <p:sldLayoutId id="2147483804" r:id="rId37"/>
    <p:sldLayoutId id="2147483805" r:id="rId38"/>
    <p:sldLayoutId id="2147483806" r:id="rId39"/>
    <p:sldLayoutId id="2147483807" r:id="rId40"/>
    <p:sldLayoutId id="2147483808" r:id="rId41"/>
    <p:sldLayoutId id="2147483809" r:id="rId42"/>
    <p:sldLayoutId id="2147483810" r:id="rId43"/>
    <p:sldLayoutId id="2147483811" r:id="rId44"/>
    <p:sldLayoutId id="2147483812" r:id="rId45"/>
    <p:sldLayoutId id="2147483813" r:id="rId46"/>
    <p:sldLayoutId id="2147483814" r:id="rId47"/>
    <p:sldLayoutId id="2147483815" r:id="rId48"/>
    <p:sldLayoutId id="2147483816" r:id="rId49"/>
    <p:sldLayoutId id="2147483817" r:id="rId50"/>
    <p:sldLayoutId id="2147483818" r:id="rId51"/>
    <p:sldLayoutId id="2147483819" r:id="rId52"/>
    <p:sldLayoutId id="2147483820" r:id="rId53"/>
    <p:sldLayoutId id="2147483821" r:id="rId54"/>
    <p:sldLayoutId id="2147483822" r:id="rId55"/>
    <p:sldLayoutId id="2147483823" r:id="rId56"/>
    <p:sldLayoutId id="2147483824" r:id="rId57"/>
    <p:sldLayoutId id="2147483825" r:id="rId58"/>
    <p:sldLayoutId id="2147483826" r:id="rId5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rgbClr val="00207D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rgbClr val="00207D"/>
          </a:solidFill>
          <a:latin typeface="+mn-lt"/>
          <a:ea typeface="+mn-ea"/>
          <a:cs typeface="+mn-cs"/>
        </a:defRPr>
      </a:lvl1pPr>
      <a:lvl2pPr marL="7452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207D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rgbClr val="00207D"/>
          </a:solidFill>
          <a:latin typeface="+mn-lt"/>
          <a:ea typeface="+mn-ea"/>
          <a:cs typeface="+mn-cs"/>
        </a:defRPr>
      </a:lvl3pPr>
      <a:lvl4pPr marL="16380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207D"/>
          </a:solidFill>
          <a:latin typeface="+mn-lt"/>
          <a:ea typeface="+mn-ea"/>
          <a:cs typeface="+mn-cs"/>
        </a:defRPr>
      </a:lvl4pPr>
      <a:lvl5pPr marL="20880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207D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 hidden="1">
            <a:extLst>
              <a:ext uri="{FF2B5EF4-FFF2-40B4-BE49-F238E27FC236}">
                <a16:creationId xmlns:a16="http://schemas.microsoft.com/office/drawing/2014/main" id="{12333E4B-DADC-438D-A77F-6F8FFB150D5F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10210800" y="6246493"/>
            <a:ext cx="1766888" cy="394054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32B0E46-2566-4F11-ABAD-D6C0B6124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037095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D29D8-B23F-46B7-8050-6AAB182CA6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90600" y="2466340"/>
            <a:ext cx="10363200" cy="3685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0B729C-D9B5-4BAD-A4AF-B9C9C53C7A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57800" y="6531818"/>
            <a:ext cx="2743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000"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1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036BEE-333E-40FE-81F8-7D75301356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2013" y="6531818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F644A0-11AB-422F-BCF2-F71EDA1198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6704" y="6531818"/>
            <a:ext cx="47625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2B126447-041E-41AD-8F4D-D6CD89ABAD14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  <p:pic>
        <p:nvPicPr>
          <p:cNvPr id="9" name="MainLogo" hidden="1">
            <a:extLst>
              <a:ext uri="{FF2B5EF4-FFF2-40B4-BE49-F238E27FC236}">
                <a16:creationId xmlns:a16="http://schemas.microsoft.com/office/drawing/2014/main" id="{0FEC348C-3024-48F7-BA1F-A8E85ED4717D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10210800" y="6246493"/>
            <a:ext cx="1766888" cy="394054"/>
          </a:xfrm>
          <a:prstGeom prst="rect">
            <a:avLst/>
          </a:prstGeom>
        </p:spPr>
      </p:pic>
      <p:pic>
        <p:nvPicPr>
          <p:cNvPr id="41" name="Logo_SpareBank1_blaa" hidden="1">
            <a:extLst>
              <a:ext uri="{FF2B5EF4-FFF2-40B4-BE49-F238E27FC236}">
                <a16:creationId xmlns:a16="http://schemas.microsoft.com/office/drawing/2014/main" id="{26889095-5A5D-49DD-A0A5-9AB7450D2561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4860" y="6246493"/>
            <a:ext cx="1790700" cy="395530"/>
          </a:xfrm>
          <a:prstGeom prst="rect">
            <a:avLst/>
          </a:prstGeom>
        </p:spPr>
      </p:pic>
      <p:pic>
        <p:nvPicPr>
          <p:cNvPr id="42" name="Logo_SpareBank1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B281BB2C-43DF-46B5-BFA5-6F4A7CA09A87}"/>
              </a:ext>
            </a:extLst>
          </p:cNvPr>
          <p:cNvPicPr>
            <a:picLocks noChangeAspect="1"/>
          </p:cNvPicPr>
          <p:nvPr userDrawn="1"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4860" y="6246493"/>
            <a:ext cx="1790700" cy="395530"/>
          </a:xfrm>
          <a:prstGeom prst="rect">
            <a:avLst/>
          </a:prstGeom>
        </p:spPr>
      </p:pic>
      <p:pic>
        <p:nvPicPr>
          <p:cNvPr id="10" name="Logo_SpareBank1_BV_blaa" hidden="1">
            <a:extLst>
              <a:ext uri="{FF2B5EF4-FFF2-40B4-BE49-F238E27FC236}">
                <a16:creationId xmlns:a16="http://schemas.microsoft.com/office/drawing/2014/main" id="{337BA596-8B64-402E-86E9-AD510C310981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2" name="Logo_SpareBank1_BV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8F3AAF89-402C-4577-AF3F-CB1B14EE28D5}"/>
              </a:ext>
            </a:extLst>
          </p:cNvPr>
          <p:cNvPicPr>
            <a:picLocks noChangeAspect="1"/>
          </p:cNvPicPr>
          <p:nvPr userDrawn="1"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7" name="Logo_Sparebank1_Finanshuset_SMN_hvit" descr="Et bilde som inneholder tekst, Font, Grafikk, skjermbilde&#10;&#10;Automatisk generert beskrivelse" hidden="1">
            <a:extLst>
              <a:ext uri="{FF2B5EF4-FFF2-40B4-BE49-F238E27FC236}">
                <a16:creationId xmlns:a16="http://schemas.microsoft.com/office/drawing/2014/main" id="{C00983B6-724E-8654-136C-10DA1B36EC19}"/>
              </a:ext>
            </a:extLst>
          </p:cNvPr>
          <p:cNvPicPr>
            <a:picLocks noChangeAspect="1"/>
          </p:cNvPicPr>
          <p:nvPr userDrawn="1"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4193" y="6166026"/>
            <a:ext cx="2667000" cy="560754"/>
          </a:xfrm>
          <a:prstGeom prst="rect">
            <a:avLst/>
          </a:prstGeom>
        </p:spPr>
      </p:pic>
      <p:pic>
        <p:nvPicPr>
          <p:cNvPr id="26" name="Logo_Sparebank1_Finanshuset_SMN_blaa" descr="Et bilde som inneholder tekst, Font, skjermbilde, Grafikk&#10;&#10;Automatisk generert beskrivelse" hidden="1">
            <a:extLst>
              <a:ext uri="{FF2B5EF4-FFF2-40B4-BE49-F238E27FC236}">
                <a16:creationId xmlns:a16="http://schemas.microsoft.com/office/drawing/2014/main" id="{E5A439F3-A790-39A5-B921-2222260E11C9}"/>
              </a:ext>
            </a:extLst>
          </p:cNvPr>
          <p:cNvPicPr>
            <a:picLocks noChangeAspect="1"/>
          </p:cNvPicPr>
          <p:nvPr userDrawn="1"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4193" y="6166026"/>
            <a:ext cx="2667000" cy="560754"/>
          </a:xfrm>
          <a:prstGeom prst="rect">
            <a:avLst/>
          </a:prstGeom>
        </p:spPr>
      </p:pic>
      <p:pic>
        <p:nvPicPr>
          <p:cNvPr id="13" name="Logo_SpareBank1_Gudbrandsdal_blaa" descr="Et bilde som inneholder tekst, servise, tallerken&#10;&#10;Automatisk generert beskrivelse" hidden="1">
            <a:extLst>
              <a:ext uri="{FF2B5EF4-FFF2-40B4-BE49-F238E27FC236}">
                <a16:creationId xmlns:a16="http://schemas.microsoft.com/office/drawing/2014/main" id="{AFD5BAD2-74AE-4444-BCC4-51169384C913}"/>
              </a:ext>
            </a:extLst>
          </p:cNvPr>
          <p:cNvPicPr>
            <a:picLocks noChangeAspect="1"/>
          </p:cNvPicPr>
          <p:nvPr userDrawn="1"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4" name="Logo_SpareBank1_Gudbrandsdal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90BF8D02-10A3-4AC0-BEE6-3B5090834FD0}"/>
              </a:ext>
            </a:extLst>
          </p:cNvPr>
          <p:cNvPicPr>
            <a:picLocks noChangeAspect="1"/>
          </p:cNvPicPr>
          <p:nvPr userDrawn="1"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50" name="Logo_SpareBank1_Hallingdal_Valdres_blaa" descr="Et bilde som inneholder Font, Grafikk, tekst, logo&#10;&#10;Automatisk generert beskrivelse" hidden="1">
            <a:extLst>
              <a:ext uri="{FF2B5EF4-FFF2-40B4-BE49-F238E27FC236}">
                <a16:creationId xmlns:a16="http://schemas.microsoft.com/office/drawing/2014/main" id="{27F75B8D-6D75-0AAE-29E1-CC8C5311F016}"/>
              </a:ext>
            </a:extLst>
          </p:cNvPr>
          <p:cNvPicPr>
            <a:picLocks noChangeAspect="1"/>
          </p:cNvPicPr>
          <p:nvPr userDrawn="1"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47" name="Logo_SpareBank1_Hallingdal_Valdres_hvit" descr="Et bilde som inneholder tekst, Font, Grafikk, logo&#10;&#10;Automatisk generert beskrivelse" hidden="1">
            <a:extLst>
              <a:ext uri="{FF2B5EF4-FFF2-40B4-BE49-F238E27FC236}">
                <a16:creationId xmlns:a16="http://schemas.microsoft.com/office/drawing/2014/main" id="{068CC6F1-6D69-A85B-4F11-01BEB14D8B17}"/>
              </a:ext>
            </a:extLst>
          </p:cNvPr>
          <p:cNvPicPr>
            <a:picLocks noChangeAspect="1"/>
          </p:cNvPicPr>
          <p:nvPr userDrawn="1"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17" name="Logo_SpareBank1_Helgeland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EC5B6B60-05C3-4790-9BE2-468FBEC579C0}"/>
              </a:ext>
            </a:extLst>
          </p:cNvPr>
          <p:cNvPicPr>
            <a:picLocks noChangeAspect="1"/>
          </p:cNvPicPr>
          <p:nvPr userDrawn="1"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8" name="Logo_SpareBank1_Helgeland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3D71C81C-49B7-4263-BF6E-8174CC880EC0}"/>
              </a:ext>
            </a:extLst>
          </p:cNvPr>
          <p:cNvPicPr>
            <a:picLocks noChangeAspect="1"/>
          </p:cNvPicPr>
          <p:nvPr userDrawn="1"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9" name="Logo_SpareBank1_Lom_og_Skjaak_blaa" hidden="1">
            <a:extLst>
              <a:ext uri="{FF2B5EF4-FFF2-40B4-BE49-F238E27FC236}">
                <a16:creationId xmlns:a16="http://schemas.microsoft.com/office/drawing/2014/main" id="{35FF033A-4390-43B3-B8A8-AC195AE221A3}"/>
              </a:ext>
            </a:extLst>
          </p:cNvPr>
          <p:cNvPicPr>
            <a:picLocks noChangeAspect="1"/>
          </p:cNvPicPr>
          <p:nvPr userDrawn="1"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7295" y="6246493"/>
            <a:ext cx="1730393" cy="396000"/>
          </a:xfrm>
          <a:prstGeom prst="rect">
            <a:avLst/>
          </a:prstGeom>
        </p:spPr>
      </p:pic>
      <p:pic>
        <p:nvPicPr>
          <p:cNvPr id="20" name="Logo_SpareBank1_Lom_og_Skjaak_hvit" hidden="1">
            <a:extLst>
              <a:ext uri="{FF2B5EF4-FFF2-40B4-BE49-F238E27FC236}">
                <a16:creationId xmlns:a16="http://schemas.microsoft.com/office/drawing/2014/main" id="{CBC18373-AB34-4DCC-98F4-7CAAD4D7E90A}"/>
              </a:ext>
            </a:extLst>
          </p:cNvPr>
          <p:cNvPicPr>
            <a:picLocks noChangeAspect="1"/>
          </p:cNvPicPr>
          <p:nvPr userDrawn="1"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7295" y="6246493"/>
            <a:ext cx="1730393" cy="396000"/>
          </a:xfrm>
          <a:prstGeom prst="rect">
            <a:avLst/>
          </a:prstGeom>
        </p:spPr>
      </p:pic>
      <p:pic>
        <p:nvPicPr>
          <p:cNvPr id="56" name="Logo_SpareBank1_Markets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AA4D8C26-175A-4172-92A2-9D1E73A60A27}"/>
              </a:ext>
            </a:extLst>
          </p:cNvPr>
          <p:cNvPicPr>
            <a:picLocks noChangeAspect="1"/>
          </p:cNvPicPr>
          <p:nvPr userDrawn="1"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738" y="6246493"/>
            <a:ext cx="1739950" cy="396000"/>
          </a:xfrm>
          <a:prstGeom prst="rect">
            <a:avLst/>
          </a:prstGeom>
        </p:spPr>
      </p:pic>
      <p:pic>
        <p:nvPicPr>
          <p:cNvPr id="57" name="Logo_SpareBank1_Markets_blaa" hidden="1">
            <a:extLst>
              <a:ext uri="{FF2B5EF4-FFF2-40B4-BE49-F238E27FC236}">
                <a16:creationId xmlns:a16="http://schemas.microsoft.com/office/drawing/2014/main" id="{6C6544F4-B749-4A47-9088-26C15C03DA3F}"/>
              </a:ext>
            </a:extLst>
          </p:cNvPr>
          <p:cNvPicPr>
            <a:picLocks noChangeAspect="1"/>
          </p:cNvPicPr>
          <p:nvPr userDrawn="1"/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738" y="6246493"/>
            <a:ext cx="1739950" cy="396000"/>
          </a:xfrm>
          <a:prstGeom prst="rect">
            <a:avLst/>
          </a:prstGeom>
        </p:spPr>
      </p:pic>
      <p:pic>
        <p:nvPicPr>
          <p:cNvPr id="21" name="Logo_SpareBank1_Modum_blaa" hidden="1">
            <a:extLst>
              <a:ext uri="{FF2B5EF4-FFF2-40B4-BE49-F238E27FC236}">
                <a16:creationId xmlns:a16="http://schemas.microsoft.com/office/drawing/2014/main" id="{2BB456BD-D714-4320-9FD6-D7AD08FAAA18}"/>
              </a:ext>
            </a:extLst>
          </p:cNvPr>
          <p:cNvPicPr>
            <a:picLocks noChangeAspect="1"/>
          </p:cNvPicPr>
          <p:nvPr userDrawn="1"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2" name="Logo_SpareBank1_Modum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AA7A283A-E9F0-4566-A3E0-8F0620EA765D}"/>
              </a:ext>
            </a:extLst>
          </p:cNvPr>
          <p:cNvPicPr>
            <a:picLocks noChangeAspect="1"/>
          </p:cNvPicPr>
          <p:nvPr userDrawn="1"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3" name="Logo_SpareBank1_Nord-Norge_blaa" hidden="1">
            <a:extLst>
              <a:ext uri="{FF2B5EF4-FFF2-40B4-BE49-F238E27FC236}">
                <a16:creationId xmlns:a16="http://schemas.microsoft.com/office/drawing/2014/main" id="{43101046-2EBF-4947-A6EB-C233820190C4}"/>
              </a:ext>
            </a:extLst>
          </p:cNvPr>
          <p:cNvPicPr>
            <a:picLocks noChangeAspect="1"/>
          </p:cNvPicPr>
          <p:nvPr userDrawn="1"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4" name="Logo_SpareBank1_Nord-Norg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19CE5EB4-30DC-4B90-A86D-39C358D12350}"/>
              </a:ext>
            </a:extLst>
          </p:cNvPr>
          <p:cNvPicPr>
            <a:picLocks noChangeAspect="1"/>
          </p:cNvPicPr>
          <p:nvPr userDrawn="1"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43" name="Logo_SpareBank1_Nordmør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81907AB8-BA84-45CC-8D3B-49BE2C96D615}"/>
              </a:ext>
            </a:extLst>
          </p:cNvPr>
          <p:cNvPicPr>
            <a:picLocks noChangeAspect="1"/>
          </p:cNvPicPr>
          <p:nvPr userDrawn="1"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44" name="Logo_SpareBank1_Nordmøre_blaa" hidden="1">
            <a:extLst>
              <a:ext uri="{FF2B5EF4-FFF2-40B4-BE49-F238E27FC236}">
                <a16:creationId xmlns:a16="http://schemas.microsoft.com/office/drawing/2014/main" id="{450BB9C8-39CA-4C74-A7B9-E5DFA114E314}"/>
              </a:ext>
            </a:extLst>
          </p:cNvPr>
          <p:cNvPicPr>
            <a:picLocks noChangeAspect="1"/>
          </p:cNvPicPr>
          <p:nvPr userDrawn="1"/>
        </p:nvPicPr>
        <p:blipFill>
          <a:blip r:embed="rId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52" name="Logo_SpareBank1_Regnskapshuset_blaa" descr="Et bilde som inneholder tekst, servise, tallerken&#10;&#10;Automatisk generert beskrivelse" hidden="1">
            <a:extLst>
              <a:ext uri="{FF2B5EF4-FFF2-40B4-BE49-F238E27FC236}">
                <a16:creationId xmlns:a16="http://schemas.microsoft.com/office/drawing/2014/main" id="{64664DE2-B7F1-4F09-8F8F-49FA5E240A8F}"/>
              </a:ext>
            </a:extLst>
          </p:cNvPr>
          <p:cNvPicPr>
            <a:picLocks noChangeAspect="1"/>
          </p:cNvPicPr>
          <p:nvPr userDrawn="1"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6624" y="6246493"/>
            <a:ext cx="1741064" cy="396000"/>
          </a:xfrm>
          <a:prstGeom prst="rect">
            <a:avLst/>
          </a:prstGeom>
        </p:spPr>
      </p:pic>
      <p:pic>
        <p:nvPicPr>
          <p:cNvPr id="54" name="Logo_SpareBank1_Regnskapshuset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F0EA445F-A2B1-4FB0-B81B-2A87CBF18084}"/>
              </a:ext>
            </a:extLst>
          </p:cNvPr>
          <p:cNvPicPr>
            <a:picLocks noChangeAspect="1"/>
          </p:cNvPicPr>
          <p:nvPr userDrawn="1"/>
        </p:nvPicPr>
        <p:blipFill>
          <a:blip r:embed="rId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6624" y="6246493"/>
            <a:ext cx="1741064" cy="396000"/>
          </a:xfrm>
          <a:prstGeom prst="rect">
            <a:avLst/>
          </a:prstGeom>
        </p:spPr>
      </p:pic>
      <p:pic>
        <p:nvPicPr>
          <p:cNvPr id="27" name="Logo_SpareBank1_Ringerike_Hadeland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B4E9C587-69DB-47CF-91A0-25BB068F5902}"/>
              </a:ext>
            </a:extLst>
          </p:cNvPr>
          <p:cNvPicPr>
            <a:picLocks noChangeAspect="1"/>
          </p:cNvPicPr>
          <p:nvPr userDrawn="1"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568" y="6246493"/>
            <a:ext cx="2001120" cy="396000"/>
          </a:xfrm>
          <a:prstGeom prst="rect">
            <a:avLst/>
          </a:prstGeom>
        </p:spPr>
      </p:pic>
      <p:pic>
        <p:nvPicPr>
          <p:cNvPr id="28" name="Logo_SpareBank1_Ringerike_Hadeland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BE66D82E-E542-474E-80B4-974766CF869D}"/>
              </a:ext>
            </a:extLst>
          </p:cNvPr>
          <p:cNvPicPr>
            <a:picLocks noChangeAspect="1"/>
          </p:cNvPicPr>
          <p:nvPr userDrawn="1"/>
        </p:nvPicPr>
        <p:blipFill>
          <a:blip r:embed="rId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568" y="6246493"/>
            <a:ext cx="2001120" cy="396000"/>
          </a:xfrm>
          <a:prstGeom prst="rect">
            <a:avLst/>
          </a:prstGeom>
        </p:spPr>
      </p:pic>
      <p:pic>
        <p:nvPicPr>
          <p:cNvPr id="53" name="Logo_SpareBank1_SamSpar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5B79E6DA-CD6C-4D54-90FE-4C8597BD6958}"/>
              </a:ext>
            </a:extLst>
          </p:cNvPr>
          <p:cNvPicPr>
            <a:picLocks noChangeAspect="1"/>
          </p:cNvPicPr>
          <p:nvPr userDrawn="1"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169" y="6246493"/>
            <a:ext cx="1740519" cy="396000"/>
          </a:xfrm>
          <a:prstGeom prst="rect">
            <a:avLst/>
          </a:prstGeom>
        </p:spPr>
      </p:pic>
      <p:pic>
        <p:nvPicPr>
          <p:cNvPr id="55" name="Logo_SpareBank1_SamSpar_blaa" hidden="1">
            <a:extLst>
              <a:ext uri="{FF2B5EF4-FFF2-40B4-BE49-F238E27FC236}">
                <a16:creationId xmlns:a16="http://schemas.microsoft.com/office/drawing/2014/main" id="{244336BA-B162-4D7A-9AE5-117FCBDC4277}"/>
              </a:ext>
            </a:extLst>
          </p:cNvPr>
          <p:cNvPicPr>
            <a:picLocks noChangeAspect="1"/>
          </p:cNvPicPr>
          <p:nvPr userDrawn="1"/>
        </p:nvPicPr>
        <p:blipFill>
          <a:blip r:embed="rId8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169" y="6246493"/>
            <a:ext cx="1740519" cy="396000"/>
          </a:xfrm>
          <a:prstGeom prst="rect">
            <a:avLst/>
          </a:prstGeom>
        </p:spPr>
      </p:pic>
      <p:pic>
        <p:nvPicPr>
          <p:cNvPr id="29" name="Logo_SpareBank1_SMN_blaa" hidden="1">
            <a:extLst>
              <a:ext uri="{FF2B5EF4-FFF2-40B4-BE49-F238E27FC236}">
                <a16:creationId xmlns:a16="http://schemas.microsoft.com/office/drawing/2014/main" id="{10B56460-52F0-4BA9-81C3-AC3FC01D16AB}"/>
              </a:ext>
            </a:extLst>
          </p:cNvPr>
          <p:cNvPicPr>
            <a:picLocks noChangeAspect="1"/>
          </p:cNvPicPr>
          <p:nvPr userDrawn="1"/>
        </p:nvPicPr>
        <p:blipFill>
          <a:blip r:embed="rId9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0" name="Logo_SpareBank1_SMN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EA6BA4FD-86B8-4A25-A7A7-6A94E8E62B42}"/>
              </a:ext>
            </a:extLst>
          </p:cNvPr>
          <p:cNvPicPr>
            <a:picLocks noChangeAspect="1"/>
          </p:cNvPicPr>
          <p:nvPr userDrawn="1"/>
        </p:nvPicPr>
        <p:blipFill>
          <a:blip r:embed="rId9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5" name="Logo_SpareBank1_Sogn_og_Fjordane_hvit" descr="Et bilde som inneholder tekst, Font, Grafikk, logo&#10;&#10;Automatisk generert beskrivelse" hidden="1">
            <a:extLst>
              <a:ext uri="{FF2B5EF4-FFF2-40B4-BE49-F238E27FC236}">
                <a16:creationId xmlns:a16="http://schemas.microsoft.com/office/drawing/2014/main" id="{4A68584D-4A00-9387-9C11-04BD62241A82}"/>
              </a:ext>
            </a:extLst>
          </p:cNvPr>
          <p:cNvPicPr>
            <a:picLocks noChangeAspect="1"/>
          </p:cNvPicPr>
          <p:nvPr userDrawn="1"/>
        </p:nvPicPr>
        <p:blipFill>
          <a:blip r:embed="rId9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40" name="Logo_SpareBank1_Sogn_og_Fjordane_blaa" descr="Et bilde som inneholder Font, tekst, Grafikk, logo&#10;&#10;Automatisk generert beskrivelse" hidden="1">
            <a:extLst>
              <a:ext uri="{FF2B5EF4-FFF2-40B4-BE49-F238E27FC236}">
                <a16:creationId xmlns:a16="http://schemas.microsoft.com/office/drawing/2014/main" id="{10381E7A-6DB9-2EAA-36E9-7E47C3C7ED9D}"/>
              </a:ext>
            </a:extLst>
          </p:cNvPr>
          <p:cNvPicPr>
            <a:picLocks noChangeAspect="1"/>
          </p:cNvPicPr>
          <p:nvPr userDrawn="1"/>
        </p:nvPicPr>
        <p:blipFill>
          <a:blip r:embed="rId9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31" name="Logo_SpareBank1_SR-Bank_blaa" hidden="1">
            <a:extLst>
              <a:ext uri="{FF2B5EF4-FFF2-40B4-BE49-F238E27FC236}">
                <a16:creationId xmlns:a16="http://schemas.microsoft.com/office/drawing/2014/main" id="{71D6B0B7-324F-4237-9E44-DFEC9DCB8EA2}"/>
              </a:ext>
            </a:extLst>
          </p:cNvPr>
          <p:cNvPicPr>
            <a:picLocks noChangeAspect="1"/>
          </p:cNvPicPr>
          <p:nvPr userDrawn="1"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2" name="Logo_SpareBank1_SR-Bank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5350D87F-F50A-41F8-B2F1-7B0487EE5A88}"/>
              </a:ext>
            </a:extLst>
          </p:cNvPr>
          <p:cNvPicPr>
            <a:picLocks noChangeAspect="1"/>
          </p:cNvPicPr>
          <p:nvPr userDrawn="1"/>
        </p:nvPicPr>
        <p:blipFill>
          <a:blip r:embed="rId9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3" name="Logo_SpareBank1_Søre_Sunnmøre_blaa" hidden="1">
            <a:extLst>
              <a:ext uri="{FF2B5EF4-FFF2-40B4-BE49-F238E27FC236}">
                <a16:creationId xmlns:a16="http://schemas.microsoft.com/office/drawing/2014/main" id="{144379FE-2380-48A2-97E8-A0FB04AF94FD}"/>
              </a:ext>
            </a:extLst>
          </p:cNvPr>
          <p:cNvPicPr>
            <a:picLocks noChangeAspect="1"/>
          </p:cNvPicPr>
          <p:nvPr userDrawn="1"/>
        </p:nvPicPr>
        <p:blipFill>
          <a:blip r:embed="rId9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4" name="Logo_SpareBank1_Søre_Sunnmør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7CC72A1B-F55A-432C-931E-CF9326068516}"/>
              </a:ext>
            </a:extLst>
          </p:cNvPr>
          <p:cNvPicPr>
            <a:picLocks noChangeAspect="1"/>
          </p:cNvPicPr>
          <p:nvPr userDrawn="1"/>
        </p:nvPicPr>
        <p:blipFill>
          <a:blip r:embed="rId9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45" name="Logo_SpareBank1_Sørøst-Norg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95F2A5E6-C54F-4ED7-B293-C96F59F99C56}"/>
              </a:ext>
            </a:extLst>
          </p:cNvPr>
          <p:cNvPicPr>
            <a:picLocks noChangeAspect="1"/>
          </p:cNvPicPr>
          <p:nvPr userDrawn="1"/>
        </p:nvPicPr>
        <p:blipFill>
          <a:blip r:embed="rId9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169" y="6246493"/>
            <a:ext cx="1740519" cy="396000"/>
          </a:xfrm>
          <a:prstGeom prst="rect">
            <a:avLst/>
          </a:prstGeom>
        </p:spPr>
      </p:pic>
      <p:pic>
        <p:nvPicPr>
          <p:cNvPr id="51" name="Logo_SpareBank1_Sørøst-Norge_blaa" hidden="1">
            <a:extLst>
              <a:ext uri="{FF2B5EF4-FFF2-40B4-BE49-F238E27FC236}">
                <a16:creationId xmlns:a16="http://schemas.microsoft.com/office/drawing/2014/main" id="{9F247EDB-7F55-4751-909A-2C3B8B7053AE}"/>
              </a:ext>
            </a:extLst>
          </p:cNvPr>
          <p:cNvPicPr>
            <a:picLocks noChangeAspect="1"/>
          </p:cNvPicPr>
          <p:nvPr userDrawn="1"/>
        </p:nvPicPr>
        <p:blipFill>
          <a:blip r:embed="rId9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169" y="6246493"/>
            <a:ext cx="1740519" cy="396000"/>
          </a:xfrm>
          <a:prstGeom prst="rect">
            <a:avLst/>
          </a:prstGeom>
        </p:spPr>
      </p:pic>
      <p:pic>
        <p:nvPicPr>
          <p:cNvPr id="35" name="Logo_SpareBank1_Telemark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E7DA024E-9A38-4E86-9D1D-5203A16C3871}"/>
              </a:ext>
            </a:extLst>
          </p:cNvPr>
          <p:cNvPicPr>
            <a:picLocks noChangeAspect="1"/>
          </p:cNvPicPr>
          <p:nvPr userDrawn="1"/>
        </p:nvPicPr>
        <p:blipFill>
          <a:blip r:embed="rId10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6" name="Logo_SpareBank1_Telemark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C2F89C1B-E846-49C4-9A74-8A50DEF0089C}"/>
              </a:ext>
            </a:extLst>
          </p:cNvPr>
          <p:cNvPicPr>
            <a:picLocks noChangeAspect="1"/>
          </p:cNvPicPr>
          <p:nvPr userDrawn="1"/>
        </p:nvPicPr>
        <p:blipFill>
          <a:blip r:embed="rId10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7" name="Logo_SpareBank1_Østfold_Akershus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28CB051C-CCF4-48CA-B170-DFEBE327A97B}"/>
              </a:ext>
            </a:extLst>
          </p:cNvPr>
          <p:cNvPicPr>
            <a:picLocks noChangeAspect="1"/>
          </p:cNvPicPr>
          <p:nvPr userDrawn="1"/>
        </p:nvPicPr>
        <p:blipFill>
          <a:blip r:embed="rId10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9624" y="6246493"/>
            <a:ext cx="1868064" cy="396000"/>
          </a:xfrm>
          <a:prstGeom prst="rect">
            <a:avLst/>
          </a:prstGeom>
        </p:spPr>
      </p:pic>
      <p:pic>
        <p:nvPicPr>
          <p:cNvPr id="38" name="Logo_SpareBank1_Østfold_Akershus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412B20B2-EEB3-4CB5-9343-EBF2A3ABEC38}"/>
              </a:ext>
            </a:extLst>
          </p:cNvPr>
          <p:cNvPicPr>
            <a:picLocks noChangeAspect="1"/>
          </p:cNvPicPr>
          <p:nvPr userDrawn="1"/>
        </p:nvPicPr>
        <p:blipFill>
          <a:blip r:embed="rId10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9624" y="6246493"/>
            <a:ext cx="1868064" cy="396000"/>
          </a:xfrm>
          <a:prstGeom prst="rect">
            <a:avLst/>
          </a:prstGeom>
        </p:spPr>
      </p:pic>
      <p:pic>
        <p:nvPicPr>
          <p:cNvPr id="48" name="Logo_SpareBank1_Østlandet_blaa" descr="Et bilde som inneholder tekst, servise, tallerken&#10;&#10;Automatisk generert beskrivelse" hidden="1">
            <a:extLst>
              <a:ext uri="{FF2B5EF4-FFF2-40B4-BE49-F238E27FC236}">
                <a16:creationId xmlns:a16="http://schemas.microsoft.com/office/drawing/2014/main" id="{E927BB58-AF04-4D48-9C20-378D9B7A49BC}"/>
              </a:ext>
            </a:extLst>
          </p:cNvPr>
          <p:cNvPicPr>
            <a:picLocks noChangeAspect="1"/>
          </p:cNvPicPr>
          <p:nvPr userDrawn="1"/>
        </p:nvPicPr>
        <p:blipFill>
          <a:blip r:embed="rId10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2347" y="6246493"/>
            <a:ext cx="1675341" cy="396000"/>
          </a:xfrm>
          <a:prstGeom prst="rect">
            <a:avLst/>
          </a:prstGeom>
        </p:spPr>
      </p:pic>
      <p:pic>
        <p:nvPicPr>
          <p:cNvPr id="39" name="Logo_SpareBank1_Østlandet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AA84A37E-35CA-403D-ABDF-9F75F8E49A16}"/>
              </a:ext>
            </a:extLst>
          </p:cNvPr>
          <p:cNvPicPr>
            <a:picLocks noChangeAspect="1"/>
          </p:cNvPicPr>
          <p:nvPr userDrawn="1"/>
        </p:nvPicPr>
        <p:blipFill>
          <a:blip r:embed="rId10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2347" y="6246493"/>
            <a:ext cx="1675341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430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  <p:sldLayoutId id="2147483840" r:id="rId13"/>
    <p:sldLayoutId id="2147483841" r:id="rId14"/>
    <p:sldLayoutId id="2147483842" r:id="rId15"/>
    <p:sldLayoutId id="2147483843" r:id="rId16"/>
    <p:sldLayoutId id="2147483844" r:id="rId17"/>
    <p:sldLayoutId id="2147483845" r:id="rId18"/>
    <p:sldLayoutId id="2147483846" r:id="rId19"/>
    <p:sldLayoutId id="2147483847" r:id="rId20"/>
    <p:sldLayoutId id="2147483848" r:id="rId21"/>
    <p:sldLayoutId id="2147483849" r:id="rId22"/>
    <p:sldLayoutId id="2147483850" r:id="rId23"/>
    <p:sldLayoutId id="2147483851" r:id="rId24"/>
    <p:sldLayoutId id="2147483852" r:id="rId25"/>
    <p:sldLayoutId id="2147483853" r:id="rId26"/>
    <p:sldLayoutId id="2147483854" r:id="rId27"/>
    <p:sldLayoutId id="2147483855" r:id="rId28"/>
    <p:sldLayoutId id="2147483856" r:id="rId29"/>
    <p:sldLayoutId id="2147483857" r:id="rId30"/>
    <p:sldLayoutId id="2147483858" r:id="rId31"/>
    <p:sldLayoutId id="2147483859" r:id="rId32"/>
    <p:sldLayoutId id="2147483860" r:id="rId33"/>
    <p:sldLayoutId id="2147483861" r:id="rId34"/>
    <p:sldLayoutId id="2147483862" r:id="rId35"/>
    <p:sldLayoutId id="2147483863" r:id="rId36"/>
    <p:sldLayoutId id="2147483864" r:id="rId37"/>
    <p:sldLayoutId id="2147483865" r:id="rId38"/>
    <p:sldLayoutId id="2147483866" r:id="rId39"/>
    <p:sldLayoutId id="2147483867" r:id="rId40"/>
    <p:sldLayoutId id="2147483868" r:id="rId41"/>
    <p:sldLayoutId id="2147483869" r:id="rId42"/>
    <p:sldLayoutId id="2147483870" r:id="rId43"/>
    <p:sldLayoutId id="2147483871" r:id="rId44"/>
    <p:sldLayoutId id="2147483872" r:id="rId45"/>
    <p:sldLayoutId id="2147483873" r:id="rId46"/>
    <p:sldLayoutId id="2147483874" r:id="rId47"/>
    <p:sldLayoutId id="2147483875" r:id="rId48"/>
    <p:sldLayoutId id="2147483876" r:id="rId49"/>
    <p:sldLayoutId id="2147483877" r:id="rId50"/>
    <p:sldLayoutId id="2147483878" r:id="rId51"/>
    <p:sldLayoutId id="2147483879" r:id="rId52"/>
    <p:sldLayoutId id="2147483880" r:id="rId53"/>
    <p:sldLayoutId id="2147483881" r:id="rId54"/>
    <p:sldLayoutId id="2147483882" r:id="rId55"/>
    <p:sldLayoutId id="2147483883" r:id="rId56"/>
    <p:sldLayoutId id="2147483884" r:id="rId57"/>
    <p:sldLayoutId id="2147483885" r:id="rId5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rgbClr val="00207D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rgbClr val="00207D"/>
          </a:solidFill>
          <a:latin typeface="+mn-lt"/>
          <a:ea typeface="+mn-ea"/>
          <a:cs typeface="+mn-cs"/>
        </a:defRPr>
      </a:lvl1pPr>
      <a:lvl2pPr marL="7452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207D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rgbClr val="00207D"/>
          </a:solidFill>
          <a:latin typeface="+mn-lt"/>
          <a:ea typeface="+mn-ea"/>
          <a:cs typeface="+mn-cs"/>
        </a:defRPr>
      </a:lvl3pPr>
      <a:lvl4pPr marL="16380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207D"/>
          </a:solidFill>
          <a:latin typeface="+mn-lt"/>
          <a:ea typeface="+mn-ea"/>
          <a:cs typeface="+mn-cs"/>
        </a:defRPr>
      </a:lvl4pPr>
      <a:lvl5pPr marL="20880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207D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emf"/><Relationship Id="rId3" Type="http://schemas.openxmlformats.org/officeDocument/2006/relationships/tags" Target="../tags/tag23.xml"/><Relationship Id="rId7" Type="http://schemas.openxmlformats.org/officeDocument/2006/relationships/image" Target="../media/image60.emf"/><Relationship Id="rId12" Type="http://schemas.openxmlformats.org/officeDocument/2006/relationships/image" Target="../media/image154.sv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50.png"/><Relationship Id="rId5" Type="http://schemas.openxmlformats.org/officeDocument/2006/relationships/slideLayout" Target="../slideLayouts/slideLayout51.xml"/><Relationship Id="rId10" Type="http://schemas.openxmlformats.org/officeDocument/2006/relationships/image" Target="../media/image153.svg"/><Relationship Id="rId4" Type="http://schemas.openxmlformats.org/officeDocument/2006/relationships/tags" Target="../tags/tag24.xml"/><Relationship Id="rId9" Type="http://schemas.openxmlformats.org/officeDocument/2006/relationships/image" Target="../media/image15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emf"/><Relationship Id="rId13" Type="http://schemas.openxmlformats.org/officeDocument/2006/relationships/image" Target="../media/image157.jpeg"/><Relationship Id="rId3" Type="http://schemas.openxmlformats.org/officeDocument/2006/relationships/tags" Target="../tags/tag27.xml"/><Relationship Id="rId7" Type="http://schemas.openxmlformats.org/officeDocument/2006/relationships/image" Target="../media/image60.emf"/><Relationship Id="rId12" Type="http://schemas.openxmlformats.org/officeDocument/2006/relationships/image" Target="../media/image154.sv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50.png"/><Relationship Id="rId5" Type="http://schemas.openxmlformats.org/officeDocument/2006/relationships/slideLayout" Target="../slideLayouts/slideLayout51.xml"/><Relationship Id="rId10" Type="http://schemas.openxmlformats.org/officeDocument/2006/relationships/image" Target="../media/image156.svg"/><Relationship Id="rId4" Type="http://schemas.openxmlformats.org/officeDocument/2006/relationships/tags" Target="../tags/tag28.xml"/><Relationship Id="rId9" Type="http://schemas.openxmlformats.org/officeDocument/2006/relationships/image" Target="../media/image15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emf"/><Relationship Id="rId3" Type="http://schemas.openxmlformats.org/officeDocument/2006/relationships/tags" Target="../tags/tag31.xml"/><Relationship Id="rId7" Type="http://schemas.openxmlformats.org/officeDocument/2006/relationships/image" Target="../media/image60.emf"/><Relationship Id="rId12" Type="http://schemas.openxmlformats.org/officeDocument/2006/relationships/image" Target="../media/image161.sv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60.png"/><Relationship Id="rId5" Type="http://schemas.openxmlformats.org/officeDocument/2006/relationships/slideLayout" Target="../slideLayouts/slideLayout51.xml"/><Relationship Id="rId10" Type="http://schemas.openxmlformats.org/officeDocument/2006/relationships/image" Target="../media/image159.svg"/><Relationship Id="rId4" Type="http://schemas.openxmlformats.org/officeDocument/2006/relationships/tags" Target="../tags/tag32.xml"/><Relationship Id="rId9" Type="http://schemas.openxmlformats.org/officeDocument/2006/relationships/image" Target="../media/image15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emf"/><Relationship Id="rId13" Type="http://schemas.openxmlformats.org/officeDocument/2006/relationships/image" Target="../media/image166.jpeg"/><Relationship Id="rId3" Type="http://schemas.openxmlformats.org/officeDocument/2006/relationships/tags" Target="../tags/tag35.xml"/><Relationship Id="rId7" Type="http://schemas.openxmlformats.org/officeDocument/2006/relationships/image" Target="../media/image60.emf"/><Relationship Id="rId12" Type="http://schemas.openxmlformats.org/officeDocument/2006/relationships/image" Target="../media/image165.sv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64.png"/><Relationship Id="rId5" Type="http://schemas.openxmlformats.org/officeDocument/2006/relationships/slideLayout" Target="../slideLayouts/slideLayout51.xml"/><Relationship Id="rId10" Type="http://schemas.openxmlformats.org/officeDocument/2006/relationships/image" Target="../media/image163.svg"/><Relationship Id="rId4" Type="http://schemas.openxmlformats.org/officeDocument/2006/relationships/tags" Target="../tags/tag36.xml"/><Relationship Id="rId9" Type="http://schemas.openxmlformats.org/officeDocument/2006/relationships/image" Target="../media/image16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emf"/><Relationship Id="rId13" Type="http://schemas.openxmlformats.org/officeDocument/2006/relationships/image" Target="../media/image170.svg"/><Relationship Id="rId3" Type="http://schemas.openxmlformats.org/officeDocument/2006/relationships/tags" Target="../tags/tag39.xml"/><Relationship Id="rId7" Type="http://schemas.openxmlformats.org/officeDocument/2006/relationships/oleObject" Target="../embeddings/oleObject5.bin"/><Relationship Id="rId12" Type="http://schemas.openxmlformats.org/officeDocument/2006/relationships/image" Target="../media/image169.png"/><Relationship Id="rId2" Type="http://schemas.openxmlformats.org/officeDocument/2006/relationships/tags" Target="../tags/tag38.xml"/><Relationship Id="rId16" Type="http://schemas.openxmlformats.org/officeDocument/2006/relationships/image" Target="../media/image173.jpeg"/><Relationship Id="rId1" Type="http://schemas.openxmlformats.org/officeDocument/2006/relationships/tags" Target="../tags/tag37.xml"/><Relationship Id="rId6" Type="http://schemas.openxmlformats.org/officeDocument/2006/relationships/slideLayout" Target="../slideLayouts/slideLayout51.xml"/><Relationship Id="rId11" Type="http://schemas.openxmlformats.org/officeDocument/2006/relationships/image" Target="../media/image168.svg"/><Relationship Id="rId5" Type="http://schemas.openxmlformats.org/officeDocument/2006/relationships/tags" Target="../tags/tag41.xml"/><Relationship Id="rId15" Type="http://schemas.openxmlformats.org/officeDocument/2006/relationships/image" Target="../media/image172.svg"/><Relationship Id="rId10" Type="http://schemas.openxmlformats.org/officeDocument/2006/relationships/image" Target="../media/image167.png"/><Relationship Id="rId4" Type="http://schemas.openxmlformats.org/officeDocument/2006/relationships/tags" Target="../tags/tag40.xml"/><Relationship Id="rId9" Type="http://schemas.openxmlformats.org/officeDocument/2006/relationships/image" Target="../media/image48.emf"/><Relationship Id="rId14" Type="http://schemas.openxmlformats.org/officeDocument/2006/relationships/image" Target="../media/image17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5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13" Type="http://schemas.openxmlformats.org/officeDocument/2006/relationships/image" Target="../media/image176.png"/><Relationship Id="rId18" Type="http://schemas.openxmlformats.org/officeDocument/2006/relationships/image" Target="../media/image181.svg"/><Relationship Id="rId3" Type="http://schemas.openxmlformats.org/officeDocument/2006/relationships/tags" Target="../tags/tag44.xml"/><Relationship Id="rId7" Type="http://schemas.openxmlformats.org/officeDocument/2006/relationships/slideLayout" Target="../slideLayouts/slideLayout51.xml"/><Relationship Id="rId12" Type="http://schemas.openxmlformats.org/officeDocument/2006/relationships/image" Target="../media/image175.svg"/><Relationship Id="rId17" Type="http://schemas.openxmlformats.org/officeDocument/2006/relationships/image" Target="../media/image180.png"/><Relationship Id="rId2" Type="http://schemas.openxmlformats.org/officeDocument/2006/relationships/tags" Target="../tags/tag43.xml"/><Relationship Id="rId16" Type="http://schemas.openxmlformats.org/officeDocument/2006/relationships/image" Target="../media/image179.svg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image" Target="../media/image174.png"/><Relationship Id="rId5" Type="http://schemas.openxmlformats.org/officeDocument/2006/relationships/tags" Target="../tags/tag46.xml"/><Relationship Id="rId15" Type="http://schemas.openxmlformats.org/officeDocument/2006/relationships/image" Target="../media/image178.png"/><Relationship Id="rId10" Type="http://schemas.openxmlformats.org/officeDocument/2006/relationships/image" Target="../media/image48.emf"/><Relationship Id="rId4" Type="http://schemas.openxmlformats.org/officeDocument/2006/relationships/tags" Target="../tags/tag45.xml"/><Relationship Id="rId9" Type="http://schemas.openxmlformats.org/officeDocument/2006/relationships/image" Target="../media/image60.emf"/><Relationship Id="rId14" Type="http://schemas.openxmlformats.org/officeDocument/2006/relationships/image" Target="../media/image177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13" Type="http://schemas.openxmlformats.org/officeDocument/2006/relationships/image" Target="../media/image184.png"/><Relationship Id="rId18" Type="http://schemas.openxmlformats.org/officeDocument/2006/relationships/image" Target="../media/image189.svg"/><Relationship Id="rId3" Type="http://schemas.openxmlformats.org/officeDocument/2006/relationships/tags" Target="../tags/tag50.xml"/><Relationship Id="rId7" Type="http://schemas.openxmlformats.org/officeDocument/2006/relationships/slideLayout" Target="../slideLayouts/slideLayout51.xml"/><Relationship Id="rId12" Type="http://schemas.openxmlformats.org/officeDocument/2006/relationships/image" Target="../media/image183.svg"/><Relationship Id="rId17" Type="http://schemas.openxmlformats.org/officeDocument/2006/relationships/image" Target="../media/image188.png"/><Relationship Id="rId2" Type="http://schemas.openxmlformats.org/officeDocument/2006/relationships/tags" Target="../tags/tag49.xml"/><Relationship Id="rId16" Type="http://schemas.openxmlformats.org/officeDocument/2006/relationships/image" Target="../media/image187.svg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image" Target="../media/image182.png"/><Relationship Id="rId5" Type="http://schemas.openxmlformats.org/officeDocument/2006/relationships/tags" Target="../tags/tag52.xml"/><Relationship Id="rId15" Type="http://schemas.openxmlformats.org/officeDocument/2006/relationships/image" Target="../media/image186.png"/><Relationship Id="rId10" Type="http://schemas.openxmlformats.org/officeDocument/2006/relationships/image" Target="../media/image48.emf"/><Relationship Id="rId4" Type="http://schemas.openxmlformats.org/officeDocument/2006/relationships/tags" Target="../tags/tag51.xml"/><Relationship Id="rId9" Type="http://schemas.openxmlformats.org/officeDocument/2006/relationships/image" Target="../media/image60.emf"/><Relationship Id="rId14" Type="http://schemas.openxmlformats.org/officeDocument/2006/relationships/image" Target="../media/image185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4.jpeg"/><Relationship Id="rId13" Type="http://schemas.openxmlformats.org/officeDocument/2006/relationships/oleObject" Target="../embeddings/oleObject6.bin"/><Relationship Id="rId3" Type="http://schemas.openxmlformats.org/officeDocument/2006/relationships/slideLayout" Target="../slideLayouts/slideLayout51.xml"/><Relationship Id="rId7" Type="http://schemas.openxmlformats.org/officeDocument/2006/relationships/image" Target="../media/image193.jpeg"/><Relationship Id="rId12" Type="http://schemas.openxmlformats.org/officeDocument/2006/relationships/image" Target="../media/image198.jpeg"/><Relationship Id="rId2" Type="http://schemas.openxmlformats.org/officeDocument/2006/relationships/tags" Target="../tags/tag55.xml"/><Relationship Id="rId16" Type="http://schemas.openxmlformats.org/officeDocument/2006/relationships/image" Target="../media/image48.emf"/><Relationship Id="rId1" Type="http://schemas.openxmlformats.org/officeDocument/2006/relationships/tags" Target="../tags/tag54.xml"/><Relationship Id="rId6" Type="http://schemas.openxmlformats.org/officeDocument/2006/relationships/image" Target="../media/image192.jpeg"/><Relationship Id="rId11" Type="http://schemas.openxmlformats.org/officeDocument/2006/relationships/image" Target="../media/image197.jpeg"/><Relationship Id="rId5" Type="http://schemas.openxmlformats.org/officeDocument/2006/relationships/image" Target="../media/image191.png"/><Relationship Id="rId15" Type="http://schemas.openxmlformats.org/officeDocument/2006/relationships/image" Target="../media/image199.jpeg"/><Relationship Id="rId10" Type="http://schemas.openxmlformats.org/officeDocument/2006/relationships/image" Target="../media/image196.jpeg"/><Relationship Id="rId4" Type="http://schemas.openxmlformats.org/officeDocument/2006/relationships/image" Target="../media/image190.jpeg"/><Relationship Id="rId9" Type="http://schemas.openxmlformats.org/officeDocument/2006/relationships/image" Target="../media/image195.jpeg"/><Relationship Id="rId14" Type="http://schemas.openxmlformats.org/officeDocument/2006/relationships/image" Target="../media/image60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6.xml"/><Relationship Id="rId4" Type="http://schemas.openxmlformats.org/officeDocument/2006/relationships/image" Target="../media/image200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5.jpeg"/><Relationship Id="rId1" Type="http://schemas.openxmlformats.org/officeDocument/2006/relationships/slideLayout" Target="../slideLayouts/slideLayout21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1.png"/><Relationship Id="rId3" Type="http://schemas.openxmlformats.org/officeDocument/2006/relationships/tags" Target="../tags/tag59.xml"/><Relationship Id="rId7" Type="http://schemas.openxmlformats.org/officeDocument/2006/relationships/image" Target="../media/image48.emf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60.emf"/><Relationship Id="rId11" Type="http://schemas.openxmlformats.org/officeDocument/2006/relationships/image" Target="../media/image204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03.jpeg"/><Relationship Id="rId4" Type="http://schemas.openxmlformats.org/officeDocument/2006/relationships/slideLayout" Target="../slideLayouts/slideLayout51.xml"/><Relationship Id="rId9" Type="http://schemas.openxmlformats.org/officeDocument/2006/relationships/image" Target="../media/image202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5.png"/><Relationship Id="rId3" Type="http://schemas.openxmlformats.org/officeDocument/2006/relationships/tags" Target="../tags/tag62.xml"/><Relationship Id="rId7" Type="http://schemas.openxmlformats.org/officeDocument/2006/relationships/image" Target="../media/image48.emf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60.emf"/><Relationship Id="rId11" Type="http://schemas.openxmlformats.org/officeDocument/2006/relationships/image" Target="../media/image204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07.jpeg"/><Relationship Id="rId4" Type="http://schemas.openxmlformats.org/officeDocument/2006/relationships/slideLayout" Target="../slideLayouts/slideLayout51.xml"/><Relationship Id="rId9" Type="http://schemas.openxmlformats.org/officeDocument/2006/relationships/image" Target="../media/image206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5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129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3.xml"/><Relationship Id="rId6" Type="http://schemas.microsoft.com/office/2007/relationships/hdphoto" Target="../media/hdphoto1.wdp"/><Relationship Id="rId5" Type="http://schemas.openxmlformats.org/officeDocument/2006/relationships/image" Target="../media/image208.png"/><Relationship Id="rId4" Type="http://schemas.openxmlformats.org/officeDocument/2006/relationships/image" Target="../media/image142.em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6.jpeg"/><Relationship Id="rId13" Type="http://schemas.openxmlformats.org/officeDocument/2006/relationships/image" Target="../media/image190.jpeg"/><Relationship Id="rId3" Type="http://schemas.openxmlformats.org/officeDocument/2006/relationships/slideLayout" Target="../slideLayouts/slideLayout51.xml"/><Relationship Id="rId7" Type="http://schemas.openxmlformats.org/officeDocument/2006/relationships/image" Target="../media/image195.jpeg"/><Relationship Id="rId12" Type="http://schemas.openxmlformats.org/officeDocument/2006/relationships/image" Target="../media/image60.emf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194.jpeg"/><Relationship Id="rId11" Type="http://schemas.openxmlformats.org/officeDocument/2006/relationships/oleObject" Target="../embeddings/oleObject6.bin"/><Relationship Id="rId5" Type="http://schemas.openxmlformats.org/officeDocument/2006/relationships/image" Target="../media/image193.jpeg"/><Relationship Id="rId15" Type="http://schemas.openxmlformats.org/officeDocument/2006/relationships/image" Target="../media/image199.jpeg"/><Relationship Id="rId10" Type="http://schemas.openxmlformats.org/officeDocument/2006/relationships/image" Target="../media/image198.jpeg"/><Relationship Id="rId4" Type="http://schemas.openxmlformats.org/officeDocument/2006/relationships/image" Target="../media/image192.jpeg"/><Relationship Id="rId9" Type="http://schemas.openxmlformats.org/officeDocument/2006/relationships/image" Target="../media/image197.jpeg"/><Relationship Id="rId14" Type="http://schemas.openxmlformats.org/officeDocument/2006/relationships/image" Target="../media/image191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13" Type="http://schemas.openxmlformats.org/officeDocument/2006/relationships/image" Target="../media/image213.svg"/><Relationship Id="rId18" Type="http://schemas.openxmlformats.org/officeDocument/2006/relationships/image" Target="../media/image48.emf"/><Relationship Id="rId3" Type="http://schemas.openxmlformats.org/officeDocument/2006/relationships/tags" Target="../tags/tag68.xml"/><Relationship Id="rId7" Type="http://schemas.openxmlformats.org/officeDocument/2006/relationships/slideLayout" Target="../slideLayouts/slideLayout51.xml"/><Relationship Id="rId12" Type="http://schemas.openxmlformats.org/officeDocument/2006/relationships/image" Target="../media/image212.png"/><Relationship Id="rId17" Type="http://schemas.openxmlformats.org/officeDocument/2006/relationships/image" Target="../media/image217.svg"/><Relationship Id="rId2" Type="http://schemas.openxmlformats.org/officeDocument/2006/relationships/tags" Target="../tags/tag67.xml"/><Relationship Id="rId16" Type="http://schemas.openxmlformats.org/officeDocument/2006/relationships/image" Target="../media/image216.png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image" Target="../media/image211.svg"/><Relationship Id="rId5" Type="http://schemas.openxmlformats.org/officeDocument/2006/relationships/tags" Target="../tags/tag70.xml"/><Relationship Id="rId15" Type="http://schemas.openxmlformats.org/officeDocument/2006/relationships/image" Target="../media/image215.svg"/><Relationship Id="rId10" Type="http://schemas.openxmlformats.org/officeDocument/2006/relationships/image" Target="../media/image210.png"/><Relationship Id="rId4" Type="http://schemas.openxmlformats.org/officeDocument/2006/relationships/tags" Target="../tags/tag69.xml"/><Relationship Id="rId9" Type="http://schemas.openxmlformats.org/officeDocument/2006/relationships/image" Target="../media/image209.emf"/><Relationship Id="rId14" Type="http://schemas.openxmlformats.org/officeDocument/2006/relationships/image" Target="../media/image214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8.png"/><Relationship Id="rId3" Type="http://schemas.openxmlformats.org/officeDocument/2006/relationships/tags" Target="../tags/tag74.xml"/><Relationship Id="rId7" Type="http://schemas.openxmlformats.org/officeDocument/2006/relationships/image" Target="../media/image209.emf"/><Relationship Id="rId12" Type="http://schemas.openxmlformats.org/officeDocument/2006/relationships/image" Target="../media/image48.emf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221.svg"/><Relationship Id="rId5" Type="http://schemas.openxmlformats.org/officeDocument/2006/relationships/slideLayout" Target="../slideLayouts/slideLayout51.xml"/><Relationship Id="rId10" Type="http://schemas.openxmlformats.org/officeDocument/2006/relationships/image" Target="../media/image220.png"/><Relationship Id="rId4" Type="http://schemas.openxmlformats.org/officeDocument/2006/relationships/tags" Target="../tags/tag75.xml"/><Relationship Id="rId9" Type="http://schemas.openxmlformats.org/officeDocument/2006/relationships/image" Target="../media/image219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5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emf"/><Relationship Id="rId3" Type="http://schemas.openxmlformats.org/officeDocument/2006/relationships/tags" Target="../tags/tag78.xml"/><Relationship Id="rId7" Type="http://schemas.openxmlformats.org/officeDocument/2006/relationships/image" Target="../media/image60.emf"/><Relationship Id="rId12" Type="http://schemas.openxmlformats.org/officeDocument/2006/relationships/image" Target="../media/image225.sv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224.png"/><Relationship Id="rId5" Type="http://schemas.openxmlformats.org/officeDocument/2006/relationships/slideLayout" Target="../slideLayouts/slideLayout51.xml"/><Relationship Id="rId10" Type="http://schemas.openxmlformats.org/officeDocument/2006/relationships/image" Target="../media/image223.svg"/><Relationship Id="rId4" Type="http://schemas.openxmlformats.org/officeDocument/2006/relationships/tags" Target="../tags/tag79.xml"/><Relationship Id="rId9" Type="http://schemas.openxmlformats.org/officeDocument/2006/relationships/image" Target="../media/image222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emf"/><Relationship Id="rId3" Type="http://schemas.openxmlformats.org/officeDocument/2006/relationships/tags" Target="../tags/tag82.xml"/><Relationship Id="rId7" Type="http://schemas.openxmlformats.org/officeDocument/2006/relationships/image" Target="../media/image60.emf"/><Relationship Id="rId12" Type="http://schemas.openxmlformats.org/officeDocument/2006/relationships/image" Target="../media/image229.svg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228.png"/><Relationship Id="rId5" Type="http://schemas.openxmlformats.org/officeDocument/2006/relationships/slideLayout" Target="../slideLayouts/slideLayout51.xml"/><Relationship Id="rId10" Type="http://schemas.openxmlformats.org/officeDocument/2006/relationships/image" Target="../media/image227.svg"/><Relationship Id="rId4" Type="http://schemas.openxmlformats.org/officeDocument/2006/relationships/tags" Target="../tags/tag83.xml"/><Relationship Id="rId9" Type="http://schemas.openxmlformats.org/officeDocument/2006/relationships/image" Target="../media/image22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28.svg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4.xml"/><Relationship Id="rId6" Type="http://schemas.openxmlformats.org/officeDocument/2006/relationships/image" Target="../media/image127.png"/><Relationship Id="rId5" Type="http://schemas.openxmlformats.org/officeDocument/2006/relationships/image" Target="../media/image126.png"/><Relationship Id="rId4" Type="http://schemas.openxmlformats.org/officeDocument/2006/relationships/image" Target="../media/image60.emf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emf"/><Relationship Id="rId3" Type="http://schemas.openxmlformats.org/officeDocument/2006/relationships/tags" Target="../tags/tag86.xml"/><Relationship Id="rId7" Type="http://schemas.openxmlformats.org/officeDocument/2006/relationships/image" Target="../media/image60.emf"/><Relationship Id="rId12" Type="http://schemas.openxmlformats.org/officeDocument/2006/relationships/image" Target="../media/image233.svg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232.png"/><Relationship Id="rId5" Type="http://schemas.openxmlformats.org/officeDocument/2006/relationships/slideLayout" Target="../slideLayouts/slideLayout51.xml"/><Relationship Id="rId10" Type="http://schemas.openxmlformats.org/officeDocument/2006/relationships/image" Target="../media/image231.svg"/><Relationship Id="rId4" Type="http://schemas.openxmlformats.org/officeDocument/2006/relationships/tags" Target="../tags/tag87.xml"/><Relationship Id="rId9" Type="http://schemas.openxmlformats.org/officeDocument/2006/relationships/image" Target="../media/image230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emf"/><Relationship Id="rId13" Type="http://schemas.openxmlformats.org/officeDocument/2006/relationships/image" Target="../media/image237.svg"/><Relationship Id="rId3" Type="http://schemas.openxmlformats.org/officeDocument/2006/relationships/tags" Target="../tags/tag90.xml"/><Relationship Id="rId7" Type="http://schemas.openxmlformats.org/officeDocument/2006/relationships/oleObject" Target="../embeddings/oleObject10.bin"/><Relationship Id="rId12" Type="http://schemas.openxmlformats.org/officeDocument/2006/relationships/image" Target="../media/image236.png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slideLayout" Target="../slideLayouts/slideLayout51.xml"/><Relationship Id="rId11" Type="http://schemas.openxmlformats.org/officeDocument/2006/relationships/image" Target="../media/image235.svg"/><Relationship Id="rId5" Type="http://schemas.openxmlformats.org/officeDocument/2006/relationships/tags" Target="../tags/tag92.xml"/><Relationship Id="rId15" Type="http://schemas.openxmlformats.org/officeDocument/2006/relationships/image" Target="../media/image239.svg"/><Relationship Id="rId10" Type="http://schemas.openxmlformats.org/officeDocument/2006/relationships/image" Target="../media/image234.png"/><Relationship Id="rId4" Type="http://schemas.openxmlformats.org/officeDocument/2006/relationships/tags" Target="../tags/tag91.xml"/><Relationship Id="rId9" Type="http://schemas.openxmlformats.org/officeDocument/2006/relationships/image" Target="../media/image48.emf"/><Relationship Id="rId14" Type="http://schemas.openxmlformats.org/officeDocument/2006/relationships/image" Target="../media/image238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67.xml"/><Relationship Id="rId7" Type="http://schemas.openxmlformats.org/officeDocument/2006/relationships/image" Target="../media/image240.jpeg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60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2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5.xml"/><Relationship Id="rId6" Type="http://schemas.openxmlformats.org/officeDocument/2006/relationships/image" Target="../media/image129.png"/><Relationship Id="rId5" Type="http://schemas.openxmlformats.org/officeDocument/2006/relationships/image" Target="../media/image60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5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3.png"/><Relationship Id="rId3" Type="http://schemas.openxmlformats.org/officeDocument/2006/relationships/tags" Target="../tags/tag8.xml"/><Relationship Id="rId7" Type="http://schemas.openxmlformats.org/officeDocument/2006/relationships/image" Target="../media/image132.svg"/><Relationship Id="rId12" Type="http://schemas.openxmlformats.org/officeDocument/2006/relationships/image" Target="../media/image48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31.png"/><Relationship Id="rId11" Type="http://schemas.openxmlformats.org/officeDocument/2006/relationships/image" Target="../media/image136.svg"/><Relationship Id="rId5" Type="http://schemas.openxmlformats.org/officeDocument/2006/relationships/slideLayout" Target="../slideLayouts/slideLayout53.xml"/><Relationship Id="rId10" Type="http://schemas.openxmlformats.org/officeDocument/2006/relationships/image" Target="../media/image135.png"/><Relationship Id="rId4" Type="http://schemas.openxmlformats.org/officeDocument/2006/relationships/tags" Target="../tags/tag9.xml"/><Relationship Id="rId9" Type="http://schemas.openxmlformats.org/officeDocument/2006/relationships/image" Target="../media/image134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svg"/><Relationship Id="rId3" Type="http://schemas.openxmlformats.org/officeDocument/2006/relationships/tags" Target="../tags/tag12.xml"/><Relationship Id="rId7" Type="http://schemas.openxmlformats.org/officeDocument/2006/relationships/image" Target="../media/image139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38.svg"/><Relationship Id="rId5" Type="http://schemas.openxmlformats.org/officeDocument/2006/relationships/image" Target="../media/image137.png"/><Relationship Id="rId10" Type="http://schemas.openxmlformats.org/officeDocument/2006/relationships/image" Target="../media/image129.png"/><Relationship Id="rId4" Type="http://schemas.openxmlformats.org/officeDocument/2006/relationships/slideLayout" Target="../slideLayouts/slideLayout51.xml"/><Relationship Id="rId9" Type="http://schemas.openxmlformats.org/officeDocument/2006/relationships/image" Target="../media/image141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3.jpeg"/><Relationship Id="rId13" Type="http://schemas.openxmlformats.org/officeDocument/2006/relationships/image" Target="../media/image147.svg"/><Relationship Id="rId3" Type="http://schemas.openxmlformats.org/officeDocument/2006/relationships/tags" Target="../tags/tag15.xml"/><Relationship Id="rId7" Type="http://schemas.openxmlformats.org/officeDocument/2006/relationships/image" Target="../media/image142.emf"/><Relationship Id="rId12" Type="http://schemas.openxmlformats.org/officeDocument/2006/relationships/image" Target="../media/image146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45.svg"/><Relationship Id="rId5" Type="http://schemas.openxmlformats.org/officeDocument/2006/relationships/slideLayout" Target="../slideLayouts/slideLayout51.xml"/><Relationship Id="rId10" Type="http://schemas.openxmlformats.org/officeDocument/2006/relationships/image" Target="../media/image144.png"/><Relationship Id="rId4" Type="http://schemas.openxmlformats.org/officeDocument/2006/relationships/tags" Target="../tags/tag16.xml"/><Relationship Id="rId9" Type="http://schemas.openxmlformats.org/officeDocument/2006/relationships/image" Target="../media/image12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emf"/><Relationship Id="rId3" Type="http://schemas.openxmlformats.org/officeDocument/2006/relationships/tags" Target="../tags/tag19.xml"/><Relationship Id="rId7" Type="http://schemas.openxmlformats.org/officeDocument/2006/relationships/image" Target="../media/image60.emf"/><Relationship Id="rId12" Type="http://schemas.openxmlformats.org/officeDocument/2006/relationships/image" Target="../media/image151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50.png"/><Relationship Id="rId5" Type="http://schemas.openxmlformats.org/officeDocument/2006/relationships/slideLayout" Target="../slideLayouts/slideLayout51.xml"/><Relationship Id="rId10" Type="http://schemas.openxmlformats.org/officeDocument/2006/relationships/image" Target="../media/image149.svg"/><Relationship Id="rId4" Type="http://schemas.openxmlformats.org/officeDocument/2006/relationships/tags" Target="../tags/tag20.xml"/><Relationship Id="rId9" Type="http://schemas.openxmlformats.org/officeDocument/2006/relationships/image" Target="../media/image14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66B818DA-45B8-DEB3-9D69-38C4B5E7804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2A8D0FD3-4FE3-13AD-0227-1AF56EC6AF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24" name="Frihåndsform: figur 23">
            <a:extLst>
              <a:ext uri="{FF2B5EF4-FFF2-40B4-BE49-F238E27FC236}">
                <a16:creationId xmlns:a16="http://schemas.microsoft.com/office/drawing/2014/main" id="{8843C3AD-9B27-A0DF-4C88-6C9DA1DFFF35}"/>
              </a:ext>
            </a:extLst>
          </p:cNvPr>
          <p:cNvSpPr/>
          <p:nvPr/>
        </p:nvSpPr>
        <p:spPr>
          <a:xfrm>
            <a:off x="6096000" y="0"/>
            <a:ext cx="6096000" cy="5717750"/>
          </a:xfrm>
          <a:custGeom>
            <a:avLst/>
            <a:gdLst>
              <a:gd name="connsiteX0" fmla="*/ 941343 w 6096000"/>
              <a:gd name="connsiteY0" fmla="*/ 0 h 5717750"/>
              <a:gd name="connsiteX1" fmla="*/ 6096000 w 6096000"/>
              <a:gd name="connsiteY1" fmla="*/ 0 h 5717750"/>
              <a:gd name="connsiteX2" fmla="*/ 6096000 w 6096000"/>
              <a:gd name="connsiteY2" fmla="*/ 4691651 h 5717750"/>
              <a:gd name="connsiteX3" fmla="*/ 6070472 w 6096000"/>
              <a:gd name="connsiteY3" fmla="*/ 4718596 h 5717750"/>
              <a:gd name="connsiteX4" fmla="*/ 3556000 w 6096000"/>
              <a:gd name="connsiteY4" fmla="*/ 5717750 h 5717750"/>
              <a:gd name="connsiteX5" fmla="*/ 0 w 6096000"/>
              <a:gd name="connsiteY5" fmla="*/ 2306425 h 5717750"/>
              <a:gd name="connsiteX6" fmla="*/ 812017 w 6096000"/>
              <a:gd name="connsiteY6" fmla="*/ 136505 h 5717750"/>
              <a:gd name="connsiteX7" fmla="*/ 941343 w 6096000"/>
              <a:gd name="connsiteY7" fmla="*/ 0 h 571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5717750">
                <a:moveTo>
                  <a:pt x="941343" y="0"/>
                </a:moveTo>
                <a:lnTo>
                  <a:pt x="6096000" y="0"/>
                </a:lnTo>
                <a:lnTo>
                  <a:pt x="6096000" y="4691651"/>
                </a:lnTo>
                <a:lnTo>
                  <a:pt x="6070472" y="4718596"/>
                </a:lnTo>
                <a:cubicBezTo>
                  <a:pt x="5426962" y="5335925"/>
                  <a:pt x="4537962" y="5717750"/>
                  <a:pt x="3556000" y="5717750"/>
                </a:cubicBezTo>
                <a:cubicBezTo>
                  <a:pt x="1592075" y="5717750"/>
                  <a:pt x="0" y="4190448"/>
                  <a:pt x="0" y="2306425"/>
                </a:cubicBezTo>
                <a:cubicBezTo>
                  <a:pt x="0" y="1482165"/>
                  <a:pt x="304733" y="726184"/>
                  <a:pt x="812017" y="136505"/>
                </a:cubicBezTo>
                <a:lnTo>
                  <a:pt x="941343" y="0"/>
                </a:lnTo>
                <a:close/>
              </a:path>
            </a:pathLst>
          </a:custGeom>
          <a:blipFill dpi="0" rotWithShape="1">
            <a:blip r:embed="rId2">
              <a:grayscl/>
            </a:blip>
            <a:srcRect/>
            <a:stretch>
              <a:fillRect l="-11000" t="-1000"/>
            </a:stretch>
          </a:blip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  <p:sp>
        <p:nvSpPr>
          <p:cNvPr id="31" name="Tittel 4">
            <a:extLst>
              <a:ext uri="{FF2B5EF4-FFF2-40B4-BE49-F238E27FC236}">
                <a16:creationId xmlns:a16="http://schemas.microsoft.com/office/drawing/2014/main" id="{51398F78-5BEE-F9B0-E338-E57699A4FC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797" y="1916478"/>
            <a:ext cx="5790407" cy="2881945"/>
          </a:xfrm>
        </p:spPr>
        <p:txBody>
          <a:bodyPr vert="horz"/>
          <a:lstStyle/>
          <a:p>
            <a:pPr>
              <a:lnSpc>
                <a:spcPts val="5400"/>
              </a:lnSpc>
            </a:pPr>
            <a:r>
              <a:rPr lang="nb-NO" sz="4000" dirty="0">
                <a:latin typeface="SpareBank 1 Title "/>
              </a:rPr>
              <a:t>SpareBank 1s Nasjonale </a:t>
            </a:r>
            <a:br>
              <a:rPr lang="nb-NO" sz="4000" dirty="0">
                <a:latin typeface="SpareBank 1 Title "/>
              </a:rPr>
            </a:br>
            <a:r>
              <a:rPr lang="nb-NO" sz="4000" dirty="0">
                <a:latin typeface="SpareBank 1 Title "/>
              </a:rPr>
              <a:t>Bærekraftsbarometer 2024 </a:t>
            </a:r>
            <a:br>
              <a:rPr lang="nb-NO" sz="4000" dirty="0">
                <a:latin typeface="SpareBank 1 Title "/>
              </a:rPr>
            </a:br>
            <a:r>
              <a:rPr lang="nb-NO" sz="2000" i="1" dirty="0">
                <a:latin typeface="SpareBank 1 Title "/>
              </a:rPr>
              <a:t>Bedriftsundersøkelsen Midt-Norge</a:t>
            </a:r>
            <a:endParaRPr lang="nb-NO" sz="4000" i="1" dirty="0">
              <a:latin typeface="SpareBank 1 Title "/>
            </a:endParaRPr>
          </a:p>
        </p:txBody>
      </p:sp>
      <p:sp>
        <p:nvSpPr>
          <p:cNvPr id="4" name="Plassholder for tekst 4">
            <a:extLst>
              <a:ext uri="{FF2B5EF4-FFF2-40B4-BE49-F238E27FC236}">
                <a16:creationId xmlns:a16="http://schemas.microsoft.com/office/drawing/2014/main" id="{E81CA0E6-912E-DC86-FF12-4DE1DD3E8F2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8925" y="6224584"/>
            <a:ext cx="1511300" cy="153988"/>
          </a:xfrm>
        </p:spPr>
        <p:txBody>
          <a:bodyPr/>
          <a:lstStyle/>
          <a:p>
            <a:r>
              <a:rPr lang="nb-NO" dirty="0"/>
              <a:t>Jan-eilert nilsen</a:t>
            </a:r>
          </a:p>
        </p:txBody>
      </p:sp>
      <p:sp>
        <p:nvSpPr>
          <p:cNvPr id="5" name="Plassholder for tekst 5">
            <a:extLst>
              <a:ext uri="{FF2B5EF4-FFF2-40B4-BE49-F238E27FC236}">
                <a16:creationId xmlns:a16="http://schemas.microsoft.com/office/drawing/2014/main" id="{3759EE00-270D-B47E-9A0F-A2A7C87DD38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974057" y="6224584"/>
            <a:ext cx="1857714" cy="153988"/>
          </a:xfrm>
        </p:spPr>
        <p:txBody>
          <a:bodyPr/>
          <a:lstStyle/>
          <a:p>
            <a:r>
              <a:rPr lang="nb-NO" dirty="0"/>
              <a:t>Trondheim</a:t>
            </a:r>
          </a:p>
        </p:txBody>
      </p:sp>
    </p:spTree>
    <p:extLst>
      <p:ext uri="{BB962C8B-B14F-4D97-AF65-F5344CB8AC3E}">
        <p14:creationId xmlns:p14="http://schemas.microsoft.com/office/powerpoint/2010/main" val="9637615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D33F3AEA-B1D4-13F7-C010-53E4A378A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954" y="312539"/>
            <a:ext cx="11369675" cy="553998"/>
          </a:xfrm>
        </p:spPr>
        <p:txBody>
          <a:bodyPr vert="horz"/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3200" dirty="0">
                <a:solidFill>
                  <a:schemeClr val="accent2"/>
                </a:solidFill>
              </a:rPr>
              <a:t>23% (23%) av bedriftene mottar i stor grad krav fra sine kunder og samarbeidspartnere</a:t>
            </a:r>
            <a:endParaRPr lang="nb-NO" sz="3200" dirty="0">
              <a:solidFill>
                <a:schemeClr val="accent2"/>
              </a:solidFill>
            </a:endParaRPr>
          </a:p>
        </p:txBody>
      </p:sp>
      <p:pic>
        <p:nvPicPr>
          <p:cNvPr id="5" name="logo_blaa">
            <a:extLst>
              <a:ext uri="{FF2B5EF4-FFF2-40B4-BE49-F238E27FC236}">
                <a16:creationId xmlns:a16="http://schemas.microsoft.com/office/drawing/2014/main" id="{0E0967EA-D400-EF23-DABA-9B7036651475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4" name="Grunt object a3b353c2d614964983f30c10e2db9e8e-svg">
            <a:extLst>
              <a:ext uri="{FF2B5EF4-FFF2-40B4-BE49-F238E27FC236}">
                <a16:creationId xmlns:a16="http://schemas.microsoft.com/office/drawing/2014/main" id="{3536FD6E-A4B3-D574-73B9-22685CC5C3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4351" y="2833370"/>
            <a:ext cx="11147425" cy="3106420"/>
          </a:xfrm>
          <a:prstGeom prst="rect">
            <a:avLst/>
          </a:prstGeom>
          <a:blipFill dpi="0" rotWithShape="1"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Grunt object 92019a16cac244dfbc0b875e7c5dbea0-svg">
            <a:extLst>
              <a:ext uri="{FF2B5EF4-FFF2-40B4-BE49-F238E27FC236}">
                <a16:creationId xmlns:a16="http://schemas.microsoft.com/office/drawing/2014/main" id="{4E627454-1290-C199-3921-2BD8D9AC22A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22625" y="2368550"/>
            <a:ext cx="1409700" cy="342900"/>
          </a:xfrm>
          <a:prstGeom prst="rect">
            <a:avLst/>
          </a:prstGeom>
          <a:blipFill dpi="0"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9745F3D9-BA37-E928-9DC1-70496559D703}"/>
              </a:ext>
            </a:extLst>
          </p:cNvPr>
          <p:cNvSpPr txBox="1"/>
          <p:nvPr/>
        </p:nvSpPr>
        <p:spPr>
          <a:xfrm>
            <a:off x="444954" y="1465818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  <a:latin typeface="SpareBank 1 Medium" panose="020B0500030000000000" pitchFamily="34" charset="0"/>
              </a:rPr>
              <a:t>Svar: I stor/svært stor grad (%)</a:t>
            </a:r>
          </a:p>
        </p:txBody>
      </p:sp>
      <p:sp>
        <p:nvSpPr>
          <p:cNvPr id="3" name="Plassholder for bunntekst 3">
            <a:extLst>
              <a:ext uri="{FF2B5EF4-FFF2-40B4-BE49-F238E27FC236}">
                <a16:creationId xmlns:a16="http://schemas.microsoft.com/office/drawing/2014/main" id="{194D7301-AD13-FB67-16EA-E48573CD82D3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864267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_blaa">
            <a:extLst>
              <a:ext uri="{FF2B5EF4-FFF2-40B4-BE49-F238E27FC236}">
                <a16:creationId xmlns:a16="http://schemas.microsoft.com/office/drawing/2014/main" id="{0E0967EA-D400-EF23-DABA-9B7036651475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4" name="Grunt object 8cbc4ce5d2d5a702c6b60351fc864bd4-svg">
            <a:extLst>
              <a:ext uri="{FF2B5EF4-FFF2-40B4-BE49-F238E27FC236}">
                <a16:creationId xmlns:a16="http://schemas.microsoft.com/office/drawing/2014/main" id="{3536FD6E-A4B3-D574-73B9-22685CC5C3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28625" y="3220720"/>
            <a:ext cx="11347451" cy="2871470"/>
          </a:xfrm>
          <a:prstGeom prst="rect">
            <a:avLst/>
          </a:prstGeom>
          <a:blipFill dpi="0" rotWithShape="1"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Grunt object 92019a16cac244dfbc0b875e7c5dbea0-svg">
            <a:extLst>
              <a:ext uri="{FF2B5EF4-FFF2-40B4-BE49-F238E27FC236}">
                <a16:creationId xmlns:a16="http://schemas.microsoft.com/office/drawing/2014/main" id="{4E627454-1290-C199-3921-2BD8D9AC22A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185310" y="2831099"/>
            <a:ext cx="1409700" cy="342900"/>
          </a:xfrm>
          <a:prstGeom prst="rect">
            <a:avLst/>
          </a:prstGeom>
          <a:blipFill dpi="0"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9745F3D9-BA37-E928-9DC1-70496559D703}"/>
              </a:ext>
            </a:extLst>
          </p:cNvPr>
          <p:cNvSpPr txBox="1"/>
          <p:nvPr/>
        </p:nvSpPr>
        <p:spPr>
          <a:xfrm>
            <a:off x="517525" y="1944638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  <a:latin typeface="SpareBank 1 Title" panose="020B0500030000000000" pitchFamily="34" charset="0"/>
              </a:rPr>
              <a:t>Svar: I stor/svært stor grad (%)</a:t>
            </a:r>
          </a:p>
        </p:txBody>
      </p:sp>
      <p:sp>
        <p:nvSpPr>
          <p:cNvPr id="16" name="Frihåndsform: figur 15">
            <a:extLst>
              <a:ext uri="{FF2B5EF4-FFF2-40B4-BE49-F238E27FC236}">
                <a16:creationId xmlns:a16="http://schemas.microsoft.com/office/drawing/2014/main" id="{B841B1C1-2EFA-E883-7EB8-8FED5E56FDF3}"/>
              </a:ext>
            </a:extLst>
          </p:cNvPr>
          <p:cNvSpPr/>
          <p:nvPr/>
        </p:nvSpPr>
        <p:spPr>
          <a:xfrm>
            <a:off x="7948329" y="-14514"/>
            <a:ext cx="4243671" cy="3818709"/>
          </a:xfrm>
          <a:custGeom>
            <a:avLst/>
            <a:gdLst>
              <a:gd name="connsiteX0" fmla="*/ 608527 w 4243671"/>
              <a:gd name="connsiteY0" fmla="*/ 0 h 3818709"/>
              <a:gd name="connsiteX1" fmla="*/ 4243671 w 4243671"/>
              <a:gd name="connsiteY1" fmla="*/ 0 h 3818709"/>
              <a:gd name="connsiteX2" fmla="*/ 4243671 w 4243671"/>
              <a:gd name="connsiteY2" fmla="*/ 3052599 h 3818709"/>
              <a:gd name="connsiteX3" fmla="*/ 4154915 w 4243671"/>
              <a:gd name="connsiteY3" fmla="*/ 3144904 h 3818709"/>
              <a:gd name="connsiteX4" fmla="*/ 2433893 w 4243671"/>
              <a:gd name="connsiteY4" fmla="*/ 3818709 h 3818709"/>
              <a:gd name="connsiteX5" fmla="*/ 0 w 4243671"/>
              <a:gd name="connsiteY5" fmla="*/ 1518194 h 3818709"/>
              <a:gd name="connsiteX6" fmla="*/ 555783 w 4243671"/>
              <a:gd name="connsiteY6" fmla="*/ 54853 h 3818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43671" h="3818709">
                <a:moveTo>
                  <a:pt x="608527" y="0"/>
                </a:moveTo>
                <a:lnTo>
                  <a:pt x="4243671" y="0"/>
                </a:lnTo>
                <a:lnTo>
                  <a:pt x="4243671" y="3052599"/>
                </a:lnTo>
                <a:lnTo>
                  <a:pt x="4154915" y="3144904"/>
                </a:lnTo>
                <a:cubicBezTo>
                  <a:pt x="3714467" y="3561215"/>
                  <a:pt x="3105994" y="3818709"/>
                  <a:pt x="2433893" y="3818709"/>
                </a:cubicBezTo>
                <a:cubicBezTo>
                  <a:pt x="1089691" y="3818709"/>
                  <a:pt x="0" y="2788733"/>
                  <a:pt x="0" y="1518194"/>
                </a:cubicBezTo>
                <a:cubicBezTo>
                  <a:pt x="0" y="962333"/>
                  <a:pt x="208574" y="452518"/>
                  <a:pt x="555783" y="54853"/>
                </a:cubicBezTo>
                <a:close/>
              </a:path>
            </a:pathLst>
          </a:custGeom>
          <a:blipFill>
            <a:blip r:embed="rId1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  <p:sp>
        <p:nvSpPr>
          <p:cNvPr id="17" name="Plassholder for bunntekst 3">
            <a:extLst>
              <a:ext uri="{FF2B5EF4-FFF2-40B4-BE49-F238E27FC236}">
                <a16:creationId xmlns:a16="http://schemas.microsoft.com/office/drawing/2014/main" id="{4D8649B4-B894-48E2-3923-93E517BC9ED9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  <p:sp>
        <p:nvSpPr>
          <p:cNvPr id="3" name="Tittel 1">
            <a:extLst>
              <a:ext uri="{FF2B5EF4-FFF2-40B4-BE49-F238E27FC236}">
                <a16:creationId xmlns:a16="http://schemas.microsoft.com/office/drawing/2014/main" id="{254454A6-6275-ADA7-FFC4-0C81D2EA8C49}"/>
              </a:ext>
            </a:extLst>
          </p:cNvPr>
          <p:cNvSpPr txBox="1">
            <a:spLocks/>
          </p:cNvSpPr>
          <p:nvPr/>
        </p:nvSpPr>
        <p:spPr>
          <a:xfrm>
            <a:off x="582839" y="1427509"/>
            <a:ext cx="7015389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ct val="0"/>
              </a:spcAft>
            </a:pPr>
            <a:r>
              <a:rPr lang="nb-NO" altLang="en-US" sz="1800" dirty="0"/>
              <a:t>I hvilken grad kjøper bedriften inn brukte gjenstander til drift eller resirkulerte råvarer</a:t>
            </a:r>
            <a:endParaRPr lang="nb-NO" sz="1800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D33F3AEA-B1D4-13F7-C010-53E4A378A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00" y="227543"/>
            <a:ext cx="8846786" cy="553998"/>
          </a:xfrm>
        </p:spPr>
        <p:txBody>
          <a:bodyPr vert="horz"/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3200" dirty="0">
                <a:solidFill>
                  <a:schemeClr val="accent2"/>
                </a:solidFill>
              </a:rPr>
              <a:t>1 av 4 bedrifter (1 av 5) kjøper i stor grad inn brukte gjenstander til drift eller resirkulerte råvarer </a:t>
            </a:r>
            <a:endParaRPr lang="nb-NO" sz="3200" dirty="0">
              <a:solidFill>
                <a:schemeClr val="accent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140876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_blaa">
            <a:extLst>
              <a:ext uri="{FF2B5EF4-FFF2-40B4-BE49-F238E27FC236}">
                <a16:creationId xmlns:a16="http://schemas.microsoft.com/office/drawing/2014/main" id="{0E0967EA-D400-EF23-DABA-9B7036651475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4" name="Grunt object 09d1db7995bb68894e084760b8775016-svg">
            <a:extLst>
              <a:ext uri="{FF2B5EF4-FFF2-40B4-BE49-F238E27FC236}">
                <a16:creationId xmlns:a16="http://schemas.microsoft.com/office/drawing/2014/main" id="{3536FD6E-A4B3-D574-73B9-22685CC5C3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28625" y="3049270"/>
            <a:ext cx="11347451" cy="3042920"/>
          </a:xfrm>
          <a:prstGeom prst="rect">
            <a:avLst/>
          </a:prstGeom>
          <a:blipFill dpi="0" rotWithShape="1"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Grunt object 0dd7cc33c3f69c92f60e75517b2a6c60-svg">
            <a:extLst>
              <a:ext uri="{FF2B5EF4-FFF2-40B4-BE49-F238E27FC236}">
                <a16:creationId xmlns:a16="http://schemas.microsoft.com/office/drawing/2014/main" id="{4E627454-1290-C199-3921-2BD8D9AC22A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260725" y="2482850"/>
            <a:ext cx="1409700" cy="342900"/>
          </a:xfrm>
          <a:prstGeom prst="rect">
            <a:avLst/>
          </a:prstGeom>
          <a:blipFill dpi="0"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9745F3D9-BA37-E928-9DC1-70496559D703}"/>
              </a:ext>
            </a:extLst>
          </p:cNvPr>
          <p:cNvSpPr txBox="1"/>
          <p:nvPr/>
        </p:nvSpPr>
        <p:spPr>
          <a:xfrm>
            <a:off x="394780" y="1393371"/>
            <a:ext cx="6096000" cy="3683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  <a:latin typeface="SpareBank 1 Title" panose="020B0500030000000000" pitchFamily="34" charset="0"/>
              </a:rPr>
              <a:t>Svar: I stor/svært stor grad (%)</a:t>
            </a: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F679AFDC-5EE4-4552-AE5F-D3718CC9E70B}"/>
              </a:ext>
            </a:extLst>
          </p:cNvPr>
          <p:cNvSpPr txBox="1">
            <a:spLocks/>
          </p:cNvSpPr>
          <p:nvPr/>
        </p:nvSpPr>
        <p:spPr>
          <a:xfrm>
            <a:off x="215900" y="304135"/>
            <a:ext cx="11856140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altLang="en-US" sz="3200" dirty="0">
                <a:solidFill>
                  <a:schemeClr val="accent2"/>
                </a:solidFill>
              </a:rPr>
              <a:t>Knapt 1 av 3 bedrifter er i stor grad villig til å betale mer for maskiner, utstyr og kjøretøy som reduserer bedriftens klimapåvirkning</a:t>
            </a:r>
            <a:endParaRPr lang="nb-NO" sz="3200" dirty="0">
              <a:solidFill>
                <a:schemeClr val="accent2"/>
              </a:solidFill>
            </a:endParaRPr>
          </a:p>
        </p:txBody>
      </p:sp>
      <p:sp>
        <p:nvSpPr>
          <p:cNvPr id="12" name="Plassholder for bunntekst 3">
            <a:extLst>
              <a:ext uri="{FF2B5EF4-FFF2-40B4-BE49-F238E27FC236}">
                <a16:creationId xmlns:a16="http://schemas.microsoft.com/office/drawing/2014/main" id="{E7560182-2081-24B9-F2AD-CC9407411123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753070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_blaa">
            <a:extLst>
              <a:ext uri="{FF2B5EF4-FFF2-40B4-BE49-F238E27FC236}">
                <a16:creationId xmlns:a16="http://schemas.microsoft.com/office/drawing/2014/main" id="{0E0967EA-D400-EF23-DABA-9B7036651475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4" name="Grunt object a5900d857042a14037996cd83ba6dfaa-svg">
            <a:extLst>
              <a:ext uri="{FF2B5EF4-FFF2-40B4-BE49-F238E27FC236}">
                <a16:creationId xmlns:a16="http://schemas.microsoft.com/office/drawing/2014/main" id="{3536FD6E-A4B3-D574-73B9-22685CC5C3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314497" y="3919583"/>
            <a:ext cx="6323637" cy="2030911"/>
          </a:xfrm>
          <a:prstGeom prst="rect">
            <a:avLst/>
          </a:prstGeom>
          <a:blipFill dpi="0" rotWithShape="1"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9745F3D9-BA37-E928-9DC1-70496559D703}"/>
              </a:ext>
            </a:extLst>
          </p:cNvPr>
          <p:cNvSpPr txBox="1"/>
          <p:nvPr/>
        </p:nvSpPr>
        <p:spPr>
          <a:xfrm>
            <a:off x="455822" y="1450108"/>
            <a:ext cx="6096000" cy="3683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  <a:latin typeface="SpareBank 1 Title" panose="020B0500030000000000" pitchFamily="34" charset="0"/>
              </a:rPr>
              <a:t>Svar: I stor/svært stor grad (%)</a:t>
            </a:r>
          </a:p>
        </p:txBody>
      </p:sp>
      <p:sp>
        <p:nvSpPr>
          <p:cNvPr id="9" name="Grunt object c3e34b9f2098101bbe95e28cdaa180c3-svg">
            <a:extLst>
              <a:ext uri="{FF2B5EF4-FFF2-40B4-BE49-F238E27FC236}">
                <a16:creationId xmlns:a16="http://schemas.microsoft.com/office/drawing/2014/main" id="{0BA0F56E-BFBF-BEEC-CA04-44E07897AED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780410" y="2998900"/>
            <a:ext cx="3441019" cy="3088754"/>
          </a:xfrm>
          <a:prstGeom prst="rect">
            <a:avLst/>
          </a:prstGeom>
          <a:blipFill dpi="0"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639C7CEC-19D2-2E0E-4595-78E9578FEAF1}"/>
              </a:ext>
            </a:extLst>
          </p:cNvPr>
          <p:cNvSpPr txBox="1">
            <a:spLocks/>
          </p:cNvSpPr>
          <p:nvPr/>
        </p:nvSpPr>
        <p:spPr>
          <a:xfrm>
            <a:off x="455822" y="399409"/>
            <a:ext cx="7091608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altLang="en-US" sz="3200" dirty="0">
                <a:solidFill>
                  <a:schemeClr val="accent2"/>
                </a:solidFill>
              </a:rPr>
              <a:t>Drøyt 1 av 4 bedrifter vurderer i stor grad  bærekraft ved kjøp eller leie av lokaler</a:t>
            </a:r>
            <a:endParaRPr lang="nb-NO" sz="3200" dirty="0">
              <a:solidFill>
                <a:schemeClr val="accent2"/>
              </a:solidFill>
            </a:endParaRPr>
          </a:p>
        </p:txBody>
      </p:sp>
      <p:sp>
        <p:nvSpPr>
          <p:cNvPr id="14" name="Frihåndsform: figur 13">
            <a:extLst>
              <a:ext uri="{FF2B5EF4-FFF2-40B4-BE49-F238E27FC236}">
                <a16:creationId xmlns:a16="http://schemas.microsoft.com/office/drawing/2014/main" id="{D86F3E8B-6304-6F28-127C-467A9A9CD586}"/>
              </a:ext>
            </a:extLst>
          </p:cNvPr>
          <p:cNvSpPr/>
          <p:nvPr/>
        </p:nvSpPr>
        <p:spPr>
          <a:xfrm>
            <a:off x="7948329" y="-14514"/>
            <a:ext cx="4243671" cy="3818709"/>
          </a:xfrm>
          <a:custGeom>
            <a:avLst/>
            <a:gdLst>
              <a:gd name="connsiteX0" fmla="*/ 608527 w 4243671"/>
              <a:gd name="connsiteY0" fmla="*/ 0 h 3818709"/>
              <a:gd name="connsiteX1" fmla="*/ 4243671 w 4243671"/>
              <a:gd name="connsiteY1" fmla="*/ 0 h 3818709"/>
              <a:gd name="connsiteX2" fmla="*/ 4243671 w 4243671"/>
              <a:gd name="connsiteY2" fmla="*/ 3052599 h 3818709"/>
              <a:gd name="connsiteX3" fmla="*/ 4154915 w 4243671"/>
              <a:gd name="connsiteY3" fmla="*/ 3144904 h 3818709"/>
              <a:gd name="connsiteX4" fmla="*/ 2433893 w 4243671"/>
              <a:gd name="connsiteY4" fmla="*/ 3818709 h 3818709"/>
              <a:gd name="connsiteX5" fmla="*/ 0 w 4243671"/>
              <a:gd name="connsiteY5" fmla="*/ 1518194 h 3818709"/>
              <a:gd name="connsiteX6" fmla="*/ 555783 w 4243671"/>
              <a:gd name="connsiteY6" fmla="*/ 54853 h 3818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43671" h="3818709">
                <a:moveTo>
                  <a:pt x="608527" y="0"/>
                </a:moveTo>
                <a:lnTo>
                  <a:pt x="4243671" y="0"/>
                </a:lnTo>
                <a:lnTo>
                  <a:pt x="4243671" y="3052599"/>
                </a:lnTo>
                <a:lnTo>
                  <a:pt x="4154915" y="3144904"/>
                </a:lnTo>
                <a:cubicBezTo>
                  <a:pt x="3714467" y="3561215"/>
                  <a:pt x="3105994" y="3818709"/>
                  <a:pt x="2433893" y="3818709"/>
                </a:cubicBezTo>
                <a:cubicBezTo>
                  <a:pt x="1089691" y="3818709"/>
                  <a:pt x="0" y="2788733"/>
                  <a:pt x="0" y="1518194"/>
                </a:cubicBezTo>
                <a:cubicBezTo>
                  <a:pt x="0" y="962333"/>
                  <a:pt x="208574" y="452518"/>
                  <a:pt x="555783" y="54853"/>
                </a:cubicBezTo>
                <a:close/>
              </a:path>
            </a:pathLst>
          </a:custGeom>
          <a:blipFill>
            <a:blip r:embed="rId1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  <p:sp>
        <p:nvSpPr>
          <p:cNvPr id="15" name="Plassholder for bunntekst 3">
            <a:extLst>
              <a:ext uri="{FF2B5EF4-FFF2-40B4-BE49-F238E27FC236}">
                <a16:creationId xmlns:a16="http://schemas.microsoft.com/office/drawing/2014/main" id="{AADD568F-F047-7955-C591-BB0C3A46FC30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96695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_blaa">
            <a:extLst>
              <a:ext uri="{FF2B5EF4-FFF2-40B4-BE49-F238E27FC236}">
                <a16:creationId xmlns:a16="http://schemas.microsoft.com/office/drawing/2014/main" id="{0E0967EA-D400-EF23-DABA-9B7036651475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6400" y="6119570"/>
            <a:ext cx="2667000" cy="560754"/>
          </a:xfrm>
          <a:prstGeom prst="rect">
            <a:avLst/>
          </a:prstGeom>
        </p:spPr>
      </p:pic>
      <p:sp>
        <p:nvSpPr>
          <p:cNvPr id="4" name="Grunt object 630fbad9b2edd96f69a9f82e9da7b317-svg">
            <a:extLst>
              <a:ext uri="{FF2B5EF4-FFF2-40B4-BE49-F238E27FC236}">
                <a16:creationId xmlns:a16="http://schemas.microsoft.com/office/drawing/2014/main" id="{3536FD6E-A4B3-D574-73B9-22685CC5C3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04264" y="3757748"/>
            <a:ext cx="2689225" cy="1769439"/>
          </a:xfrm>
          <a:prstGeom prst="rect">
            <a:avLst/>
          </a:prstGeom>
          <a:blipFill dpi="0" rotWithShape="1"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9745F3D9-BA37-E928-9DC1-70496559D703}"/>
              </a:ext>
            </a:extLst>
          </p:cNvPr>
          <p:cNvSpPr txBox="1"/>
          <p:nvPr/>
        </p:nvSpPr>
        <p:spPr>
          <a:xfrm>
            <a:off x="410614" y="1367330"/>
            <a:ext cx="2682875" cy="3683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  <a:latin typeface="+mj-lt"/>
              </a:rPr>
              <a:t>Svar: Ja (%)</a:t>
            </a:r>
          </a:p>
        </p:txBody>
      </p:sp>
      <p:sp>
        <p:nvSpPr>
          <p:cNvPr id="10" name="Grunt object 33dd8d2fd113b3b5edb5875c3d264fa4-svg">
            <a:extLst>
              <a:ext uri="{FF2B5EF4-FFF2-40B4-BE49-F238E27FC236}">
                <a16:creationId xmlns:a16="http://schemas.microsoft.com/office/drawing/2014/main" id="{5A39F80C-A7BE-73DA-FB3A-02FDDD35B42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573073" y="2452440"/>
            <a:ext cx="8417315" cy="3440508"/>
          </a:xfrm>
          <a:prstGeom prst="rect">
            <a:avLst/>
          </a:prstGeom>
          <a:blipFill dpi="0" rotWithShape="1"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Grunt object 2733274a0b92a48f24ce7b05fc436e0e-svg">
            <a:extLst>
              <a:ext uri="{FF2B5EF4-FFF2-40B4-BE49-F238E27FC236}">
                <a16:creationId xmlns:a16="http://schemas.microsoft.com/office/drawing/2014/main" id="{2E50FCCF-E717-BD12-9F17-43DBF87026C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709878" y="2313927"/>
            <a:ext cx="1574799" cy="206375"/>
          </a:xfrm>
          <a:prstGeom prst="rect">
            <a:avLst/>
          </a:prstGeom>
          <a:blipFill dpi="0" rotWithShape="1"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Frihåndsform: figur 15">
            <a:extLst>
              <a:ext uri="{FF2B5EF4-FFF2-40B4-BE49-F238E27FC236}">
                <a16:creationId xmlns:a16="http://schemas.microsoft.com/office/drawing/2014/main" id="{1CBF09F5-F615-D566-403D-FCDA6E3C6B50}"/>
              </a:ext>
            </a:extLst>
          </p:cNvPr>
          <p:cNvSpPr/>
          <p:nvPr/>
        </p:nvSpPr>
        <p:spPr>
          <a:xfrm>
            <a:off x="9637486" y="-14514"/>
            <a:ext cx="2554514" cy="2046514"/>
          </a:xfrm>
          <a:custGeom>
            <a:avLst/>
            <a:gdLst>
              <a:gd name="connsiteX0" fmla="*/ 608527 w 4243671"/>
              <a:gd name="connsiteY0" fmla="*/ 0 h 3818709"/>
              <a:gd name="connsiteX1" fmla="*/ 4243671 w 4243671"/>
              <a:gd name="connsiteY1" fmla="*/ 0 h 3818709"/>
              <a:gd name="connsiteX2" fmla="*/ 4243671 w 4243671"/>
              <a:gd name="connsiteY2" fmla="*/ 3052599 h 3818709"/>
              <a:gd name="connsiteX3" fmla="*/ 4154915 w 4243671"/>
              <a:gd name="connsiteY3" fmla="*/ 3144904 h 3818709"/>
              <a:gd name="connsiteX4" fmla="*/ 2433893 w 4243671"/>
              <a:gd name="connsiteY4" fmla="*/ 3818709 h 3818709"/>
              <a:gd name="connsiteX5" fmla="*/ 0 w 4243671"/>
              <a:gd name="connsiteY5" fmla="*/ 1518194 h 3818709"/>
              <a:gd name="connsiteX6" fmla="*/ 555783 w 4243671"/>
              <a:gd name="connsiteY6" fmla="*/ 54853 h 3818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43671" h="3818709">
                <a:moveTo>
                  <a:pt x="608527" y="0"/>
                </a:moveTo>
                <a:lnTo>
                  <a:pt x="4243671" y="0"/>
                </a:lnTo>
                <a:lnTo>
                  <a:pt x="4243671" y="3052599"/>
                </a:lnTo>
                <a:lnTo>
                  <a:pt x="4154915" y="3144904"/>
                </a:lnTo>
                <a:cubicBezTo>
                  <a:pt x="3714467" y="3561215"/>
                  <a:pt x="3105994" y="3818709"/>
                  <a:pt x="2433893" y="3818709"/>
                </a:cubicBezTo>
                <a:cubicBezTo>
                  <a:pt x="1089691" y="3818709"/>
                  <a:pt x="0" y="2788733"/>
                  <a:pt x="0" y="1518194"/>
                </a:cubicBezTo>
                <a:cubicBezTo>
                  <a:pt x="0" y="962333"/>
                  <a:pt x="208574" y="452518"/>
                  <a:pt x="555783" y="54853"/>
                </a:cubicBezTo>
                <a:close/>
              </a:path>
            </a:pathLst>
          </a:custGeom>
          <a:blipFill>
            <a:blip r:embed="rId1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  <p:sp>
        <p:nvSpPr>
          <p:cNvPr id="17" name="Plassholder for bunntekst 3">
            <a:extLst>
              <a:ext uri="{FF2B5EF4-FFF2-40B4-BE49-F238E27FC236}">
                <a16:creationId xmlns:a16="http://schemas.microsoft.com/office/drawing/2014/main" id="{62B84810-20E4-88C4-ED60-4E61191568DF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  <p:sp>
        <p:nvSpPr>
          <p:cNvPr id="13" name="Tittel 1">
            <a:extLst>
              <a:ext uri="{FF2B5EF4-FFF2-40B4-BE49-F238E27FC236}">
                <a16:creationId xmlns:a16="http://schemas.microsoft.com/office/drawing/2014/main" id="{3D2079A9-4C2E-D9CB-5D24-927F0618020D}"/>
              </a:ext>
            </a:extLst>
          </p:cNvPr>
          <p:cNvSpPr txBox="1">
            <a:spLocks/>
          </p:cNvSpPr>
          <p:nvPr/>
        </p:nvSpPr>
        <p:spPr>
          <a:xfrm>
            <a:off x="410614" y="326113"/>
            <a:ext cx="11037095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altLang="en-US" sz="3200" dirty="0">
                <a:solidFill>
                  <a:schemeClr val="accent2"/>
                </a:solidFill>
              </a:rPr>
              <a:t>19% av bedriftene har  et klimaregnskap. Dette er en økning </a:t>
            </a:r>
          </a:p>
          <a:p>
            <a:r>
              <a:rPr lang="nb-NO" altLang="en-US" sz="3200" dirty="0">
                <a:solidFill>
                  <a:schemeClr val="accent2"/>
                </a:solidFill>
              </a:rPr>
              <a:t>på 6 prosentpoeng fra i fjor</a:t>
            </a:r>
            <a:endParaRPr lang="nb-NO" sz="3200" dirty="0">
              <a:solidFill>
                <a:schemeClr val="accent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731280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: avrundede hjørner diagonalt 15">
            <a:extLst>
              <a:ext uri="{FF2B5EF4-FFF2-40B4-BE49-F238E27FC236}">
                <a16:creationId xmlns:a16="http://schemas.microsoft.com/office/drawing/2014/main" id="{4863B0D7-0DCE-F6BA-8C00-45CC5804699C}"/>
              </a:ext>
            </a:extLst>
          </p:cNvPr>
          <p:cNvSpPr/>
          <p:nvPr/>
        </p:nvSpPr>
        <p:spPr>
          <a:xfrm>
            <a:off x="626287" y="1712476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rgbClr val="005AA4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Strategi</a:t>
            </a:r>
          </a:p>
        </p:txBody>
      </p:sp>
      <p:sp>
        <p:nvSpPr>
          <p:cNvPr id="18" name="Rektangel: avrundede hjørner diagonalt 17">
            <a:extLst>
              <a:ext uri="{FF2B5EF4-FFF2-40B4-BE49-F238E27FC236}">
                <a16:creationId xmlns:a16="http://schemas.microsoft.com/office/drawing/2014/main" id="{EDDFE4F8-336D-47E3-6D24-516DEAB3FEB9}"/>
              </a:ext>
            </a:extLst>
          </p:cNvPr>
          <p:cNvSpPr/>
          <p:nvPr/>
        </p:nvSpPr>
        <p:spPr>
          <a:xfrm>
            <a:off x="626287" y="2685387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chemeClr val="accent2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Innovasjon, kunder og marked</a:t>
            </a:r>
          </a:p>
        </p:txBody>
      </p:sp>
      <p:sp>
        <p:nvSpPr>
          <p:cNvPr id="19" name="Rektangel: avrundede hjørner diagonalt 18">
            <a:extLst>
              <a:ext uri="{FF2B5EF4-FFF2-40B4-BE49-F238E27FC236}">
                <a16:creationId xmlns:a16="http://schemas.microsoft.com/office/drawing/2014/main" id="{C912209D-AC8B-C81D-FABD-7AB5C9EF0892}"/>
              </a:ext>
            </a:extLst>
          </p:cNvPr>
          <p:cNvSpPr/>
          <p:nvPr/>
        </p:nvSpPr>
        <p:spPr>
          <a:xfrm>
            <a:off x="626287" y="3658298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rgbClr val="005AA4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Vekst og lønnsomhet</a:t>
            </a:r>
          </a:p>
        </p:txBody>
      </p:sp>
      <p:sp>
        <p:nvSpPr>
          <p:cNvPr id="20" name="Rektangel: avrundede hjørner diagonalt 19">
            <a:extLst>
              <a:ext uri="{FF2B5EF4-FFF2-40B4-BE49-F238E27FC236}">
                <a16:creationId xmlns:a16="http://schemas.microsoft.com/office/drawing/2014/main" id="{17D22BF5-A214-1915-566E-B058C54CB6AE}"/>
              </a:ext>
            </a:extLst>
          </p:cNvPr>
          <p:cNvSpPr/>
          <p:nvPr/>
        </p:nvSpPr>
        <p:spPr>
          <a:xfrm>
            <a:off x="626287" y="4631209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rgbClr val="005AA4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Kompetanse</a:t>
            </a:r>
          </a:p>
        </p:txBody>
      </p:sp>
      <p:pic>
        <p:nvPicPr>
          <p:cNvPr id="2" name="logo_blaa">
            <a:extLst>
              <a:ext uri="{FF2B5EF4-FFF2-40B4-BE49-F238E27FC236}">
                <a16:creationId xmlns:a16="http://schemas.microsoft.com/office/drawing/2014/main" id="{ADD11C62-9922-08BA-A996-937B4BB099ED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3" name="Frihåndsform: figur 2">
            <a:extLst>
              <a:ext uri="{FF2B5EF4-FFF2-40B4-BE49-F238E27FC236}">
                <a16:creationId xmlns:a16="http://schemas.microsoft.com/office/drawing/2014/main" id="{F0D729B4-C70C-06F3-EA68-B94DA708F02D}"/>
              </a:ext>
            </a:extLst>
          </p:cNvPr>
          <p:cNvSpPr/>
          <p:nvPr/>
        </p:nvSpPr>
        <p:spPr>
          <a:xfrm>
            <a:off x="7536546" y="0"/>
            <a:ext cx="4655454" cy="4354951"/>
          </a:xfrm>
          <a:custGeom>
            <a:avLst/>
            <a:gdLst>
              <a:gd name="connsiteX0" fmla="*/ 941343 w 6096000"/>
              <a:gd name="connsiteY0" fmla="*/ 0 h 5717750"/>
              <a:gd name="connsiteX1" fmla="*/ 6096000 w 6096000"/>
              <a:gd name="connsiteY1" fmla="*/ 0 h 5717750"/>
              <a:gd name="connsiteX2" fmla="*/ 6096000 w 6096000"/>
              <a:gd name="connsiteY2" fmla="*/ 4691651 h 5717750"/>
              <a:gd name="connsiteX3" fmla="*/ 6070472 w 6096000"/>
              <a:gd name="connsiteY3" fmla="*/ 4718596 h 5717750"/>
              <a:gd name="connsiteX4" fmla="*/ 3556000 w 6096000"/>
              <a:gd name="connsiteY4" fmla="*/ 5717750 h 5717750"/>
              <a:gd name="connsiteX5" fmla="*/ 0 w 6096000"/>
              <a:gd name="connsiteY5" fmla="*/ 2306425 h 5717750"/>
              <a:gd name="connsiteX6" fmla="*/ 812017 w 6096000"/>
              <a:gd name="connsiteY6" fmla="*/ 136505 h 5717750"/>
              <a:gd name="connsiteX7" fmla="*/ 941343 w 6096000"/>
              <a:gd name="connsiteY7" fmla="*/ 0 h 571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5717750">
                <a:moveTo>
                  <a:pt x="941343" y="0"/>
                </a:moveTo>
                <a:lnTo>
                  <a:pt x="6096000" y="0"/>
                </a:lnTo>
                <a:lnTo>
                  <a:pt x="6096000" y="4691651"/>
                </a:lnTo>
                <a:lnTo>
                  <a:pt x="6070472" y="4718596"/>
                </a:lnTo>
                <a:cubicBezTo>
                  <a:pt x="5426962" y="5335925"/>
                  <a:pt x="4537962" y="5717750"/>
                  <a:pt x="3556000" y="5717750"/>
                </a:cubicBezTo>
                <a:cubicBezTo>
                  <a:pt x="1592075" y="5717750"/>
                  <a:pt x="0" y="4190448"/>
                  <a:pt x="0" y="2306425"/>
                </a:cubicBezTo>
                <a:cubicBezTo>
                  <a:pt x="0" y="1482165"/>
                  <a:pt x="304733" y="726184"/>
                  <a:pt x="812017" y="136505"/>
                </a:cubicBezTo>
                <a:lnTo>
                  <a:pt x="941343" y="0"/>
                </a:lnTo>
                <a:close/>
              </a:path>
            </a:pathLst>
          </a:custGeom>
          <a:blipFill dpi="0" rotWithShape="1">
            <a:blip r:embed="rId3">
              <a:grayscl/>
            </a:blip>
            <a:srcRect/>
            <a:stretch>
              <a:fillRect l="-11000" t="-1000"/>
            </a:stretch>
          </a:blip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900361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D33F3AEA-B1D4-13F7-C010-53E4A378A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712" y="308295"/>
            <a:ext cx="11458575" cy="553998"/>
          </a:xfrm>
        </p:spPr>
        <p:txBody>
          <a:bodyPr vert="horz"/>
          <a:lstStyle/>
          <a:p>
            <a:pPr>
              <a:spcAft>
                <a:spcPct val="0"/>
              </a:spcAft>
            </a:pPr>
            <a:r>
              <a:rPr lang="nb-NO" sz="3200" dirty="0"/>
              <a:t>Flertallet av bedriftene har verken gjort endringer eller planlegger endringer i egen forretningsmodell på grunn av klimaendringer</a:t>
            </a:r>
            <a:br>
              <a:rPr lang="nb-NO" sz="3200" dirty="0"/>
            </a:br>
            <a:endParaRPr lang="nb-NO" sz="3200" dirty="0">
              <a:solidFill>
                <a:schemeClr val="tx1"/>
              </a:solidFill>
            </a:endParaRPr>
          </a:p>
        </p:txBody>
      </p:sp>
      <p:pic>
        <p:nvPicPr>
          <p:cNvPr id="5" name="logo_blaa">
            <a:extLst>
              <a:ext uri="{FF2B5EF4-FFF2-40B4-BE49-F238E27FC236}">
                <a16:creationId xmlns:a16="http://schemas.microsoft.com/office/drawing/2014/main" id="{0E0967EA-D400-EF23-DABA-9B7036651475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4" name="Grunt object c110f0161c4c36498c63a58f115783ea-svg">
            <a:extLst>
              <a:ext uri="{FF2B5EF4-FFF2-40B4-BE49-F238E27FC236}">
                <a16:creationId xmlns:a16="http://schemas.microsoft.com/office/drawing/2014/main" id="{3536FD6E-A4B3-D574-73B9-22685CC5C3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66750" y="2861945"/>
            <a:ext cx="3521076" cy="2834005"/>
          </a:xfrm>
          <a:prstGeom prst="rect">
            <a:avLst/>
          </a:prstGeom>
          <a:blipFill dpi="0"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Grunt object b59024c64e0e14991b25699b8cf5ecec-svg">
            <a:extLst>
              <a:ext uri="{FF2B5EF4-FFF2-40B4-BE49-F238E27FC236}">
                <a16:creationId xmlns:a16="http://schemas.microsoft.com/office/drawing/2014/main" id="{4E627454-1290-C199-3921-2BD8D9AC22A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466850" y="1926590"/>
            <a:ext cx="1409700" cy="342900"/>
          </a:xfrm>
          <a:prstGeom prst="rect">
            <a:avLst/>
          </a:prstGeom>
          <a:blipFill dpi="0" rotWithShape="1"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Grunt object 74949aff34d37ad4684250719cd1f843-svg">
            <a:extLst>
              <a:ext uri="{FF2B5EF4-FFF2-40B4-BE49-F238E27FC236}">
                <a16:creationId xmlns:a16="http://schemas.microsoft.com/office/drawing/2014/main" id="{974DCE5A-8877-174D-9CEE-C73FE29440C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460824" y="2421890"/>
            <a:ext cx="6759627" cy="3305175"/>
          </a:xfrm>
          <a:prstGeom prst="rect">
            <a:avLst/>
          </a:prstGeom>
          <a:blipFill dpi="0" rotWithShape="1"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Grunt object 5b05b33c568c1b1110e0b6d5ea7e6b84-svg">
            <a:extLst>
              <a:ext uri="{FF2B5EF4-FFF2-40B4-BE49-F238E27FC236}">
                <a16:creationId xmlns:a16="http://schemas.microsoft.com/office/drawing/2014/main" id="{A109EACD-E60E-06DE-3526-79138618E68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921501" y="1926590"/>
            <a:ext cx="4572000" cy="320675"/>
          </a:xfrm>
          <a:prstGeom prst="rect">
            <a:avLst/>
          </a:prstGeom>
          <a:blipFill dpi="0" rotWithShape="1"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Plassholder for bunntekst 3">
            <a:extLst>
              <a:ext uri="{FF2B5EF4-FFF2-40B4-BE49-F238E27FC236}">
                <a16:creationId xmlns:a16="http://schemas.microsoft.com/office/drawing/2014/main" id="{3B5AF3B6-B7CD-CBD3-57F7-E34E120366A8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480120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D33F3AEA-B1D4-13F7-C010-53E4A378A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495" y="211177"/>
            <a:ext cx="5580068" cy="553998"/>
          </a:xfrm>
        </p:spPr>
        <p:txBody>
          <a:bodyPr vert="horz"/>
          <a:lstStyle/>
          <a:p>
            <a:pPr>
              <a:spcAft>
                <a:spcPct val="0"/>
              </a:spcAft>
            </a:pPr>
            <a:r>
              <a:rPr lang="nb-NO" sz="2800" b="1" dirty="0">
                <a:solidFill>
                  <a:schemeClr val="accent2"/>
                </a:solidFill>
              </a:rPr>
              <a:t>Etterspørsel og konkurransekraft </a:t>
            </a:r>
            <a:r>
              <a:rPr lang="nb-NO" sz="2800" dirty="0">
                <a:solidFill>
                  <a:schemeClr val="accent2"/>
                </a:solidFill>
              </a:rPr>
              <a:t>er den viktigste</a:t>
            </a:r>
            <a:r>
              <a:rPr lang="nb-NO" sz="2800" b="1" dirty="0">
                <a:solidFill>
                  <a:schemeClr val="accent2"/>
                </a:solidFill>
              </a:rPr>
              <a:t> </a:t>
            </a:r>
            <a:r>
              <a:rPr lang="nb-NO" sz="2800" b="1" dirty="0">
                <a:solidFill>
                  <a:srgbClr val="00B050"/>
                </a:solidFill>
              </a:rPr>
              <a:t>driveren</a:t>
            </a:r>
            <a:r>
              <a:rPr lang="nb-NO" sz="2800" dirty="0">
                <a:solidFill>
                  <a:schemeClr val="accent2"/>
                </a:solidFill>
              </a:rPr>
              <a:t> for grønn omstilling i bedriftene</a:t>
            </a:r>
          </a:p>
        </p:txBody>
      </p:sp>
      <p:pic>
        <p:nvPicPr>
          <p:cNvPr id="5" name="logo_blaa">
            <a:extLst>
              <a:ext uri="{FF2B5EF4-FFF2-40B4-BE49-F238E27FC236}">
                <a16:creationId xmlns:a16="http://schemas.microsoft.com/office/drawing/2014/main" id="{0E0967EA-D400-EF23-DABA-9B7036651475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4" name="Grunt object 1b2a46ca0aed451eff8f8cf98948410b-svg">
            <a:extLst>
              <a:ext uri="{FF2B5EF4-FFF2-40B4-BE49-F238E27FC236}">
                <a16:creationId xmlns:a16="http://schemas.microsoft.com/office/drawing/2014/main" id="{3536FD6E-A4B3-D574-73B9-22685CC5C3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77495" y="1679575"/>
            <a:ext cx="4998314" cy="4413250"/>
          </a:xfrm>
          <a:prstGeom prst="rect">
            <a:avLst/>
          </a:prstGeom>
          <a:blipFill dpi="0"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Grunt object 7b714afa619c772ff586116916ca68a5-svg">
            <a:extLst>
              <a:ext uri="{FF2B5EF4-FFF2-40B4-BE49-F238E27FC236}">
                <a16:creationId xmlns:a16="http://schemas.microsoft.com/office/drawing/2014/main" id="{354085D9-862D-6D92-8724-129BD2F55F3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025901" y="3225800"/>
            <a:ext cx="1270000" cy="622300"/>
          </a:xfrm>
          <a:prstGeom prst="rect">
            <a:avLst/>
          </a:prstGeom>
          <a:blipFill dpi="0" rotWithShape="1"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Tittel 1">
            <a:extLst>
              <a:ext uri="{FF2B5EF4-FFF2-40B4-BE49-F238E27FC236}">
                <a16:creationId xmlns:a16="http://schemas.microsoft.com/office/drawing/2014/main" id="{D5C6423D-24C2-B76D-58CD-3A5DE953FD62}"/>
              </a:ext>
            </a:extLst>
          </p:cNvPr>
          <p:cNvSpPr txBox="1">
            <a:spLocks/>
          </p:cNvSpPr>
          <p:nvPr/>
        </p:nvSpPr>
        <p:spPr>
          <a:xfrm>
            <a:off x="6096070" y="192581"/>
            <a:ext cx="5933435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ct val="0"/>
              </a:spcAft>
            </a:pPr>
            <a:r>
              <a:rPr lang="nb-NO" sz="2800" b="1" dirty="0">
                <a:solidFill>
                  <a:schemeClr val="accent2"/>
                </a:solidFill>
              </a:rPr>
              <a:t>Lønnsomhet</a:t>
            </a:r>
            <a:r>
              <a:rPr lang="nb-NO" sz="2800" dirty="0">
                <a:solidFill>
                  <a:schemeClr val="accent2"/>
                </a:solidFill>
              </a:rPr>
              <a:t> er den viktigste </a:t>
            </a:r>
            <a:r>
              <a:rPr lang="nb-NO" sz="2800" b="1" dirty="0">
                <a:solidFill>
                  <a:srgbClr val="C00000"/>
                </a:solidFill>
              </a:rPr>
              <a:t>barrieren</a:t>
            </a:r>
            <a:r>
              <a:rPr lang="nb-NO" sz="2800" dirty="0">
                <a:solidFill>
                  <a:schemeClr val="accent2"/>
                </a:solidFill>
              </a:rPr>
              <a:t> for grønn omstilling i bedriftene</a:t>
            </a:r>
          </a:p>
        </p:txBody>
      </p:sp>
      <p:sp>
        <p:nvSpPr>
          <p:cNvPr id="13" name="Grunt object 8d2c6f6ece49cd7b44d33c85dc004617-svg">
            <a:extLst>
              <a:ext uri="{FF2B5EF4-FFF2-40B4-BE49-F238E27FC236}">
                <a16:creationId xmlns:a16="http://schemas.microsoft.com/office/drawing/2014/main" id="{72FF30F3-3586-1258-4A6E-86428282215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324270" y="1679575"/>
            <a:ext cx="4996943" cy="4413250"/>
          </a:xfrm>
          <a:prstGeom prst="rect">
            <a:avLst/>
          </a:prstGeom>
          <a:blipFill dpi="0" rotWithShape="1"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Grunt object 02c592b12947e313e34fc1b255ad13ac-svg">
            <a:extLst>
              <a:ext uri="{FF2B5EF4-FFF2-40B4-BE49-F238E27FC236}">
                <a16:creationId xmlns:a16="http://schemas.microsoft.com/office/drawing/2014/main" id="{4065D69A-30CC-FE3C-FD34-CC0C2FD1470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0042526" y="3140075"/>
            <a:ext cx="790574" cy="622300"/>
          </a:xfrm>
          <a:prstGeom prst="rect">
            <a:avLst/>
          </a:prstGeom>
          <a:blipFill dpi="0" rotWithShape="1"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5" name="Rett linje 14">
            <a:extLst>
              <a:ext uri="{FF2B5EF4-FFF2-40B4-BE49-F238E27FC236}">
                <a16:creationId xmlns:a16="http://schemas.microsoft.com/office/drawing/2014/main" id="{FE7EC634-E573-7645-CEDA-738008E8AF10}"/>
              </a:ext>
            </a:extLst>
          </p:cNvPr>
          <p:cNvCxnSpPr>
            <a:cxnSpLocks/>
          </p:cNvCxnSpPr>
          <p:nvPr/>
        </p:nvCxnSpPr>
        <p:spPr>
          <a:xfrm>
            <a:off x="5994399" y="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lassholder for bunntekst 3">
            <a:extLst>
              <a:ext uri="{FF2B5EF4-FFF2-40B4-BE49-F238E27FC236}">
                <a16:creationId xmlns:a16="http://schemas.microsoft.com/office/drawing/2014/main" id="{B09D2A14-1173-8FB5-AD06-F453F0C082BB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20140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e 15">
            <a:extLst>
              <a:ext uri="{FF2B5EF4-FFF2-40B4-BE49-F238E27FC236}">
                <a16:creationId xmlns:a16="http://schemas.microsoft.com/office/drawing/2014/main" id="{E2D6B821-B177-4640-B41C-1374D0A8E93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97" r="21862"/>
          <a:stretch/>
        </p:blipFill>
        <p:spPr>
          <a:xfrm>
            <a:off x="545521" y="1044863"/>
            <a:ext cx="1975164" cy="133679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0" name="Bilde 29">
            <a:extLst>
              <a:ext uri="{FF2B5EF4-FFF2-40B4-BE49-F238E27FC236}">
                <a16:creationId xmlns:a16="http://schemas.microsoft.com/office/drawing/2014/main" id="{2BDA7D1C-7E47-4B10-8F0F-330F13679F2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69"/>
          <a:stretch/>
        </p:blipFill>
        <p:spPr>
          <a:xfrm>
            <a:off x="545523" y="2106403"/>
            <a:ext cx="1975161" cy="137251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2" name="Rektangel: avrundede hjørner 101">
            <a:extLst>
              <a:ext uri="{FF2B5EF4-FFF2-40B4-BE49-F238E27FC236}">
                <a16:creationId xmlns:a16="http://schemas.microsoft.com/office/drawing/2014/main" id="{A5CB2CC4-512F-EAAD-A8BC-8F84DACD3CEF}"/>
              </a:ext>
            </a:extLst>
          </p:cNvPr>
          <p:cNvSpPr/>
          <p:nvPr/>
        </p:nvSpPr>
        <p:spPr>
          <a:xfrm>
            <a:off x="1684389" y="2619374"/>
            <a:ext cx="661180" cy="312181"/>
          </a:xfrm>
          <a:prstGeom prst="roundRect">
            <a:avLst/>
          </a:prstGeom>
          <a:solidFill>
            <a:srgbClr val="FF000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74" name="Picture 4">
            <a:extLst>
              <a:ext uri="{FF2B5EF4-FFF2-40B4-BE49-F238E27FC236}">
                <a16:creationId xmlns:a16="http://schemas.microsoft.com/office/drawing/2014/main" id="{CB69AAB7-EDC6-73BA-A505-29F9C8E349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54846" y="3800773"/>
            <a:ext cx="1998936" cy="1214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16">
            <a:extLst>
              <a:ext uri="{FF2B5EF4-FFF2-40B4-BE49-F238E27FC236}">
                <a16:creationId xmlns:a16="http://schemas.microsoft.com/office/drawing/2014/main" id="{4F6A3184-BF10-0AC4-7604-4C9A6BF1F1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25642" y="3800773"/>
            <a:ext cx="1975163" cy="1369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8">
            <a:extLst>
              <a:ext uri="{FF2B5EF4-FFF2-40B4-BE49-F238E27FC236}">
                <a16:creationId xmlns:a16="http://schemas.microsoft.com/office/drawing/2014/main" id="{6CCBA612-0B9F-A6B0-6A2E-0648FF134F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76884" y="3811708"/>
            <a:ext cx="2015863" cy="1350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0">
            <a:extLst>
              <a:ext uri="{FF2B5EF4-FFF2-40B4-BE49-F238E27FC236}">
                <a16:creationId xmlns:a16="http://schemas.microsoft.com/office/drawing/2014/main" id="{1E719004-B1CC-811F-39B1-492506B561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119" r="47091" b="12536"/>
          <a:stretch/>
        </p:blipFill>
        <p:spPr bwMode="auto">
          <a:xfrm>
            <a:off x="2850060" y="3811708"/>
            <a:ext cx="1947345" cy="1203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6552E03E-A07C-94F9-8858-80ABD2A1B7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711" r="29128" b="17510"/>
          <a:stretch/>
        </p:blipFill>
        <p:spPr bwMode="auto">
          <a:xfrm>
            <a:off x="7386637" y="1030870"/>
            <a:ext cx="1954093" cy="1326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3D7C139F-1473-9931-C338-CAE7F47263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85" r="42570" b="17117"/>
          <a:stretch/>
        </p:blipFill>
        <p:spPr bwMode="auto">
          <a:xfrm>
            <a:off x="5086410" y="1030870"/>
            <a:ext cx="1991637" cy="1361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9E386925-BCB4-09D2-EA5C-69A7E643DC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945" r="23688"/>
          <a:stretch/>
        </p:blipFill>
        <p:spPr bwMode="auto">
          <a:xfrm>
            <a:off x="2838087" y="1044863"/>
            <a:ext cx="1977858" cy="1361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93DF4B60-558E-467A-809F-A8FA1006B7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93DF4B60-558E-467A-809F-A8FA1006B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ktangel 12" hidden="1">
            <a:extLst>
              <a:ext uri="{FF2B5EF4-FFF2-40B4-BE49-F238E27FC236}">
                <a16:creationId xmlns:a16="http://schemas.microsoft.com/office/drawing/2014/main" id="{89009246-DCFE-4301-AC3A-7742247FE8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pareBank 1 Title" panose="020B0500030000000000" pitchFamily="34" charset="0"/>
              <a:ea typeface="+mn-ea"/>
              <a:cs typeface="+mn-cs"/>
              <a:sym typeface="SpareBank 1 Title" panose="020B0500030000000000" pitchFamily="34" charset="0"/>
            </a:endParaRPr>
          </a:p>
        </p:txBody>
      </p:sp>
      <p:pic>
        <p:nvPicPr>
          <p:cNvPr id="19" name="Bilde 18">
            <a:extLst>
              <a:ext uri="{FF2B5EF4-FFF2-40B4-BE49-F238E27FC236}">
                <a16:creationId xmlns:a16="http://schemas.microsoft.com/office/drawing/2014/main" id="{C7A6952A-9498-4DBE-8B44-877D1010AFF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69"/>
          <a:stretch/>
        </p:blipFill>
        <p:spPr>
          <a:xfrm>
            <a:off x="7368870" y="2039499"/>
            <a:ext cx="1975163" cy="14236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Bilde 19">
            <a:extLst>
              <a:ext uri="{FF2B5EF4-FFF2-40B4-BE49-F238E27FC236}">
                <a16:creationId xmlns:a16="http://schemas.microsoft.com/office/drawing/2014/main" id="{C2B66C6B-2274-471A-80AD-52537CED8139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13" r="9496"/>
          <a:stretch/>
        </p:blipFill>
        <p:spPr>
          <a:xfrm>
            <a:off x="535995" y="3811708"/>
            <a:ext cx="1971933" cy="115412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8" name="Bilde 27">
            <a:extLst>
              <a:ext uri="{FF2B5EF4-FFF2-40B4-BE49-F238E27FC236}">
                <a16:creationId xmlns:a16="http://schemas.microsoft.com/office/drawing/2014/main" id="{CB9A8D40-B52D-41BF-8F2F-396AB1F3C9D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69"/>
          <a:stretch/>
        </p:blipFill>
        <p:spPr>
          <a:xfrm>
            <a:off x="5086410" y="2039498"/>
            <a:ext cx="1990029" cy="14236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9" name="Bilde 28">
            <a:extLst>
              <a:ext uri="{FF2B5EF4-FFF2-40B4-BE49-F238E27FC236}">
                <a16:creationId xmlns:a16="http://schemas.microsoft.com/office/drawing/2014/main" id="{765A5081-3BCC-426F-B47C-D987099EFCA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69"/>
          <a:stretch/>
        </p:blipFill>
        <p:spPr>
          <a:xfrm>
            <a:off x="2838088" y="2106402"/>
            <a:ext cx="1975163" cy="137251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1" name="TekstSylinder 30">
            <a:extLst>
              <a:ext uri="{FF2B5EF4-FFF2-40B4-BE49-F238E27FC236}">
                <a16:creationId xmlns:a16="http://schemas.microsoft.com/office/drawing/2014/main" id="{F241CA2B-7C52-49E4-9A11-A84C2F4472B8}"/>
              </a:ext>
            </a:extLst>
          </p:cNvPr>
          <p:cNvSpPr txBox="1"/>
          <p:nvPr/>
        </p:nvSpPr>
        <p:spPr>
          <a:xfrm>
            <a:off x="545807" y="2293574"/>
            <a:ext cx="197516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Varehandel</a:t>
            </a:r>
          </a:p>
        </p:txBody>
      </p:sp>
      <p:sp>
        <p:nvSpPr>
          <p:cNvPr id="53" name="TekstSylinder 52">
            <a:extLst>
              <a:ext uri="{FF2B5EF4-FFF2-40B4-BE49-F238E27FC236}">
                <a16:creationId xmlns:a16="http://schemas.microsoft.com/office/drawing/2014/main" id="{49B1FF48-A4AB-4EC6-9005-FE1C35025EF6}"/>
              </a:ext>
            </a:extLst>
          </p:cNvPr>
          <p:cNvSpPr txBox="1"/>
          <p:nvPr/>
        </p:nvSpPr>
        <p:spPr>
          <a:xfrm>
            <a:off x="2801443" y="2293574"/>
            <a:ext cx="201942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Bygg og anlegg</a:t>
            </a:r>
          </a:p>
        </p:txBody>
      </p:sp>
      <p:sp>
        <p:nvSpPr>
          <p:cNvPr id="65" name="TekstSylinder 64">
            <a:extLst>
              <a:ext uri="{FF2B5EF4-FFF2-40B4-BE49-F238E27FC236}">
                <a16:creationId xmlns:a16="http://schemas.microsoft.com/office/drawing/2014/main" id="{B1F595F0-D71C-4D6C-987F-B5748A7A2F85}"/>
              </a:ext>
            </a:extLst>
          </p:cNvPr>
          <p:cNvSpPr txBox="1"/>
          <p:nvPr/>
        </p:nvSpPr>
        <p:spPr>
          <a:xfrm>
            <a:off x="5067360" y="2293574"/>
            <a:ext cx="2005989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Fiskeri/Havbruk</a:t>
            </a:r>
          </a:p>
        </p:txBody>
      </p:sp>
      <p:sp>
        <p:nvSpPr>
          <p:cNvPr id="95" name="TekstSylinder 94">
            <a:extLst>
              <a:ext uri="{FF2B5EF4-FFF2-40B4-BE49-F238E27FC236}">
                <a16:creationId xmlns:a16="http://schemas.microsoft.com/office/drawing/2014/main" id="{3BCD1A04-9B44-46A7-9747-08EF773DB6F0}"/>
              </a:ext>
            </a:extLst>
          </p:cNvPr>
          <p:cNvSpPr txBox="1"/>
          <p:nvPr/>
        </p:nvSpPr>
        <p:spPr>
          <a:xfrm>
            <a:off x="7398996" y="2293574"/>
            <a:ext cx="19540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Næringseiendom</a:t>
            </a:r>
          </a:p>
        </p:txBody>
      </p:sp>
      <p:pic>
        <p:nvPicPr>
          <p:cNvPr id="36" name="Bilde 35">
            <a:extLst>
              <a:ext uri="{FF2B5EF4-FFF2-40B4-BE49-F238E27FC236}">
                <a16:creationId xmlns:a16="http://schemas.microsoft.com/office/drawing/2014/main" id="{0B353862-BBD7-DA9E-D14F-05FB840D417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69"/>
          <a:stretch/>
        </p:blipFill>
        <p:spPr>
          <a:xfrm>
            <a:off x="508178" y="4675306"/>
            <a:ext cx="2008295" cy="14119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7" name="TekstSylinder 36">
            <a:extLst>
              <a:ext uri="{FF2B5EF4-FFF2-40B4-BE49-F238E27FC236}">
                <a16:creationId xmlns:a16="http://schemas.microsoft.com/office/drawing/2014/main" id="{81EB0F1E-9A22-803B-ECA5-DB10A1DFF43F}"/>
              </a:ext>
            </a:extLst>
          </p:cNvPr>
          <p:cNvSpPr txBox="1"/>
          <p:nvPr/>
        </p:nvSpPr>
        <p:spPr>
          <a:xfrm>
            <a:off x="535523" y="4928416"/>
            <a:ext cx="197516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Landbruk</a:t>
            </a:r>
          </a:p>
        </p:txBody>
      </p:sp>
      <p:pic>
        <p:nvPicPr>
          <p:cNvPr id="44" name="Bilde 43">
            <a:extLst>
              <a:ext uri="{FF2B5EF4-FFF2-40B4-BE49-F238E27FC236}">
                <a16:creationId xmlns:a16="http://schemas.microsoft.com/office/drawing/2014/main" id="{CB33BDF4-F3C1-5CEC-A74E-D334161693D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69"/>
          <a:stretch/>
        </p:blipFill>
        <p:spPr>
          <a:xfrm>
            <a:off x="2822243" y="4675306"/>
            <a:ext cx="1975163" cy="14119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5" name="TekstSylinder 44">
            <a:extLst>
              <a:ext uri="{FF2B5EF4-FFF2-40B4-BE49-F238E27FC236}">
                <a16:creationId xmlns:a16="http://schemas.microsoft.com/office/drawing/2014/main" id="{601C6D69-1D29-B2A9-C41D-992F593B43DD}"/>
              </a:ext>
            </a:extLst>
          </p:cNvPr>
          <p:cNvSpPr txBox="1"/>
          <p:nvPr/>
        </p:nvSpPr>
        <p:spPr>
          <a:xfrm>
            <a:off x="2831012" y="4907314"/>
            <a:ext cx="197516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Industri</a:t>
            </a:r>
          </a:p>
        </p:txBody>
      </p:sp>
      <p:pic>
        <p:nvPicPr>
          <p:cNvPr id="52" name="Bilde 51">
            <a:extLst>
              <a:ext uri="{FF2B5EF4-FFF2-40B4-BE49-F238E27FC236}">
                <a16:creationId xmlns:a16="http://schemas.microsoft.com/office/drawing/2014/main" id="{F50776B4-6F5C-B8E2-3D98-25627038D16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69"/>
          <a:stretch/>
        </p:blipFill>
        <p:spPr>
          <a:xfrm>
            <a:off x="5110636" y="4675306"/>
            <a:ext cx="1975163" cy="14119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4" name="TekstSylinder 53">
            <a:extLst>
              <a:ext uri="{FF2B5EF4-FFF2-40B4-BE49-F238E27FC236}">
                <a16:creationId xmlns:a16="http://schemas.microsoft.com/office/drawing/2014/main" id="{1E66CA4F-85DA-CD8B-EC7C-FE89C901D987}"/>
              </a:ext>
            </a:extLst>
          </p:cNvPr>
          <p:cNvSpPr txBox="1"/>
          <p:nvPr/>
        </p:nvSpPr>
        <p:spPr>
          <a:xfrm>
            <a:off x="5147415" y="4815452"/>
            <a:ext cx="197516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Tjenesteyting/ kommunikasjon</a:t>
            </a:r>
          </a:p>
        </p:txBody>
      </p:sp>
      <p:pic>
        <p:nvPicPr>
          <p:cNvPr id="61" name="Bilde 60">
            <a:extLst>
              <a:ext uri="{FF2B5EF4-FFF2-40B4-BE49-F238E27FC236}">
                <a16:creationId xmlns:a16="http://schemas.microsoft.com/office/drawing/2014/main" id="{53526B7B-5341-E74E-26C2-A830757DFFC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69"/>
          <a:stretch/>
        </p:blipFill>
        <p:spPr>
          <a:xfrm>
            <a:off x="7341306" y="4675306"/>
            <a:ext cx="2009057" cy="14119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2" name="TekstSylinder 61">
            <a:extLst>
              <a:ext uri="{FF2B5EF4-FFF2-40B4-BE49-F238E27FC236}">
                <a16:creationId xmlns:a16="http://schemas.microsoft.com/office/drawing/2014/main" id="{A0E6A52D-3B3A-2232-61A2-6B4847BB6C80}"/>
              </a:ext>
            </a:extLst>
          </p:cNvPr>
          <p:cNvSpPr txBox="1"/>
          <p:nvPr/>
        </p:nvSpPr>
        <p:spPr>
          <a:xfrm>
            <a:off x="7309093" y="4937190"/>
            <a:ext cx="197516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Hotell/restaurant</a:t>
            </a:r>
          </a:p>
        </p:txBody>
      </p:sp>
      <p:pic>
        <p:nvPicPr>
          <p:cNvPr id="68" name="Bilde 67">
            <a:extLst>
              <a:ext uri="{FF2B5EF4-FFF2-40B4-BE49-F238E27FC236}">
                <a16:creationId xmlns:a16="http://schemas.microsoft.com/office/drawing/2014/main" id="{4BEB9FEB-BA4D-62D5-B5F0-2A86E435224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69"/>
          <a:stretch/>
        </p:blipFill>
        <p:spPr>
          <a:xfrm>
            <a:off x="9626114" y="4684080"/>
            <a:ext cx="1975163" cy="14119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9" name="TekstSylinder 68">
            <a:extLst>
              <a:ext uri="{FF2B5EF4-FFF2-40B4-BE49-F238E27FC236}">
                <a16:creationId xmlns:a16="http://schemas.microsoft.com/office/drawing/2014/main" id="{CA8099D2-AAA4-A02F-CC44-9FE9095A0545}"/>
              </a:ext>
            </a:extLst>
          </p:cNvPr>
          <p:cNvSpPr txBox="1"/>
          <p:nvPr/>
        </p:nvSpPr>
        <p:spPr>
          <a:xfrm>
            <a:off x="9616873" y="4937190"/>
            <a:ext cx="197516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Transport og lagring</a:t>
            </a:r>
          </a:p>
        </p:txBody>
      </p:sp>
      <p:sp>
        <p:nvSpPr>
          <p:cNvPr id="76" name="Tittel 1">
            <a:extLst>
              <a:ext uri="{FF2B5EF4-FFF2-40B4-BE49-F238E27FC236}">
                <a16:creationId xmlns:a16="http://schemas.microsoft.com/office/drawing/2014/main" id="{609DCF67-0706-86DE-E480-F22E60D25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848" y="129632"/>
            <a:ext cx="11534213" cy="457668"/>
          </a:xfrm>
        </p:spPr>
        <p:txBody>
          <a:bodyPr vert="horz"/>
          <a:lstStyle/>
          <a:p>
            <a:pPr>
              <a:spcAft>
                <a:spcPct val="0"/>
              </a:spcAft>
            </a:pPr>
            <a:r>
              <a:rPr lang="nb-NO" sz="3200" dirty="0"/>
              <a:t>Driverne og barrierene for grønn omstilling ser ut til å være «bransjeuavhengige» 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372AD301-20A5-6EC9-CC94-E0AB73F4EF49}"/>
              </a:ext>
            </a:extLst>
          </p:cNvPr>
          <p:cNvSpPr txBox="1"/>
          <p:nvPr/>
        </p:nvSpPr>
        <p:spPr>
          <a:xfrm>
            <a:off x="587493" y="3029697"/>
            <a:ext cx="10477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 dirty="0">
                <a:solidFill>
                  <a:schemeClr val="accent2"/>
                </a:solidFill>
              </a:rPr>
              <a:t>Konkurranse-kraft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C59191EE-5092-39AD-DD20-41FE20D6C0D9}"/>
              </a:ext>
            </a:extLst>
          </p:cNvPr>
          <p:cNvSpPr txBox="1"/>
          <p:nvPr/>
        </p:nvSpPr>
        <p:spPr>
          <a:xfrm>
            <a:off x="1521761" y="3034714"/>
            <a:ext cx="1025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 b="1" dirty="0">
                <a:solidFill>
                  <a:schemeClr val="accent2"/>
                </a:solidFill>
              </a:rPr>
              <a:t>Lønnsomhet/økonomi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58B639EF-70EE-FCDE-3309-CB102AD95D76}"/>
              </a:ext>
            </a:extLst>
          </p:cNvPr>
          <p:cNvSpPr txBox="1"/>
          <p:nvPr/>
        </p:nvSpPr>
        <p:spPr>
          <a:xfrm>
            <a:off x="1678991" y="2645032"/>
            <a:ext cx="70854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Viktigste barriere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2617CCA9-BC70-EDB2-E365-3F9417079BB1}"/>
              </a:ext>
            </a:extLst>
          </p:cNvPr>
          <p:cNvSpPr txBox="1"/>
          <p:nvPr/>
        </p:nvSpPr>
        <p:spPr>
          <a:xfrm>
            <a:off x="3799840" y="3029697"/>
            <a:ext cx="1025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 b="1" dirty="0">
                <a:solidFill>
                  <a:schemeClr val="accent2"/>
                </a:solidFill>
              </a:rPr>
              <a:t>Lønnsomhet/økonomi</a:t>
            </a:r>
          </a:p>
        </p:txBody>
      </p:sp>
      <p:sp>
        <p:nvSpPr>
          <p:cNvPr id="22" name="TekstSylinder 21">
            <a:extLst>
              <a:ext uri="{FF2B5EF4-FFF2-40B4-BE49-F238E27FC236}">
                <a16:creationId xmlns:a16="http://schemas.microsoft.com/office/drawing/2014/main" id="{ED38EFCC-DC39-D012-8BEF-D2078906F9E5}"/>
              </a:ext>
            </a:extLst>
          </p:cNvPr>
          <p:cNvSpPr txBox="1"/>
          <p:nvPr/>
        </p:nvSpPr>
        <p:spPr>
          <a:xfrm>
            <a:off x="3815109" y="5655394"/>
            <a:ext cx="1025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 dirty="0">
                <a:solidFill>
                  <a:schemeClr val="accent2"/>
                </a:solidFill>
              </a:rPr>
              <a:t>Lønnsomhet/økonomi</a:t>
            </a:r>
          </a:p>
        </p:txBody>
      </p:sp>
      <p:sp>
        <p:nvSpPr>
          <p:cNvPr id="33" name="TekstSylinder 32">
            <a:extLst>
              <a:ext uri="{FF2B5EF4-FFF2-40B4-BE49-F238E27FC236}">
                <a16:creationId xmlns:a16="http://schemas.microsoft.com/office/drawing/2014/main" id="{56750B3F-420F-DE8D-0424-F0EB2059A285}"/>
              </a:ext>
            </a:extLst>
          </p:cNvPr>
          <p:cNvSpPr txBox="1"/>
          <p:nvPr/>
        </p:nvSpPr>
        <p:spPr>
          <a:xfrm>
            <a:off x="6070864" y="5655394"/>
            <a:ext cx="1025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 dirty="0">
                <a:solidFill>
                  <a:schemeClr val="accent2"/>
                </a:solidFill>
              </a:rPr>
              <a:t>Lønnsomhet/økonomi</a:t>
            </a:r>
          </a:p>
        </p:txBody>
      </p:sp>
      <p:sp>
        <p:nvSpPr>
          <p:cNvPr id="41" name="TekstSylinder 40">
            <a:extLst>
              <a:ext uri="{FF2B5EF4-FFF2-40B4-BE49-F238E27FC236}">
                <a16:creationId xmlns:a16="http://schemas.microsoft.com/office/drawing/2014/main" id="{E69F0437-B7B4-1A4F-92C4-D3767A6B927E}"/>
              </a:ext>
            </a:extLst>
          </p:cNvPr>
          <p:cNvSpPr txBox="1"/>
          <p:nvPr/>
        </p:nvSpPr>
        <p:spPr>
          <a:xfrm>
            <a:off x="8411592" y="5655394"/>
            <a:ext cx="1025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 dirty="0">
                <a:solidFill>
                  <a:schemeClr val="accent2"/>
                </a:solidFill>
              </a:rPr>
              <a:t>Lønnsomhet/økonomi</a:t>
            </a:r>
          </a:p>
        </p:txBody>
      </p:sp>
      <p:sp>
        <p:nvSpPr>
          <p:cNvPr id="42" name="TekstSylinder 41">
            <a:extLst>
              <a:ext uri="{FF2B5EF4-FFF2-40B4-BE49-F238E27FC236}">
                <a16:creationId xmlns:a16="http://schemas.microsoft.com/office/drawing/2014/main" id="{DC9D0D77-A723-BBE0-9E94-7A2731DB5AF5}"/>
              </a:ext>
            </a:extLst>
          </p:cNvPr>
          <p:cNvSpPr txBox="1"/>
          <p:nvPr/>
        </p:nvSpPr>
        <p:spPr>
          <a:xfrm>
            <a:off x="5057154" y="3034714"/>
            <a:ext cx="1133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 b="1" dirty="0">
                <a:solidFill>
                  <a:schemeClr val="accent2"/>
                </a:solidFill>
              </a:rPr>
              <a:t>Krav fra myndigheter</a:t>
            </a:r>
          </a:p>
        </p:txBody>
      </p:sp>
      <p:sp>
        <p:nvSpPr>
          <p:cNvPr id="46" name="TekstSylinder 45">
            <a:extLst>
              <a:ext uri="{FF2B5EF4-FFF2-40B4-BE49-F238E27FC236}">
                <a16:creationId xmlns:a16="http://schemas.microsoft.com/office/drawing/2014/main" id="{0F337C0A-6088-38C5-6A13-A812784AA9C2}"/>
              </a:ext>
            </a:extLst>
          </p:cNvPr>
          <p:cNvSpPr txBox="1"/>
          <p:nvPr/>
        </p:nvSpPr>
        <p:spPr>
          <a:xfrm>
            <a:off x="6125464" y="3034714"/>
            <a:ext cx="1025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 b="1" dirty="0">
                <a:solidFill>
                  <a:schemeClr val="accent2"/>
                </a:solidFill>
              </a:rPr>
              <a:t>Lønnsomhet/økonomi</a:t>
            </a:r>
          </a:p>
        </p:txBody>
      </p:sp>
      <p:sp>
        <p:nvSpPr>
          <p:cNvPr id="55" name="TekstSylinder 54">
            <a:extLst>
              <a:ext uri="{FF2B5EF4-FFF2-40B4-BE49-F238E27FC236}">
                <a16:creationId xmlns:a16="http://schemas.microsoft.com/office/drawing/2014/main" id="{D5A6AA52-553E-5793-C98F-77E8D8C094C8}"/>
              </a:ext>
            </a:extLst>
          </p:cNvPr>
          <p:cNvSpPr txBox="1"/>
          <p:nvPr/>
        </p:nvSpPr>
        <p:spPr>
          <a:xfrm>
            <a:off x="8367311" y="3029697"/>
            <a:ext cx="1025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 b="1" dirty="0">
                <a:solidFill>
                  <a:schemeClr val="accent2"/>
                </a:solidFill>
              </a:rPr>
              <a:t>Lønnsomhet/økonomi</a:t>
            </a:r>
          </a:p>
        </p:txBody>
      </p:sp>
      <p:sp>
        <p:nvSpPr>
          <p:cNvPr id="63" name="TekstSylinder 62">
            <a:extLst>
              <a:ext uri="{FF2B5EF4-FFF2-40B4-BE49-F238E27FC236}">
                <a16:creationId xmlns:a16="http://schemas.microsoft.com/office/drawing/2014/main" id="{7834C4C8-5736-0B03-C676-FEFB7AB92111}"/>
              </a:ext>
            </a:extLst>
          </p:cNvPr>
          <p:cNvSpPr txBox="1"/>
          <p:nvPr/>
        </p:nvSpPr>
        <p:spPr>
          <a:xfrm>
            <a:off x="1459533" y="5655394"/>
            <a:ext cx="1025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 b="1" dirty="0">
                <a:solidFill>
                  <a:schemeClr val="accent2"/>
                </a:solidFill>
              </a:rPr>
              <a:t>Lønnsomhet/økonomi</a:t>
            </a:r>
          </a:p>
        </p:txBody>
      </p:sp>
      <p:sp>
        <p:nvSpPr>
          <p:cNvPr id="67" name="TekstSylinder 66">
            <a:extLst>
              <a:ext uri="{FF2B5EF4-FFF2-40B4-BE49-F238E27FC236}">
                <a16:creationId xmlns:a16="http://schemas.microsoft.com/office/drawing/2014/main" id="{144403C6-69AF-C8C6-7D64-30AF28207678}"/>
              </a:ext>
            </a:extLst>
          </p:cNvPr>
          <p:cNvSpPr txBox="1"/>
          <p:nvPr/>
        </p:nvSpPr>
        <p:spPr>
          <a:xfrm>
            <a:off x="466680" y="5655394"/>
            <a:ext cx="1025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 b="1" dirty="0">
                <a:solidFill>
                  <a:schemeClr val="accent2"/>
                </a:solidFill>
              </a:rPr>
              <a:t>Lønnsomhet/økonomi</a:t>
            </a:r>
          </a:p>
        </p:txBody>
      </p:sp>
      <p:sp>
        <p:nvSpPr>
          <p:cNvPr id="70" name="TekstSylinder 69">
            <a:extLst>
              <a:ext uri="{FF2B5EF4-FFF2-40B4-BE49-F238E27FC236}">
                <a16:creationId xmlns:a16="http://schemas.microsoft.com/office/drawing/2014/main" id="{45A16386-5228-272F-967A-50D32B4D2A28}"/>
              </a:ext>
            </a:extLst>
          </p:cNvPr>
          <p:cNvSpPr txBox="1"/>
          <p:nvPr/>
        </p:nvSpPr>
        <p:spPr>
          <a:xfrm>
            <a:off x="10627556" y="5655394"/>
            <a:ext cx="1025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 dirty="0">
                <a:solidFill>
                  <a:schemeClr val="accent2"/>
                </a:solidFill>
              </a:rPr>
              <a:t>Lønnsomhet/økonomi</a:t>
            </a:r>
          </a:p>
        </p:txBody>
      </p:sp>
      <p:sp>
        <p:nvSpPr>
          <p:cNvPr id="71" name="TekstSylinder 70">
            <a:extLst>
              <a:ext uri="{FF2B5EF4-FFF2-40B4-BE49-F238E27FC236}">
                <a16:creationId xmlns:a16="http://schemas.microsoft.com/office/drawing/2014/main" id="{8C5A84C3-B0B4-BFC7-53FE-9B21E08B173A}"/>
              </a:ext>
            </a:extLst>
          </p:cNvPr>
          <p:cNvSpPr txBox="1"/>
          <p:nvPr/>
        </p:nvSpPr>
        <p:spPr>
          <a:xfrm>
            <a:off x="9678231" y="5655394"/>
            <a:ext cx="1025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 dirty="0">
                <a:solidFill>
                  <a:schemeClr val="accent2"/>
                </a:solidFill>
              </a:rPr>
              <a:t>Etterspørsel fra kunder</a:t>
            </a:r>
          </a:p>
        </p:txBody>
      </p:sp>
      <p:pic>
        <p:nvPicPr>
          <p:cNvPr id="101" name="logo_blaa">
            <a:extLst>
              <a:ext uri="{FF2B5EF4-FFF2-40B4-BE49-F238E27FC236}">
                <a16:creationId xmlns:a16="http://schemas.microsoft.com/office/drawing/2014/main" id="{3261DBD3-7920-8D13-9011-E9A57DA0E775}"/>
              </a:ext>
            </a:extLst>
          </p:cNvPr>
          <p:cNvPicPr>
            <a:picLocks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105" name="Rektangel: avrundede hjørner 104">
            <a:extLst>
              <a:ext uri="{FF2B5EF4-FFF2-40B4-BE49-F238E27FC236}">
                <a16:creationId xmlns:a16="http://schemas.microsoft.com/office/drawing/2014/main" id="{C4D82376-5B3B-B2A0-A2DF-CCD4C62B1F2D}"/>
              </a:ext>
            </a:extLst>
          </p:cNvPr>
          <p:cNvSpPr/>
          <p:nvPr/>
        </p:nvSpPr>
        <p:spPr>
          <a:xfrm>
            <a:off x="694184" y="2619374"/>
            <a:ext cx="661180" cy="312181"/>
          </a:xfrm>
          <a:prstGeom prst="roundRect">
            <a:avLst/>
          </a:prstGeom>
          <a:solidFill>
            <a:srgbClr val="00B05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6" name="TekstSylinder 105">
            <a:extLst>
              <a:ext uri="{FF2B5EF4-FFF2-40B4-BE49-F238E27FC236}">
                <a16:creationId xmlns:a16="http://schemas.microsoft.com/office/drawing/2014/main" id="{5B1F5909-5B17-97D3-2F71-1BF4524DF4BF}"/>
              </a:ext>
            </a:extLst>
          </p:cNvPr>
          <p:cNvSpPr txBox="1"/>
          <p:nvPr/>
        </p:nvSpPr>
        <p:spPr>
          <a:xfrm>
            <a:off x="688786" y="2647820"/>
            <a:ext cx="70854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Viktigste driver</a:t>
            </a:r>
          </a:p>
        </p:txBody>
      </p:sp>
      <p:sp>
        <p:nvSpPr>
          <p:cNvPr id="107" name="Rektangel: avrundede hjørner 106">
            <a:extLst>
              <a:ext uri="{FF2B5EF4-FFF2-40B4-BE49-F238E27FC236}">
                <a16:creationId xmlns:a16="http://schemas.microsoft.com/office/drawing/2014/main" id="{5344AC6C-D567-8DB8-D902-573072D5BAFD}"/>
              </a:ext>
            </a:extLst>
          </p:cNvPr>
          <p:cNvSpPr/>
          <p:nvPr/>
        </p:nvSpPr>
        <p:spPr>
          <a:xfrm>
            <a:off x="3954827" y="2620821"/>
            <a:ext cx="661180" cy="312181"/>
          </a:xfrm>
          <a:prstGeom prst="roundRect">
            <a:avLst/>
          </a:prstGeom>
          <a:solidFill>
            <a:srgbClr val="FF000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8" name="TekstSylinder 107">
            <a:extLst>
              <a:ext uri="{FF2B5EF4-FFF2-40B4-BE49-F238E27FC236}">
                <a16:creationId xmlns:a16="http://schemas.microsoft.com/office/drawing/2014/main" id="{4674BC29-BEBF-D89D-E225-91A9AA445192}"/>
              </a:ext>
            </a:extLst>
          </p:cNvPr>
          <p:cNvSpPr txBox="1"/>
          <p:nvPr/>
        </p:nvSpPr>
        <p:spPr>
          <a:xfrm>
            <a:off x="3949429" y="2646479"/>
            <a:ext cx="70854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Viktigste barriere</a:t>
            </a:r>
          </a:p>
        </p:txBody>
      </p:sp>
      <p:sp>
        <p:nvSpPr>
          <p:cNvPr id="109" name="Rektangel: avrundede hjørner 108">
            <a:extLst>
              <a:ext uri="{FF2B5EF4-FFF2-40B4-BE49-F238E27FC236}">
                <a16:creationId xmlns:a16="http://schemas.microsoft.com/office/drawing/2014/main" id="{4B115C27-7033-B1AC-6286-A3CFF2801872}"/>
              </a:ext>
            </a:extLst>
          </p:cNvPr>
          <p:cNvSpPr/>
          <p:nvPr/>
        </p:nvSpPr>
        <p:spPr>
          <a:xfrm>
            <a:off x="2964622" y="2620821"/>
            <a:ext cx="661180" cy="312181"/>
          </a:xfrm>
          <a:prstGeom prst="roundRect">
            <a:avLst/>
          </a:prstGeom>
          <a:solidFill>
            <a:srgbClr val="00B05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0" name="TekstSylinder 109">
            <a:extLst>
              <a:ext uri="{FF2B5EF4-FFF2-40B4-BE49-F238E27FC236}">
                <a16:creationId xmlns:a16="http://schemas.microsoft.com/office/drawing/2014/main" id="{E5CD2CEC-5E11-0CA7-AAAD-7A865BBFDD3A}"/>
              </a:ext>
            </a:extLst>
          </p:cNvPr>
          <p:cNvSpPr txBox="1"/>
          <p:nvPr/>
        </p:nvSpPr>
        <p:spPr>
          <a:xfrm>
            <a:off x="2959224" y="2649267"/>
            <a:ext cx="70854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Viktigste driver</a:t>
            </a:r>
          </a:p>
        </p:txBody>
      </p:sp>
      <p:sp>
        <p:nvSpPr>
          <p:cNvPr id="111" name="Rektangel: avrundede hjørner 110">
            <a:extLst>
              <a:ext uri="{FF2B5EF4-FFF2-40B4-BE49-F238E27FC236}">
                <a16:creationId xmlns:a16="http://schemas.microsoft.com/office/drawing/2014/main" id="{9C411E2F-7582-96B3-980A-D94813B5DF09}"/>
              </a:ext>
            </a:extLst>
          </p:cNvPr>
          <p:cNvSpPr/>
          <p:nvPr/>
        </p:nvSpPr>
        <p:spPr>
          <a:xfrm>
            <a:off x="6239487" y="2620226"/>
            <a:ext cx="661180" cy="312181"/>
          </a:xfrm>
          <a:prstGeom prst="roundRect">
            <a:avLst/>
          </a:prstGeom>
          <a:solidFill>
            <a:srgbClr val="FF000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2" name="TekstSylinder 111">
            <a:extLst>
              <a:ext uri="{FF2B5EF4-FFF2-40B4-BE49-F238E27FC236}">
                <a16:creationId xmlns:a16="http://schemas.microsoft.com/office/drawing/2014/main" id="{092AE0F3-6272-04A9-1E16-3BD21414D082}"/>
              </a:ext>
            </a:extLst>
          </p:cNvPr>
          <p:cNvSpPr txBox="1"/>
          <p:nvPr/>
        </p:nvSpPr>
        <p:spPr>
          <a:xfrm>
            <a:off x="6234089" y="2645884"/>
            <a:ext cx="70854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Viktigste barriere</a:t>
            </a:r>
          </a:p>
        </p:txBody>
      </p:sp>
      <p:sp>
        <p:nvSpPr>
          <p:cNvPr id="113" name="Rektangel: avrundede hjørner 112">
            <a:extLst>
              <a:ext uri="{FF2B5EF4-FFF2-40B4-BE49-F238E27FC236}">
                <a16:creationId xmlns:a16="http://schemas.microsoft.com/office/drawing/2014/main" id="{414996C4-9C67-6C91-5FBB-08E1FDFDA8F6}"/>
              </a:ext>
            </a:extLst>
          </p:cNvPr>
          <p:cNvSpPr/>
          <p:nvPr/>
        </p:nvSpPr>
        <p:spPr>
          <a:xfrm>
            <a:off x="5249282" y="2620226"/>
            <a:ext cx="661180" cy="312181"/>
          </a:xfrm>
          <a:prstGeom prst="roundRect">
            <a:avLst/>
          </a:prstGeom>
          <a:solidFill>
            <a:srgbClr val="00B05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4" name="TekstSylinder 113">
            <a:extLst>
              <a:ext uri="{FF2B5EF4-FFF2-40B4-BE49-F238E27FC236}">
                <a16:creationId xmlns:a16="http://schemas.microsoft.com/office/drawing/2014/main" id="{F5E218F5-7D92-F489-5E5B-7851C3E006E9}"/>
              </a:ext>
            </a:extLst>
          </p:cNvPr>
          <p:cNvSpPr txBox="1"/>
          <p:nvPr/>
        </p:nvSpPr>
        <p:spPr>
          <a:xfrm>
            <a:off x="5243884" y="2648672"/>
            <a:ext cx="70854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Viktigste driver</a:t>
            </a:r>
          </a:p>
        </p:txBody>
      </p:sp>
      <p:sp>
        <p:nvSpPr>
          <p:cNvPr id="115" name="Rektangel: avrundede hjørner 114">
            <a:extLst>
              <a:ext uri="{FF2B5EF4-FFF2-40B4-BE49-F238E27FC236}">
                <a16:creationId xmlns:a16="http://schemas.microsoft.com/office/drawing/2014/main" id="{BE6D546B-C699-E306-F5E6-F6965D622A41}"/>
              </a:ext>
            </a:extLst>
          </p:cNvPr>
          <p:cNvSpPr/>
          <p:nvPr/>
        </p:nvSpPr>
        <p:spPr>
          <a:xfrm>
            <a:off x="8524228" y="2647335"/>
            <a:ext cx="661180" cy="312181"/>
          </a:xfrm>
          <a:prstGeom prst="roundRect">
            <a:avLst/>
          </a:prstGeom>
          <a:solidFill>
            <a:srgbClr val="FF000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6" name="TekstSylinder 115">
            <a:extLst>
              <a:ext uri="{FF2B5EF4-FFF2-40B4-BE49-F238E27FC236}">
                <a16:creationId xmlns:a16="http://schemas.microsoft.com/office/drawing/2014/main" id="{4188B76E-5757-791C-4537-D73179B4199C}"/>
              </a:ext>
            </a:extLst>
          </p:cNvPr>
          <p:cNvSpPr txBox="1"/>
          <p:nvPr/>
        </p:nvSpPr>
        <p:spPr>
          <a:xfrm>
            <a:off x="8518830" y="2672993"/>
            <a:ext cx="70854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Viktigste barriere</a:t>
            </a:r>
          </a:p>
        </p:txBody>
      </p:sp>
      <p:sp>
        <p:nvSpPr>
          <p:cNvPr id="117" name="Rektangel: avrundede hjørner 116">
            <a:extLst>
              <a:ext uri="{FF2B5EF4-FFF2-40B4-BE49-F238E27FC236}">
                <a16:creationId xmlns:a16="http://schemas.microsoft.com/office/drawing/2014/main" id="{A265523E-C0C0-0602-3FFE-BAFB6D10A717}"/>
              </a:ext>
            </a:extLst>
          </p:cNvPr>
          <p:cNvSpPr/>
          <p:nvPr/>
        </p:nvSpPr>
        <p:spPr>
          <a:xfrm>
            <a:off x="7534023" y="2647335"/>
            <a:ext cx="661180" cy="312181"/>
          </a:xfrm>
          <a:prstGeom prst="roundRect">
            <a:avLst/>
          </a:prstGeom>
          <a:solidFill>
            <a:srgbClr val="00B05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8" name="TekstSylinder 117">
            <a:extLst>
              <a:ext uri="{FF2B5EF4-FFF2-40B4-BE49-F238E27FC236}">
                <a16:creationId xmlns:a16="http://schemas.microsoft.com/office/drawing/2014/main" id="{C10F0E57-3C70-18A0-7FE0-271BA9A22202}"/>
              </a:ext>
            </a:extLst>
          </p:cNvPr>
          <p:cNvSpPr txBox="1"/>
          <p:nvPr/>
        </p:nvSpPr>
        <p:spPr>
          <a:xfrm>
            <a:off x="7528625" y="2675781"/>
            <a:ext cx="70854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Viktigste driver</a:t>
            </a:r>
          </a:p>
        </p:txBody>
      </p:sp>
      <p:sp>
        <p:nvSpPr>
          <p:cNvPr id="119" name="Rektangel: avrundede hjørner 118">
            <a:extLst>
              <a:ext uri="{FF2B5EF4-FFF2-40B4-BE49-F238E27FC236}">
                <a16:creationId xmlns:a16="http://schemas.microsoft.com/office/drawing/2014/main" id="{A8092EAB-0871-BF20-5536-41193D97FAE0}"/>
              </a:ext>
            </a:extLst>
          </p:cNvPr>
          <p:cNvSpPr/>
          <p:nvPr/>
        </p:nvSpPr>
        <p:spPr>
          <a:xfrm>
            <a:off x="1640672" y="5190345"/>
            <a:ext cx="661180" cy="312181"/>
          </a:xfrm>
          <a:prstGeom prst="roundRect">
            <a:avLst/>
          </a:prstGeom>
          <a:solidFill>
            <a:srgbClr val="FF000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0" name="TekstSylinder 119">
            <a:extLst>
              <a:ext uri="{FF2B5EF4-FFF2-40B4-BE49-F238E27FC236}">
                <a16:creationId xmlns:a16="http://schemas.microsoft.com/office/drawing/2014/main" id="{B4813433-8FB2-8383-EADD-8D9EF3723372}"/>
              </a:ext>
            </a:extLst>
          </p:cNvPr>
          <p:cNvSpPr txBox="1"/>
          <p:nvPr/>
        </p:nvSpPr>
        <p:spPr>
          <a:xfrm>
            <a:off x="1635274" y="5216003"/>
            <a:ext cx="70854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Viktigste barriere</a:t>
            </a:r>
          </a:p>
        </p:txBody>
      </p:sp>
      <p:sp>
        <p:nvSpPr>
          <p:cNvPr id="121" name="Rektangel: avrundede hjørner 120">
            <a:extLst>
              <a:ext uri="{FF2B5EF4-FFF2-40B4-BE49-F238E27FC236}">
                <a16:creationId xmlns:a16="http://schemas.microsoft.com/office/drawing/2014/main" id="{64017A70-F8A3-F0D6-1C24-930979058F47}"/>
              </a:ext>
            </a:extLst>
          </p:cNvPr>
          <p:cNvSpPr/>
          <p:nvPr/>
        </p:nvSpPr>
        <p:spPr>
          <a:xfrm>
            <a:off x="650467" y="5190345"/>
            <a:ext cx="661180" cy="312181"/>
          </a:xfrm>
          <a:prstGeom prst="roundRect">
            <a:avLst/>
          </a:prstGeom>
          <a:solidFill>
            <a:srgbClr val="00B05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2" name="TekstSylinder 121">
            <a:extLst>
              <a:ext uri="{FF2B5EF4-FFF2-40B4-BE49-F238E27FC236}">
                <a16:creationId xmlns:a16="http://schemas.microsoft.com/office/drawing/2014/main" id="{2A9DB9E5-5F77-10F6-70CA-2833F2E138BC}"/>
              </a:ext>
            </a:extLst>
          </p:cNvPr>
          <p:cNvSpPr txBox="1"/>
          <p:nvPr/>
        </p:nvSpPr>
        <p:spPr>
          <a:xfrm>
            <a:off x="645069" y="5218791"/>
            <a:ext cx="70854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Viktigste driver</a:t>
            </a:r>
          </a:p>
        </p:txBody>
      </p:sp>
      <p:sp>
        <p:nvSpPr>
          <p:cNvPr id="123" name="Rektangel: avrundede hjørner 122">
            <a:extLst>
              <a:ext uri="{FF2B5EF4-FFF2-40B4-BE49-F238E27FC236}">
                <a16:creationId xmlns:a16="http://schemas.microsoft.com/office/drawing/2014/main" id="{B1D7CB55-C762-FB84-A29A-F5F58B8C31E4}"/>
              </a:ext>
            </a:extLst>
          </p:cNvPr>
          <p:cNvSpPr/>
          <p:nvPr/>
        </p:nvSpPr>
        <p:spPr>
          <a:xfrm>
            <a:off x="3911110" y="5191792"/>
            <a:ext cx="661180" cy="312181"/>
          </a:xfrm>
          <a:prstGeom prst="roundRect">
            <a:avLst/>
          </a:prstGeom>
          <a:solidFill>
            <a:srgbClr val="FF000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4" name="TekstSylinder 123">
            <a:extLst>
              <a:ext uri="{FF2B5EF4-FFF2-40B4-BE49-F238E27FC236}">
                <a16:creationId xmlns:a16="http://schemas.microsoft.com/office/drawing/2014/main" id="{1479747B-60E5-B422-255F-45E72241680B}"/>
              </a:ext>
            </a:extLst>
          </p:cNvPr>
          <p:cNvSpPr txBox="1"/>
          <p:nvPr/>
        </p:nvSpPr>
        <p:spPr>
          <a:xfrm>
            <a:off x="3905712" y="5217450"/>
            <a:ext cx="70854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Viktigste barriere</a:t>
            </a:r>
          </a:p>
        </p:txBody>
      </p:sp>
      <p:sp>
        <p:nvSpPr>
          <p:cNvPr id="125" name="Rektangel: avrundede hjørner 124">
            <a:extLst>
              <a:ext uri="{FF2B5EF4-FFF2-40B4-BE49-F238E27FC236}">
                <a16:creationId xmlns:a16="http://schemas.microsoft.com/office/drawing/2014/main" id="{AFDBDB58-4CD7-8B09-F8F4-A499C0545302}"/>
              </a:ext>
            </a:extLst>
          </p:cNvPr>
          <p:cNvSpPr/>
          <p:nvPr/>
        </p:nvSpPr>
        <p:spPr>
          <a:xfrm>
            <a:off x="2920905" y="5191792"/>
            <a:ext cx="661180" cy="312181"/>
          </a:xfrm>
          <a:prstGeom prst="roundRect">
            <a:avLst/>
          </a:prstGeom>
          <a:solidFill>
            <a:srgbClr val="00B05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6" name="TekstSylinder 125">
            <a:extLst>
              <a:ext uri="{FF2B5EF4-FFF2-40B4-BE49-F238E27FC236}">
                <a16:creationId xmlns:a16="http://schemas.microsoft.com/office/drawing/2014/main" id="{28CCF27B-6AC7-B475-85D3-E07B1F1ABE0A}"/>
              </a:ext>
            </a:extLst>
          </p:cNvPr>
          <p:cNvSpPr txBox="1"/>
          <p:nvPr/>
        </p:nvSpPr>
        <p:spPr>
          <a:xfrm>
            <a:off x="2915507" y="5220238"/>
            <a:ext cx="70854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Viktigste driver</a:t>
            </a:r>
          </a:p>
        </p:txBody>
      </p:sp>
      <p:sp>
        <p:nvSpPr>
          <p:cNvPr id="127" name="Rektangel: avrundede hjørner 126">
            <a:extLst>
              <a:ext uri="{FF2B5EF4-FFF2-40B4-BE49-F238E27FC236}">
                <a16:creationId xmlns:a16="http://schemas.microsoft.com/office/drawing/2014/main" id="{A5E6EBD2-3401-DA2F-AAF2-7E415F908898}"/>
              </a:ext>
            </a:extLst>
          </p:cNvPr>
          <p:cNvSpPr/>
          <p:nvPr/>
        </p:nvSpPr>
        <p:spPr>
          <a:xfrm>
            <a:off x="6195770" y="5191197"/>
            <a:ext cx="661180" cy="312181"/>
          </a:xfrm>
          <a:prstGeom prst="roundRect">
            <a:avLst/>
          </a:prstGeom>
          <a:solidFill>
            <a:srgbClr val="FF000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24" name="TekstSylinder 1023">
            <a:extLst>
              <a:ext uri="{FF2B5EF4-FFF2-40B4-BE49-F238E27FC236}">
                <a16:creationId xmlns:a16="http://schemas.microsoft.com/office/drawing/2014/main" id="{5181AC71-D83D-C0FF-DAB6-5CE20C88C4F5}"/>
              </a:ext>
            </a:extLst>
          </p:cNvPr>
          <p:cNvSpPr txBox="1"/>
          <p:nvPr/>
        </p:nvSpPr>
        <p:spPr>
          <a:xfrm>
            <a:off x="6190372" y="5216855"/>
            <a:ext cx="70854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Viktigste barriere</a:t>
            </a:r>
          </a:p>
        </p:txBody>
      </p:sp>
      <p:sp>
        <p:nvSpPr>
          <p:cNvPr id="1025" name="Rektangel: avrundede hjørner 1024">
            <a:extLst>
              <a:ext uri="{FF2B5EF4-FFF2-40B4-BE49-F238E27FC236}">
                <a16:creationId xmlns:a16="http://schemas.microsoft.com/office/drawing/2014/main" id="{C74798CB-F713-3F8A-013F-4B7A3C6EF3B6}"/>
              </a:ext>
            </a:extLst>
          </p:cNvPr>
          <p:cNvSpPr/>
          <p:nvPr/>
        </p:nvSpPr>
        <p:spPr>
          <a:xfrm>
            <a:off x="5205565" y="5191197"/>
            <a:ext cx="661180" cy="312181"/>
          </a:xfrm>
          <a:prstGeom prst="roundRect">
            <a:avLst/>
          </a:prstGeom>
          <a:solidFill>
            <a:srgbClr val="00B05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27" name="TekstSylinder 1026">
            <a:extLst>
              <a:ext uri="{FF2B5EF4-FFF2-40B4-BE49-F238E27FC236}">
                <a16:creationId xmlns:a16="http://schemas.microsoft.com/office/drawing/2014/main" id="{8A1B4E67-C47C-2A8E-4DFA-C101858BEE75}"/>
              </a:ext>
            </a:extLst>
          </p:cNvPr>
          <p:cNvSpPr txBox="1"/>
          <p:nvPr/>
        </p:nvSpPr>
        <p:spPr>
          <a:xfrm>
            <a:off x="5200167" y="5219643"/>
            <a:ext cx="70854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Viktigste driver</a:t>
            </a:r>
          </a:p>
        </p:txBody>
      </p:sp>
      <p:sp>
        <p:nvSpPr>
          <p:cNvPr id="1029" name="Rektangel: avrundede hjørner 1028">
            <a:extLst>
              <a:ext uri="{FF2B5EF4-FFF2-40B4-BE49-F238E27FC236}">
                <a16:creationId xmlns:a16="http://schemas.microsoft.com/office/drawing/2014/main" id="{D4503BC8-AAF4-D616-FF77-94EFCE7D5338}"/>
              </a:ext>
            </a:extLst>
          </p:cNvPr>
          <p:cNvSpPr/>
          <p:nvPr/>
        </p:nvSpPr>
        <p:spPr>
          <a:xfrm>
            <a:off x="8480511" y="5218306"/>
            <a:ext cx="661180" cy="312181"/>
          </a:xfrm>
          <a:prstGeom prst="roundRect">
            <a:avLst/>
          </a:prstGeom>
          <a:solidFill>
            <a:srgbClr val="FF000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31" name="TekstSylinder 1030">
            <a:extLst>
              <a:ext uri="{FF2B5EF4-FFF2-40B4-BE49-F238E27FC236}">
                <a16:creationId xmlns:a16="http://schemas.microsoft.com/office/drawing/2014/main" id="{07792CB4-5F3B-924B-593E-7001607D465F}"/>
              </a:ext>
            </a:extLst>
          </p:cNvPr>
          <p:cNvSpPr txBox="1"/>
          <p:nvPr/>
        </p:nvSpPr>
        <p:spPr>
          <a:xfrm>
            <a:off x="8475113" y="5243964"/>
            <a:ext cx="70854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Viktigste barriere</a:t>
            </a:r>
          </a:p>
        </p:txBody>
      </p:sp>
      <p:sp>
        <p:nvSpPr>
          <p:cNvPr id="1032" name="Rektangel: avrundede hjørner 1031">
            <a:extLst>
              <a:ext uri="{FF2B5EF4-FFF2-40B4-BE49-F238E27FC236}">
                <a16:creationId xmlns:a16="http://schemas.microsoft.com/office/drawing/2014/main" id="{E1715C86-A21E-5964-033D-B965DA65320C}"/>
              </a:ext>
            </a:extLst>
          </p:cNvPr>
          <p:cNvSpPr/>
          <p:nvPr/>
        </p:nvSpPr>
        <p:spPr>
          <a:xfrm>
            <a:off x="7490306" y="5218306"/>
            <a:ext cx="661180" cy="312181"/>
          </a:xfrm>
          <a:prstGeom prst="roundRect">
            <a:avLst/>
          </a:prstGeom>
          <a:solidFill>
            <a:srgbClr val="00B05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33" name="TekstSylinder 1032">
            <a:extLst>
              <a:ext uri="{FF2B5EF4-FFF2-40B4-BE49-F238E27FC236}">
                <a16:creationId xmlns:a16="http://schemas.microsoft.com/office/drawing/2014/main" id="{5AA351CA-A05A-910C-6927-B54AF2D562BD}"/>
              </a:ext>
            </a:extLst>
          </p:cNvPr>
          <p:cNvSpPr txBox="1"/>
          <p:nvPr/>
        </p:nvSpPr>
        <p:spPr>
          <a:xfrm>
            <a:off x="7484908" y="5246752"/>
            <a:ext cx="70854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Viktigste driver</a:t>
            </a:r>
          </a:p>
        </p:txBody>
      </p:sp>
      <p:sp>
        <p:nvSpPr>
          <p:cNvPr id="1036" name="Rektangel: avrundede hjørner 1035">
            <a:extLst>
              <a:ext uri="{FF2B5EF4-FFF2-40B4-BE49-F238E27FC236}">
                <a16:creationId xmlns:a16="http://schemas.microsoft.com/office/drawing/2014/main" id="{31777D95-3655-E375-E23E-656BB22688E4}"/>
              </a:ext>
            </a:extLst>
          </p:cNvPr>
          <p:cNvSpPr/>
          <p:nvPr/>
        </p:nvSpPr>
        <p:spPr>
          <a:xfrm>
            <a:off x="10778855" y="5218306"/>
            <a:ext cx="661180" cy="312181"/>
          </a:xfrm>
          <a:prstGeom prst="roundRect">
            <a:avLst/>
          </a:prstGeom>
          <a:solidFill>
            <a:srgbClr val="FF000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37" name="TekstSylinder 1036">
            <a:extLst>
              <a:ext uri="{FF2B5EF4-FFF2-40B4-BE49-F238E27FC236}">
                <a16:creationId xmlns:a16="http://schemas.microsoft.com/office/drawing/2014/main" id="{09EBFDB1-E1C8-389E-8FC0-1FFEEEF1F82E}"/>
              </a:ext>
            </a:extLst>
          </p:cNvPr>
          <p:cNvSpPr txBox="1"/>
          <p:nvPr/>
        </p:nvSpPr>
        <p:spPr>
          <a:xfrm>
            <a:off x="10773457" y="5243964"/>
            <a:ext cx="70854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Viktigste barriere</a:t>
            </a:r>
          </a:p>
        </p:txBody>
      </p:sp>
      <p:sp>
        <p:nvSpPr>
          <p:cNvPr id="1038" name="Rektangel: avrundede hjørner 1037">
            <a:extLst>
              <a:ext uri="{FF2B5EF4-FFF2-40B4-BE49-F238E27FC236}">
                <a16:creationId xmlns:a16="http://schemas.microsoft.com/office/drawing/2014/main" id="{16374517-E8D3-371D-D1DD-9CFD8D010305}"/>
              </a:ext>
            </a:extLst>
          </p:cNvPr>
          <p:cNvSpPr/>
          <p:nvPr/>
        </p:nvSpPr>
        <p:spPr>
          <a:xfrm>
            <a:off x="9788650" y="5218306"/>
            <a:ext cx="661180" cy="312181"/>
          </a:xfrm>
          <a:prstGeom prst="roundRect">
            <a:avLst/>
          </a:prstGeom>
          <a:solidFill>
            <a:srgbClr val="00B05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39" name="TekstSylinder 1038">
            <a:extLst>
              <a:ext uri="{FF2B5EF4-FFF2-40B4-BE49-F238E27FC236}">
                <a16:creationId xmlns:a16="http://schemas.microsoft.com/office/drawing/2014/main" id="{8A23CD50-879B-DFA4-2906-4D69131F29A5}"/>
              </a:ext>
            </a:extLst>
          </p:cNvPr>
          <p:cNvSpPr txBox="1"/>
          <p:nvPr/>
        </p:nvSpPr>
        <p:spPr>
          <a:xfrm>
            <a:off x="9783252" y="5246752"/>
            <a:ext cx="70854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Viktigste driver</a:t>
            </a:r>
          </a:p>
        </p:txBody>
      </p:sp>
      <p:sp>
        <p:nvSpPr>
          <p:cNvPr id="1040" name="TekstSylinder 1039">
            <a:extLst>
              <a:ext uri="{FF2B5EF4-FFF2-40B4-BE49-F238E27FC236}">
                <a16:creationId xmlns:a16="http://schemas.microsoft.com/office/drawing/2014/main" id="{0961E40F-62B1-218D-AB7D-0CB7F22F2B30}"/>
              </a:ext>
            </a:extLst>
          </p:cNvPr>
          <p:cNvSpPr txBox="1"/>
          <p:nvPr/>
        </p:nvSpPr>
        <p:spPr>
          <a:xfrm>
            <a:off x="2864717" y="3055355"/>
            <a:ext cx="10477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 dirty="0">
                <a:solidFill>
                  <a:schemeClr val="accent2"/>
                </a:solidFill>
              </a:rPr>
              <a:t>Konkurranse-kraft</a:t>
            </a:r>
          </a:p>
        </p:txBody>
      </p:sp>
      <p:sp>
        <p:nvSpPr>
          <p:cNvPr id="1041" name="TekstSylinder 1040">
            <a:extLst>
              <a:ext uri="{FF2B5EF4-FFF2-40B4-BE49-F238E27FC236}">
                <a16:creationId xmlns:a16="http://schemas.microsoft.com/office/drawing/2014/main" id="{9225FBB3-7495-8D45-6664-03B6B64B0CFF}"/>
              </a:ext>
            </a:extLst>
          </p:cNvPr>
          <p:cNvSpPr txBox="1"/>
          <p:nvPr/>
        </p:nvSpPr>
        <p:spPr>
          <a:xfrm>
            <a:off x="7422707" y="3028031"/>
            <a:ext cx="10477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 dirty="0">
                <a:solidFill>
                  <a:schemeClr val="accent2"/>
                </a:solidFill>
              </a:rPr>
              <a:t>Konkurranse-kraft</a:t>
            </a:r>
          </a:p>
        </p:txBody>
      </p:sp>
      <p:sp>
        <p:nvSpPr>
          <p:cNvPr id="1042" name="TekstSylinder 1041">
            <a:extLst>
              <a:ext uri="{FF2B5EF4-FFF2-40B4-BE49-F238E27FC236}">
                <a16:creationId xmlns:a16="http://schemas.microsoft.com/office/drawing/2014/main" id="{B035FBD3-8E10-B548-D069-5F570CE93805}"/>
              </a:ext>
            </a:extLst>
          </p:cNvPr>
          <p:cNvSpPr txBox="1"/>
          <p:nvPr/>
        </p:nvSpPr>
        <p:spPr>
          <a:xfrm>
            <a:off x="2864717" y="5655394"/>
            <a:ext cx="10477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 dirty="0">
                <a:solidFill>
                  <a:schemeClr val="accent2"/>
                </a:solidFill>
              </a:rPr>
              <a:t>Konkurranse-kraft</a:t>
            </a:r>
          </a:p>
        </p:txBody>
      </p:sp>
      <p:sp>
        <p:nvSpPr>
          <p:cNvPr id="1043" name="TekstSylinder 1042">
            <a:extLst>
              <a:ext uri="{FF2B5EF4-FFF2-40B4-BE49-F238E27FC236}">
                <a16:creationId xmlns:a16="http://schemas.microsoft.com/office/drawing/2014/main" id="{4B8FF4F0-9B60-20A7-AC4E-52FACDE6B727}"/>
              </a:ext>
            </a:extLst>
          </p:cNvPr>
          <p:cNvSpPr txBox="1"/>
          <p:nvPr/>
        </p:nvSpPr>
        <p:spPr>
          <a:xfrm>
            <a:off x="5181683" y="5665434"/>
            <a:ext cx="10477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 dirty="0">
                <a:solidFill>
                  <a:schemeClr val="accent2"/>
                </a:solidFill>
              </a:rPr>
              <a:t>Konkurranse-kraft</a:t>
            </a:r>
          </a:p>
        </p:txBody>
      </p:sp>
      <p:sp>
        <p:nvSpPr>
          <p:cNvPr id="1044" name="TekstSylinder 1043">
            <a:extLst>
              <a:ext uri="{FF2B5EF4-FFF2-40B4-BE49-F238E27FC236}">
                <a16:creationId xmlns:a16="http://schemas.microsoft.com/office/drawing/2014/main" id="{D0105BD7-8497-B778-DBBA-2181218292E1}"/>
              </a:ext>
            </a:extLst>
          </p:cNvPr>
          <p:cNvSpPr txBox="1"/>
          <p:nvPr/>
        </p:nvSpPr>
        <p:spPr>
          <a:xfrm>
            <a:off x="7390260" y="5655394"/>
            <a:ext cx="10961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 dirty="0">
                <a:solidFill>
                  <a:schemeClr val="accent2"/>
                </a:solidFill>
              </a:rPr>
              <a:t>Ansvarlig forretningsdrift</a:t>
            </a:r>
          </a:p>
        </p:txBody>
      </p:sp>
      <p:sp>
        <p:nvSpPr>
          <p:cNvPr id="1045" name="Plassholder for bunntekst 3">
            <a:extLst>
              <a:ext uri="{FF2B5EF4-FFF2-40B4-BE49-F238E27FC236}">
                <a16:creationId xmlns:a16="http://schemas.microsoft.com/office/drawing/2014/main" id="{D1ACCA2E-AA74-DFF6-4B0F-D5F82E9925FF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</p:spTree>
    <p:extLst>
      <p:ext uri="{BB962C8B-B14F-4D97-AF65-F5344CB8AC3E}">
        <p14:creationId xmlns:p14="http://schemas.microsoft.com/office/powerpoint/2010/main" val="24710089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e 3">
            <a:extLst>
              <a:ext uri="{FF2B5EF4-FFF2-40B4-BE49-F238E27FC236}">
                <a16:creationId xmlns:a16="http://schemas.microsoft.com/office/drawing/2014/main" id="{10018336-0C67-FC8B-AECD-16FA01977D45}"/>
              </a:ext>
            </a:extLst>
          </p:cNvPr>
          <p:cNvGrpSpPr/>
          <p:nvPr/>
        </p:nvGrpSpPr>
        <p:grpSpPr>
          <a:xfrm>
            <a:off x="-12690" y="5128950"/>
            <a:ext cx="12218699" cy="1729049"/>
            <a:chOff x="-12690" y="4559598"/>
            <a:chExt cx="12218699" cy="2298402"/>
          </a:xfrm>
        </p:grpSpPr>
        <p:sp>
          <p:nvSpPr>
            <p:cNvPr id="78" name="Frihåndsform: figur 77">
              <a:extLst>
                <a:ext uri="{FF2B5EF4-FFF2-40B4-BE49-F238E27FC236}">
                  <a16:creationId xmlns:a16="http://schemas.microsoft.com/office/drawing/2014/main" id="{28536BF1-B777-5FCA-B1EF-9676278FEEBA}"/>
                </a:ext>
              </a:extLst>
            </p:cNvPr>
            <p:cNvSpPr/>
            <p:nvPr/>
          </p:nvSpPr>
          <p:spPr>
            <a:xfrm>
              <a:off x="-9525" y="4559598"/>
              <a:ext cx="12215534" cy="2298402"/>
            </a:xfrm>
            <a:custGeom>
              <a:avLst/>
              <a:gdLst>
                <a:gd name="connsiteX0" fmla="*/ 2495268 w 12220098"/>
                <a:gd name="connsiteY0" fmla="*/ 433 h 1873333"/>
                <a:gd name="connsiteX1" fmla="*/ 6576260 w 12220098"/>
                <a:gd name="connsiteY1" fmla="*/ 372631 h 1873333"/>
                <a:gd name="connsiteX2" fmla="*/ 12220098 w 12220098"/>
                <a:gd name="connsiteY2" fmla="*/ 150289 h 1873333"/>
                <a:gd name="connsiteX3" fmla="*/ 12220098 w 12220098"/>
                <a:gd name="connsiteY3" fmla="*/ 1873333 h 1873333"/>
                <a:gd name="connsiteX4" fmla="*/ 0 w 12220098"/>
                <a:gd name="connsiteY4" fmla="*/ 1873333 h 1873333"/>
                <a:gd name="connsiteX5" fmla="*/ 0 w 12220098"/>
                <a:gd name="connsiteY5" fmla="*/ 623226 h 1873333"/>
                <a:gd name="connsiteX6" fmla="*/ 27775 w 12220098"/>
                <a:gd name="connsiteY6" fmla="*/ 614429 h 1873333"/>
                <a:gd name="connsiteX7" fmla="*/ 2027052 w 12220098"/>
                <a:gd name="connsiteY7" fmla="*/ 18916 h 1873333"/>
                <a:gd name="connsiteX8" fmla="*/ 2495268 w 12220098"/>
                <a:gd name="connsiteY8" fmla="*/ 433 h 1873333"/>
                <a:gd name="connsiteX0" fmla="*/ 2495268 w 12220098"/>
                <a:gd name="connsiteY0" fmla="*/ 185905 h 2058805"/>
                <a:gd name="connsiteX1" fmla="*/ 6576260 w 12220098"/>
                <a:gd name="connsiteY1" fmla="*/ 558103 h 2058805"/>
                <a:gd name="connsiteX2" fmla="*/ 12201048 w 12220098"/>
                <a:gd name="connsiteY2" fmla="*/ 78586 h 2058805"/>
                <a:gd name="connsiteX3" fmla="*/ 12220098 w 12220098"/>
                <a:gd name="connsiteY3" fmla="*/ 2058805 h 2058805"/>
                <a:gd name="connsiteX4" fmla="*/ 0 w 12220098"/>
                <a:gd name="connsiteY4" fmla="*/ 2058805 h 2058805"/>
                <a:gd name="connsiteX5" fmla="*/ 0 w 12220098"/>
                <a:gd name="connsiteY5" fmla="*/ 808698 h 2058805"/>
                <a:gd name="connsiteX6" fmla="*/ 27775 w 12220098"/>
                <a:gd name="connsiteY6" fmla="*/ 799901 h 2058805"/>
                <a:gd name="connsiteX7" fmla="*/ 2027052 w 12220098"/>
                <a:gd name="connsiteY7" fmla="*/ 204388 h 2058805"/>
                <a:gd name="connsiteX8" fmla="*/ 2495268 w 12220098"/>
                <a:gd name="connsiteY8" fmla="*/ 185905 h 2058805"/>
                <a:gd name="connsiteX0" fmla="*/ 2495268 w 12220098"/>
                <a:gd name="connsiteY0" fmla="*/ 107319 h 1980219"/>
                <a:gd name="connsiteX1" fmla="*/ 6576260 w 12220098"/>
                <a:gd name="connsiteY1" fmla="*/ 479517 h 1980219"/>
                <a:gd name="connsiteX2" fmla="*/ 12201048 w 12220098"/>
                <a:gd name="connsiteY2" fmla="*/ 0 h 1980219"/>
                <a:gd name="connsiteX3" fmla="*/ 12220098 w 12220098"/>
                <a:gd name="connsiteY3" fmla="*/ 1980219 h 1980219"/>
                <a:gd name="connsiteX4" fmla="*/ 0 w 12220098"/>
                <a:gd name="connsiteY4" fmla="*/ 1980219 h 1980219"/>
                <a:gd name="connsiteX5" fmla="*/ 0 w 12220098"/>
                <a:gd name="connsiteY5" fmla="*/ 730112 h 1980219"/>
                <a:gd name="connsiteX6" fmla="*/ 27775 w 12220098"/>
                <a:gd name="connsiteY6" fmla="*/ 721315 h 1980219"/>
                <a:gd name="connsiteX7" fmla="*/ 2027052 w 12220098"/>
                <a:gd name="connsiteY7" fmla="*/ 125802 h 1980219"/>
                <a:gd name="connsiteX8" fmla="*/ 2495268 w 12220098"/>
                <a:gd name="connsiteY8" fmla="*/ 107319 h 1980219"/>
                <a:gd name="connsiteX0" fmla="*/ 2495268 w 12220098"/>
                <a:gd name="connsiteY0" fmla="*/ 107319 h 1980219"/>
                <a:gd name="connsiteX1" fmla="*/ 7395410 w 12220098"/>
                <a:gd name="connsiteY1" fmla="*/ 670017 h 1980219"/>
                <a:gd name="connsiteX2" fmla="*/ 12201048 w 12220098"/>
                <a:gd name="connsiteY2" fmla="*/ 0 h 1980219"/>
                <a:gd name="connsiteX3" fmla="*/ 12220098 w 12220098"/>
                <a:gd name="connsiteY3" fmla="*/ 1980219 h 1980219"/>
                <a:gd name="connsiteX4" fmla="*/ 0 w 12220098"/>
                <a:gd name="connsiteY4" fmla="*/ 1980219 h 1980219"/>
                <a:gd name="connsiteX5" fmla="*/ 0 w 12220098"/>
                <a:gd name="connsiteY5" fmla="*/ 730112 h 1980219"/>
                <a:gd name="connsiteX6" fmla="*/ 27775 w 12220098"/>
                <a:gd name="connsiteY6" fmla="*/ 721315 h 1980219"/>
                <a:gd name="connsiteX7" fmla="*/ 2027052 w 12220098"/>
                <a:gd name="connsiteY7" fmla="*/ 125802 h 1980219"/>
                <a:gd name="connsiteX8" fmla="*/ 2495268 w 12220098"/>
                <a:gd name="connsiteY8" fmla="*/ 107319 h 1980219"/>
                <a:gd name="connsiteX0" fmla="*/ 2495268 w 12220098"/>
                <a:gd name="connsiteY0" fmla="*/ 107319 h 1980219"/>
                <a:gd name="connsiteX1" fmla="*/ 7376360 w 12220098"/>
                <a:gd name="connsiteY1" fmla="*/ 589634 h 1980219"/>
                <a:gd name="connsiteX2" fmla="*/ 12201048 w 12220098"/>
                <a:gd name="connsiteY2" fmla="*/ 0 h 1980219"/>
                <a:gd name="connsiteX3" fmla="*/ 12220098 w 12220098"/>
                <a:gd name="connsiteY3" fmla="*/ 1980219 h 1980219"/>
                <a:gd name="connsiteX4" fmla="*/ 0 w 12220098"/>
                <a:gd name="connsiteY4" fmla="*/ 1980219 h 1980219"/>
                <a:gd name="connsiteX5" fmla="*/ 0 w 12220098"/>
                <a:gd name="connsiteY5" fmla="*/ 730112 h 1980219"/>
                <a:gd name="connsiteX6" fmla="*/ 27775 w 12220098"/>
                <a:gd name="connsiteY6" fmla="*/ 721315 h 1980219"/>
                <a:gd name="connsiteX7" fmla="*/ 2027052 w 12220098"/>
                <a:gd name="connsiteY7" fmla="*/ 125802 h 1980219"/>
                <a:gd name="connsiteX8" fmla="*/ 2495268 w 12220098"/>
                <a:gd name="connsiteY8" fmla="*/ 107319 h 1980219"/>
                <a:gd name="connsiteX0" fmla="*/ 2495268 w 12220098"/>
                <a:gd name="connsiteY0" fmla="*/ 107319 h 1980219"/>
                <a:gd name="connsiteX1" fmla="*/ 7309685 w 12220098"/>
                <a:gd name="connsiteY1" fmla="*/ 741469 h 1980219"/>
                <a:gd name="connsiteX2" fmla="*/ 12201048 w 12220098"/>
                <a:gd name="connsiteY2" fmla="*/ 0 h 1980219"/>
                <a:gd name="connsiteX3" fmla="*/ 12220098 w 12220098"/>
                <a:gd name="connsiteY3" fmla="*/ 1980219 h 1980219"/>
                <a:gd name="connsiteX4" fmla="*/ 0 w 12220098"/>
                <a:gd name="connsiteY4" fmla="*/ 1980219 h 1980219"/>
                <a:gd name="connsiteX5" fmla="*/ 0 w 12220098"/>
                <a:gd name="connsiteY5" fmla="*/ 730112 h 1980219"/>
                <a:gd name="connsiteX6" fmla="*/ 27775 w 12220098"/>
                <a:gd name="connsiteY6" fmla="*/ 721315 h 1980219"/>
                <a:gd name="connsiteX7" fmla="*/ 2027052 w 12220098"/>
                <a:gd name="connsiteY7" fmla="*/ 125802 h 1980219"/>
                <a:gd name="connsiteX8" fmla="*/ 2495268 w 12220098"/>
                <a:gd name="connsiteY8" fmla="*/ 107319 h 1980219"/>
                <a:gd name="connsiteX0" fmla="*/ 2495268 w 12239148"/>
                <a:gd name="connsiteY0" fmla="*/ 116250 h 1989150"/>
                <a:gd name="connsiteX1" fmla="*/ 7309685 w 12239148"/>
                <a:gd name="connsiteY1" fmla="*/ 750400 h 1989150"/>
                <a:gd name="connsiteX2" fmla="*/ 12239148 w 12239148"/>
                <a:gd name="connsiteY2" fmla="*/ 0 h 1989150"/>
                <a:gd name="connsiteX3" fmla="*/ 12220098 w 12239148"/>
                <a:gd name="connsiteY3" fmla="*/ 1989150 h 1989150"/>
                <a:gd name="connsiteX4" fmla="*/ 0 w 12239148"/>
                <a:gd name="connsiteY4" fmla="*/ 1989150 h 1989150"/>
                <a:gd name="connsiteX5" fmla="*/ 0 w 12239148"/>
                <a:gd name="connsiteY5" fmla="*/ 739043 h 1989150"/>
                <a:gd name="connsiteX6" fmla="*/ 27775 w 12239148"/>
                <a:gd name="connsiteY6" fmla="*/ 730246 h 1989150"/>
                <a:gd name="connsiteX7" fmla="*/ 2027052 w 12239148"/>
                <a:gd name="connsiteY7" fmla="*/ 134733 h 1989150"/>
                <a:gd name="connsiteX8" fmla="*/ 2495268 w 12239148"/>
                <a:gd name="connsiteY8" fmla="*/ 116250 h 198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239148" h="1989150">
                  <a:moveTo>
                    <a:pt x="2495268" y="116250"/>
                  </a:moveTo>
                  <a:cubicBezTo>
                    <a:pt x="3632722" y="130927"/>
                    <a:pt x="5685705" y="769775"/>
                    <a:pt x="7309685" y="750400"/>
                  </a:cubicBezTo>
                  <a:cubicBezTo>
                    <a:pt x="8933665" y="731025"/>
                    <a:pt x="11912318" y="541846"/>
                    <a:pt x="12239148" y="0"/>
                  </a:cubicBezTo>
                  <a:lnTo>
                    <a:pt x="12220098" y="1989150"/>
                  </a:lnTo>
                  <a:lnTo>
                    <a:pt x="0" y="1989150"/>
                  </a:lnTo>
                  <a:lnTo>
                    <a:pt x="0" y="739043"/>
                  </a:lnTo>
                  <a:lnTo>
                    <a:pt x="27775" y="730246"/>
                  </a:lnTo>
                  <a:cubicBezTo>
                    <a:pt x="386492" y="604094"/>
                    <a:pt x="981136" y="240939"/>
                    <a:pt x="2027052" y="134733"/>
                  </a:cubicBezTo>
                  <a:cubicBezTo>
                    <a:pt x="2176469" y="119561"/>
                    <a:pt x="2332775" y="114153"/>
                    <a:pt x="2495268" y="11625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nb-NO"/>
            </a:p>
          </p:txBody>
        </p:sp>
        <p:sp>
          <p:nvSpPr>
            <p:cNvPr id="76" name="Frihåndsform: figur 75">
              <a:extLst>
                <a:ext uri="{FF2B5EF4-FFF2-40B4-BE49-F238E27FC236}">
                  <a16:creationId xmlns:a16="http://schemas.microsoft.com/office/drawing/2014/main" id="{0B1A7B92-4B36-CB11-4C1F-982685E49405}"/>
                </a:ext>
              </a:extLst>
            </p:cNvPr>
            <p:cNvSpPr/>
            <p:nvPr/>
          </p:nvSpPr>
          <p:spPr>
            <a:xfrm>
              <a:off x="-12690" y="4718033"/>
              <a:ext cx="12215534" cy="2139967"/>
            </a:xfrm>
            <a:custGeom>
              <a:avLst/>
              <a:gdLst>
                <a:gd name="connsiteX0" fmla="*/ 2495268 w 12220098"/>
                <a:gd name="connsiteY0" fmla="*/ 433 h 1873333"/>
                <a:gd name="connsiteX1" fmla="*/ 6576260 w 12220098"/>
                <a:gd name="connsiteY1" fmla="*/ 372631 h 1873333"/>
                <a:gd name="connsiteX2" fmla="*/ 12220098 w 12220098"/>
                <a:gd name="connsiteY2" fmla="*/ 150289 h 1873333"/>
                <a:gd name="connsiteX3" fmla="*/ 12220098 w 12220098"/>
                <a:gd name="connsiteY3" fmla="*/ 1873333 h 1873333"/>
                <a:gd name="connsiteX4" fmla="*/ 0 w 12220098"/>
                <a:gd name="connsiteY4" fmla="*/ 1873333 h 1873333"/>
                <a:gd name="connsiteX5" fmla="*/ 0 w 12220098"/>
                <a:gd name="connsiteY5" fmla="*/ 623226 h 1873333"/>
                <a:gd name="connsiteX6" fmla="*/ 27775 w 12220098"/>
                <a:gd name="connsiteY6" fmla="*/ 614429 h 1873333"/>
                <a:gd name="connsiteX7" fmla="*/ 2027052 w 12220098"/>
                <a:gd name="connsiteY7" fmla="*/ 18916 h 1873333"/>
                <a:gd name="connsiteX8" fmla="*/ 2495268 w 12220098"/>
                <a:gd name="connsiteY8" fmla="*/ 433 h 1873333"/>
                <a:gd name="connsiteX0" fmla="*/ 2495268 w 12220098"/>
                <a:gd name="connsiteY0" fmla="*/ 185905 h 2058805"/>
                <a:gd name="connsiteX1" fmla="*/ 6576260 w 12220098"/>
                <a:gd name="connsiteY1" fmla="*/ 558103 h 2058805"/>
                <a:gd name="connsiteX2" fmla="*/ 12201048 w 12220098"/>
                <a:gd name="connsiteY2" fmla="*/ 78586 h 2058805"/>
                <a:gd name="connsiteX3" fmla="*/ 12220098 w 12220098"/>
                <a:gd name="connsiteY3" fmla="*/ 2058805 h 2058805"/>
                <a:gd name="connsiteX4" fmla="*/ 0 w 12220098"/>
                <a:gd name="connsiteY4" fmla="*/ 2058805 h 2058805"/>
                <a:gd name="connsiteX5" fmla="*/ 0 w 12220098"/>
                <a:gd name="connsiteY5" fmla="*/ 808698 h 2058805"/>
                <a:gd name="connsiteX6" fmla="*/ 27775 w 12220098"/>
                <a:gd name="connsiteY6" fmla="*/ 799901 h 2058805"/>
                <a:gd name="connsiteX7" fmla="*/ 2027052 w 12220098"/>
                <a:gd name="connsiteY7" fmla="*/ 204388 h 2058805"/>
                <a:gd name="connsiteX8" fmla="*/ 2495268 w 12220098"/>
                <a:gd name="connsiteY8" fmla="*/ 185905 h 2058805"/>
                <a:gd name="connsiteX0" fmla="*/ 2495268 w 12220098"/>
                <a:gd name="connsiteY0" fmla="*/ 107319 h 1980219"/>
                <a:gd name="connsiteX1" fmla="*/ 6576260 w 12220098"/>
                <a:gd name="connsiteY1" fmla="*/ 479517 h 1980219"/>
                <a:gd name="connsiteX2" fmla="*/ 12201048 w 12220098"/>
                <a:gd name="connsiteY2" fmla="*/ 0 h 1980219"/>
                <a:gd name="connsiteX3" fmla="*/ 12220098 w 12220098"/>
                <a:gd name="connsiteY3" fmla="*/ 1980219 h 1980219"/>
                <a:gd name="connsiteX4" fmla="*/ 0 w 12220098"/>
                <a:gd name="connsiteY4" fmla="*/ 1980219 h 1980219"/>
                <a:gd name="connsiteX5" fmla="*/ 0 w 12220098"/>
                <a:gd name="connsiteY5" fmla="*/ 730112 h 1980219"/>
                <a:gd name="connsiteX6" fmla="*/ 27775 w 12220098"/>
                <a:gd name="connsiteY6" fmla="*/ 721315 h 1980219"/>
                <a:gd name="connsiteX7" fmla="*/ 2027052 w 12220098"/>
                <a:gd name="connsiteY7" fmla="*/ 125802 h 1980219"/>
                <a:gd name="connsiteX8" fmla="*/ 2495268 w 12220098"/>
                <a:gd name="connsiteY8" fmla="*/ 107319 h 1980219"/>
                <a:gd name="connsiteX0" fmla="*/ 2495268 w 12220098"/>
                <a:gd name="connsiteY0" fmla="*/ 107319 h 1980219"/>
                <a:gd name="connsiteX1" fmla="*/ 7395410 w 12220098"/>
                <a:gd name="connsiteY1" fmla="*/ 670017 h 1980219"/>
                <a:gd name="connsiteX2" fmla="*/ 12201048 w 12220098"/>
                <a:gd name="connsiteY2" fmla="*/ 0 h 1980219"/>
                <a:gd name="connsiteX3" fmla="*/ 12220098 w 12220098"/>
                <a:gd name="connsiteY3" fmla="*/ 1980219 h 1980219"/>
                <a:gd name="connsiteX4" fmla="*/ 0 w 12220098"/>
                <a:gd name="connsiteY4" fmla="*/ 1980219 h 1980219"/>
                <a:gd name="connsiteX5" fmla="*/ 0 w 12220098"/>
                <a:gd name="connsiteY5" fmla="*/ 730112 h 1980219"/>
                <a:gd name="connsiteX6" fmla="*/ 27775 w 12220098"/>
                <a:gd name="connsiteY6" fmla="*/ 721315 h 1980219"/>
                <a:gd name="connsiteX7" fmla="*/ 2027052 w 12220098"/>
                <a:gd name="connsiteY7" fmla="*/ 125802 h 1980219"/>
                <a:gd name="connsiteX8" fmla="*/ 2495268 w 12220098"/>
                <a:gd name="connsiteY8" fmla="*/ 107319 h 1980219"/>
                <a:gd name="connsiteX0" fmla="*/ 2495268 w 12220098"/>
                <a:gd name="connsiteY0" fmla="*/ 107319 h 1980219"/>
                <a:gd name="connsiteX1" fmla="*/ 7376360 w 12220098"/>
                <a:gd name="connsiteY1" fmla="*/ 589634 h 1980219"/>
                <a:gd name="connsiteX2" fmla="*/ 12201048 w 12220098"/>
                <a:gd name="connsiteY2" fmla="*/ 0 h 1980219"/>
                <a:gd name="connsiteX3" fmla="*/ 12220098 w 12220098"/>
                <a:gd name="connsiteY3" fmla="*/ 1980219 h 1980219"/>
                <a:gd name="connsiteX4" fmla="*/ 0 w 12220098"/>
                <a:gd name="connsiteY4" fmla="*/ 1980219 h 1980219"/>
                <a:gd name="connsiteX5" fmla="*/ 0 w 12220098"/>
                <a:gd name="connsiteY5" fmla="*/ 730112 h 1980219"/>
                <a:gd name="connsiteX6" fmla="*/ 27775 w 12220098"/>
                <a:gd name="connsiteY6" fmla="*/ 721315 h 1980219"/>
                <a:gd name="connsiteX7" fmla="*/ 2027052 w 12220098"/>
                <a:gd name="connsiteY7" fmla="*/ 125802 h 1980219"/>
                <a:gd name="connsiteX8" fmla="*/ 2495268 w 12220098"/>
                <a:gd name="connsiteY8" fmla="*/ 107319 h 1980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220098" h="1980219">
                  <a:moveTo>
                    <a:pt x="2495268" y="107319"/>
                  </a:moveTo>
                  <a:cubicBezTo>
                    <a:pt x="3632722" y="121996"/>
                    <a:pt x="5758730" y="607520"/>
                    <a:pt x="7376360" y="589634"/>
                  </a:cubicBezTo>
                  <a:cubicBezTo>
                    <a:pt x="8993990" y="571748"/>
                    <a:pt x="11874218" y="541846"/>
                    <a:pt x="12201048" y="0"/>
                  </a:cubicBezTo>
                  <a:lnTo>
                    <a:pt x="12220098" y="1980219"/>
                  </a:lnTo>
                  <a:lnTo>
                    <a:pt x="0" y="1980219"/>
                  </a:lnTo>
                  <a:lnTo>
                    <a:pt x="0" y="730112"/>
                  </a:lnTo>
                  <a:lnTo>
                    <a:pt x="27775" y="721315"/>
                  </a:lnTo>
                  <a:cubicBezTo>
                    <a:pt x="386492" y="595163"/>
                    <a:pt x="981136" y="232008"/>
                    <a:pt x="2027052" y="125802"/>
                  </a:cubicBezTo>
                  <a:cubicBezTo>
                    <a:pt x="2176469" y="110630"/>
                    <a:pt x="2332775" y="105222"/>
                    <a:pt x="2495268" y="107319"/>
                  </a:cubicBezTo>
                  <a:close/>
                </a:path>
              </a:pathLst>
            </a:cu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nb-NO"/>
            </a:p>
          </p:txBody>
        </p:sp>
      </p:grp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B69E870-C684-8DDD-E1D7-B27EC1F87B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B69E870-C684-8DDD-E1D7-B27EC1F87B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tel 5">
            <a:extLst>
              <a:ext uri="{FF2B5EF4-FFF2-40B4-BE49-F238E27FC236}">
                <a16:creationId xmlns:a16="http://schemas.microsoft.com/office/drawing/2014/main" id="{B946863A-D2A4-494E-94C7-ACF06F9D3F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607" y="328978"/>
            <a:ext cx="11775473" cy="553998"/>
          </a:xfrm>
        </p:spPr>
        <p:txBody>
          <a:bodyPr vert="horz"/>
          <a:lstStyle/>
          <a:p>
            <a:r>
              <a:rPr lang="nb-NO" sz="3200" dirty="0"/>
              <a:t>Tilbud og etterspørsel - En kommunikasjonsutfordring?</a:t>
            </a:r>
          </a:p>
        </p:txBody>
      </p:sp>
      <p:sp>
        <p:nvSpPr>
          <p:cNvPr id="2" name="Rektangel: avrundede hjørner 1">
            <a:extLst>
              <a:ext uri="{FF2B5EF4-FFF2-40B4-BE49-F238E27FC236}">
                <a16:creationId xmlns:a16="http://schemas.microsoft.com/office/drawing/2014/main" id="{F0C681F9-7284-DC0D-3E49-43938347DC26}"/>
              </a:ext>
            </a:extLst>
          </p:cNvPr>
          <p:cNvSpPr/>
          <p:nvPr/>
        </p:nvSpPr>
        <p:spPr>
          <a:xfrm>
            <a:off x="265441" y="1145683"/>
            <a:ext cx="2536236" cy="55399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b="1" dirty="0"/>
              <a:t>Befolkningen i regionen</a:t>
            </a:r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00FFBAA5-1A8C-695B-8CDC-27C135F4CA4A}"/>
              </a:ext>
            </a:extLst>
          </p:cNvPr>
          <p:cNvSpPr txBox="1"/>
          <p:nvPr/>
        </p:nvSpPr>
        <p:spPr>
          <a:xfrm>
            <a:off x="1117715" y="3885970"/>
            <a:ext cx="13800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tx2"/>
                </a:solidFill>
              </a:rPr>
              <a:t>44%</a:t>
            </a:r>
          </a:p>
        </p:txBody>
      </p:sp>
      <p:sp>
        <p:nvSpPr>
          <p:cNvPr id="31" name="Snakkeboble: rektangel med avrundede hjørner 30">
            <a:extLst>
              <a:ext uri="{FF2B5EF4-FFF2-40B4-BE49-F238E27FC236}">
                <a16:creationId xmlns:a16="http://schemas.microsoft.com/office/drawing/2014/main" id="{D92B2395-D1EC-5E3F-31D5-BEC89A17C959}"/>
              </a:ext>
            </a:extLst>
          </p:cNvPr>
          <p:cNvSpPr/>
          <p:nvPr/>
        </p:nvSpPr>
        <p:spPr>
          <a:xfrm>
            <a:off x="265441" y="1966919"/>
            <a:ext cx="2536235" cy="872066"/>
          </a:xfrm>
          <a:prstGeom prst="wedgeRoundRectCallout">
            <a:avLst>
              <a:gd name="adj1" fmla="val 4719"/>
              <a:gd name="adj2" fmla="val 9356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172788EF-BDE7-E920-0275-F4B48A096D73}"/>
              </a:ext>
            </a:extLst>
          </p:cNvPr>
          <p:cNvSpPr txBox="1"/>
          <p:nvPr/>
        </p:nvSpPr>
        <p:spPr>
          <a:xfrm>
            <a:off x="387758" y="2077750"/>
            <a:ext cx="218593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200" i="1" dirty="0">
                <a:solidFill>
                  <a:schemeClr val="bg1"/>
                </a:solidFill>
              </a:rPr>
              <a:t>Jeg er villig til å betale mer for produkter og tjenester som er bærekraftige</a:t>
            </a:r>
          </a:p>
        </p:txBody>
      </p:sp>
      <p:sp>
        <p:nvSpPr>
          <p:cNvPr id="33" name="Rektangel: avrundede hjørner 32">
            <a:extLst>
              <a:ext uri="{FF2B5EF4-FFF2-40B4-BE49-F238E27FC236}">
                <a16:creationId xmlns:a16="http://schemas.microsoft.com/office/drawing/2014/main" id="{2A587FC0-1CB2-C4BF-4B0A-EC49DE3A6CCE}"/>
              </a:ext>
            </a:extLst>
          </p:cNvPr>
          <p:cNvSpPr/>
          <p:nvPr/>
        </p:nvSpPr>
        <p:spPr>
          <a:xfrm>
            <a:off x="3426987" y="1145683"/>
            <a:ext cx="2336408" cy="553998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b="1" dirty="0"/>
              <a:t>Bedrifter i regionen</a:t>
            </a:r>
          </a:p>
        </p:txBody>
      </p:sp>
      <p:sp>
        <p:nvSpPr>
          <p:cNvPr id="36" name="TekstSylinder 35">
            <a:extLst>
              <a:ext uri="{FF2B5EF4-FFF2-40B4-BE49-F238E27FC236}">
                <a16:creationId xmlns:a16="http://schemas.microsoft.com/office/drawing/2014/main" id="{5D349CDE-0589-D7CD-A8D2-4D066F1EC9C0}"/>
              </a:ext>
            </a:extLst>
          </p:cNvPr>
          <p:cNvSpPr txBox="1"/>
          <p:nvPr/>
        </p:nvSpPr>
        <p:spPr>
          <a:xfrm>
            <a:off x="4193860" y="3885970"/>
            <a:ext cx="14800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2"/>
                </a:solidFill>
              </a:rPr>
              <a:t>40%</a:t>
            </a:r>
          </a:p>
        </p:txBody>
      </p:sp>
      <p:sp>
        <p:nvSpPr>
          <p:cNvPr id="37" name="Snakkeboble: rektangel med avrundede hjørner 36">
            <a:extLst>
              <a:ext uri="{FF2B5EF4-FFF2-40B4-BE49-F238E27FC236}">
                <a16:creationId xmlns:a16="http://schemas.microsoft.com/office/drawing/2014/main" id="{9688CD23-9F1A-4CD3-936F-A78D67780BE7}"/>
              </a:ext>
            </a:extLst>
          </p:cNvPr>
          <p:cNvSpPr/>
          <p:nvPr/>
        </p:nvSpPr>
        <p:spPr>
          <a:xfrm>
            <a:off x="3417084" y="1966919"/>
            <a:ext cx="2344072" cy="872066"/>
          </a:xfrm>
          <a:prstGeom prst="wedgeRoundRectCallout">
            <a:avLst>
              <a:gd name="adj1" fmla="val 6424"/>
              <a:gd name="adj2" fmla="val 104449"/>
              <a:gd name="adj3" fmla="val 16667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38" name="TekstSylinder 37">
            <a:extLst>
              <a:ext uri="{FF2B5EF4-FFF2-40B4-BE49-F238E27FC236}">
                <a16:creationId xmlns:a16="http://schemas.microsoft.com/office/drawing/2014/main" id="{1C9090F1-6BB3-1DE6-C6B1-8A31B7A83F55}"/>
              </a:ext>
            </a:extLst>
          </p:cNvPr>
          <p:cNvSpPr txBox="1"/>
          <p:nvPr/>
        </p:nvSpPr>
        <p:spPr>
          <a:xfrm>
            <a:off x="3481346" y="2047430"/>
            <a:ext cx="228720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200" i="1" dirty="0">
                <a:solidFill>
                  <a:schemeClr val="bg1"/>
                </a:solidFill>
              </a:rPr>
              <a:t>Bedriften tilbyr stor/svært stor grad av klimavennlige produkter og tjenester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BBC0AFEB-8055-72C0-8D55-B1067C33AC3D}"/>
              </a:ext>
            </a:extLst>
          </p:cNvPr>
          <p:cNvSpPr txBox="1"/>
          <p:nvPr/>
        </p:nvSpPr>
        <p:spPr>
          <a:xfrm>
            <a:off x="7303339" y="3885970"/>
            <a:ext cx="13800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tx2"/>
                </a:solidFill>
              </a:rPr>
              <a:t>48%</a:t>
            </a:r>
          </a:p>
        </p:txBody>
      </p:sp>
      <p:sp>
        <p:nvSpPr>
          <p:cNvPr id="15" name="Snakkeboble: rektangel med avrundede hjørner 14">
            <a:extLst>
              <a:ext uri="{FF2B5EF4-FFF2-40B4-BE49-F238E27FC236}">
                <a16:creationId xmlns:a16="http://schemas.microsoft.com/office/drawing/2014/main" id="{F1E1007A-AD3D-A1CD-10A4-0E3B4C0A88EA}"/>
              </a:ext>
            </a:extLst>
          </p:cNvPr>
          <p:cNvSpPr/>
          <p:nvPr/>
        </p:nvSpPr>
        <p:spPr>
          <a:xfrm>
            <a:off x="6454099" y="1966919"/>
            <a:ext cx="2432174" cy="872066"/>
          </a:xfrm>
          <a:prstGeom prst="wedgeRoundRectCallout">
            <a:avLst>
              <a:gd name="adj1" fmla="val 4719"/>
              <a:gd name="adj2" fmla="val 9356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C34A369A-2A64-E884-982A-C47B637A76C1}"/>
              </a:ext>
            </a:extLst>
          </p:cNvPr>
          <p:cNvSpPr txBox="1"/>
          <p:nvPr/>
        </p:nvSpPr>
        <p:spPr>
          <a:xfrm>
            <a:off x="6650202" y="2077750"/>
            <a:ext cx="213292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200" i="1" dirty="0">
                <a:solidFill>
                  <a:schemeClr val="bg1"/>
                </a:solidFill>
              </a:rPr>
              <a:t>Utvalget av bærekraftige varer og tjenester er for dårlig</a:t>
            </a: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7068AE9C-E387-7F0E-E4C0-49941FBDCB48}"/>
              </a:ext>
            </a:extLst>
          </p:cNvPr>
          <p:cNvSpPr txBox="1"/>
          <p:nvPr/>
        </p:nvSpPr>
        <p:spPr>
          <a:xfrm>
            <a:off x="7099886" y="3379148"/>
            <a:ext cx="213393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0" b="1" dirty="0"/>
              <a:t>HELT / LITT ENIG</a:t>
            </a:r>
          </a:p>
        </p:txBody>
      </p:sp>
      <p:sp>
        <p:nvSpPr>
          <p:cNvPr id="20" name="TekstSylinder 19">
            <a:extLst>
              <a:ext uri="{FF2B5EF4-FFF2-40B4-BE49-F238E27FC236}">
                <a16:creationId xmlns:a16="http://schemas.microsoft.com/office/drawing/2014/main" id="{2F14E695-E58E-BC79-14CD-733314DF2B56}"/>
              </a:ext>
            </a:extLst>
          </p:cNvPr>
          <p:cNvSpPr txBox="1"/>
          <p:nvPr/>
        </p:nvSpPr>
        <p:spPr>
          <a:xfrm>
            <a:off x="829596" y="3379148"/>
            <a:ext cx="197273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0" b="1" dirty="0"/>
              <a:t>HELT / LITT ENIG</a:t>
            </a:r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0CA0D70B-C09C-7D31-1CDF-C61F9A591FDB}"/>
              </a:ext>
            </a:extLst>
          </p:cNvPr>
          <p:cNvSpPr txBox="1"/>
          <p:nvPr/>
        </p:nvSpPr>
        <p:spPr>
          <a:xfrm>
            <a:off x="3743775" y="3379148"/>
            <a:ext cx="213393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0" b="1" dirty="0"/>
              <a:t>STOR / SVÆRT STOR GRAD</a:t>
            </a:r>
          </a:p>
        </p:txBody>
      </p:sp>
      <p:sp>
        <p:nvSpPr>
          <p:cNvPr id="34" name="Tittel 5">
            <a:extLst>
              <a:ext uri="{FF2B5EF4-FFF2-40B4-BE49-F238E27FC236}">
                <a16:creationId xmlns:a16="http://schemas.microsoft.com/office/drawing/2014/main" id="{D36B7F8D-DE00-14BD-4186-F671DF34DF68}"/>
              </a:ext>
            </a:extLst>
          </p:cNvPr>
          <p:cNvSpPr txBox="1">
            <a:spLocks/>
          </p:cNvSpPr>
          <p:nvPr/>
        </p:nvSpPr>
        <p:spPr>
          <a:xfrm>
            <a:off x="563630" y="5864614"/>
            <a:ext cx="2379040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nb-NO" sz="1200" dirty="0">
                <a:solidFill>
                  <a:schemeClr val="bg1"/>
                </a:solidFill>
                <a:latin typeface="+mn-lt"/>
              </a:rPr>
              <a:t>Befolkningen er villig til å betale mer for bærekraftige produkter og tjenester.</a:t>
            </a:r>
          </a:p>
        </p:txBody>
      </p:sp>
      <p:sp>
        <p:nvSpPr>
          <p:cNvPr id="41" name="TekstSylinder 40">
            <a:extLst>
              <a:ext uri="{FF2B5EF4-FFF2-40B4-BE49-F238E27FC236}">
                <a16:creationId xmlns:a16="http://schemas.microsoft.com/office/drawing/2014/main" id="{38F298E6-5AFC-1244-1174-510B0CFC2C6F}"/>
              </a:ext>
            </a:extLst>
          </p:cNvPr>
          <p:cNvSpPr txBox="1"/>
          <p:nvPr/>
        </p:nvSpPr>
        <p:spPr>
          <a:xfrm>
            <a:off x="3710771" y="5863136"/>
            <a:ext cx="2369564" cy="52322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457200" indent="-457200">
              <a:lnSpc>
                <a:spcPct val="100000"/>
              </a:lnSpc>
              <a:spcBef>
                <a:spcPct val="0"/>
              </a:spcBef>
              <a:buAutoNum type="arabicPeriod"/>
              <a:defRPr sz="1400">
                <a:solidFill>
                  <a:srgbClr val="00207D"/>
                </a:solidFill>
                <a:ea typeface="+mj-ea"/>
                <a:cs typeface="+mj-cs"/>
              </a:defRPr>
            </a:lvl1pPr>
          </a:lstStyle>
          <a:p>
            <a:pPr marL="0" indent="0">
              <a:buNone/>
            </a:pPr>
            <a:r>
              <a:rPr lang="nb-NO" sz="1200" dirty="0">
                <a:solidFill>
                  <a:schemeClr val="bg1"/>
                </a:solidFill>
              </a:rPr>
              <a:t>Bedrifter tilbyr i relativt stor grad bærekraftige produkter og tjenester</a:t>
            </a:r>
          </a:p>
        </p:txBody>
      </p:sp>
      <p:sp>
        <p:nvSpPr>
          <p:cNvPr id="43" name="TekstSylinder 42">
            <a:extLst>
              <a:ext uri="{FF2B5EF4-FFF2-40B4-BE49-F238E27FC236}">
                <a16:creationId xmlns:a16="http://schemas.microsoft.com/office/drawing/2014/main" id="{C9EDDE34-1829-36B5-8AB8-A44AD2384BB6}"/>
              </a:ext>
            </a:extLst>
          </p:cNvPr>
          <p:cNvSpPr txBox="1"/>
          <p:nvPr/>
        </p:nvSpPr>
        <p:spPr>
          <a:xfrm>
            <a:off x="6841692" y="5903755"/>
            <a:ext cx="2187909" cy="52322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ct val="0"/>
              </a:spcBef>
              <a:buNone/>
              <a:defRPr sz="1400">
                <a:solidFill>
                  <a:srgbClr val="00207D"/>
                </a:solidFill>
                <a:ea typeface="+mj-ea"/>
                <a:cs typeface="+mj-cs"/>
              </a:defRPr>
            </a:lvl1pPr>
          </a:lstStyle>
          <a:p>
            <a:r>
              <a:rPr lang="nb-NO" sz="1200" dirty="0">
                <a:solidFill>
                  <a:schemeClr val="bg1"/>
                </a:solidFill>
              </a:rPr>
              <a:t>Befolkningen opplever at utvalget av bærekraftige produkter er for dårlig</a:t>
            </a:r>
          </a:p>
        </p:txBody>
      </p:sp>
      <p:sp>
        <p:nvSpPr>
          <p:cNvPr id="44" name="TekstSylinder 43">
            <a:extLst>
              <a:ext uri="{FF2B5EF4-FFF2-40B4-BE49-F238E27FC236}">
                <a16:creationId xmlns:a16="http://schemas.microsoft.com/office/drawing/2014/main" id="{7C4FFB6D-277B-CA46-295E-2D5862213F88}"/>
              </a:ext>
            </a:extLst>
          </p:cNvPr>
          <p:cNvSpPr txBox="1"/>
          <p:nvPr/>
        </p:nvSpPr>
        <p:spPr>
          <a:xfrm>
            <a:off x="142069" y="5818281"/>
            <a:ext cx="5283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6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5" name="TekstSylinder 44">
            <a:extLst>
              <a:ext uri="{FF2B5EF4-FFF2-40B4-BE49-F238E27FC236}">
                <a16:creationId xmlns:a16="http://schemas.microsoft.com/office/drawing/2014/main" id="{FC9D09D1-DE4E-5B4D-2643-E5333E56DA6C}"/>
              </a:ext>
            </a:extLst>
          </p:cNvPr>
          <p:cNvSpPr txBox="1"/>
          <p:nvPr/>
        </p:nvSpPr>
        <p:spPr>
          <a:xfrm>
            <a:off x="3191388" y="5793136"/>
            <a:ext cx="6252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6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TekstSylinder 45">
            <a:extLst>
              <a:ext uri="{FF2B5EF4-FFF2-40B4-BE49-F238E27FC236}">
                <a16:creationId xmlns:a16="http://schemas.microsoft.com/office/drawing/2014/main" id="{9F92BCD0-C491-C775-34C0-0B06A034B7A9}"/>
              </a:ext>
            </a:extLst>
          </p:cNvPr>
          <p:cNvSpPr txBox="1"/>
          <p:nvPr/>
        </p:nvSpPr>
        <p:spPr>
          <a:xfrm>
            <a:off x="6300323" y="5823450"/>
            <a:ext cx="5942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600" b="1" dirty="0">
                <a:solidFill>
                  <a:schemeClr val="bg1"/>
                </a:solidFill>
              </a:rPr>
              <a:t>3</a:t>
            </a:r>
          </a:p>
        </p:txBody>
      </p:sp>
      <p:cxnSp>
        <p:nvCxnSpPr>
          <p:cNvPr id="48" name="Rett linje 47">
            <a:extLst>
              <a:ext uri="{FF2B5EF4-FFF2-40B4-BE49-F238E27FC236}">
                <a16:creationId xmlns:a16="http://schemas.microsoft.com/office/drawing/2014/main" id="{B7884C41-8ABE-4597-E270-6E28EE320497}"/>
              </a:ext>
            </a:extLst>
          </p:cNvPr>
          <p:cNvCxnSpPr>
            <a:cxnSpLocks/>
          </p:cNvCxnSpPr>
          <p:nvPr/>
        </p:nvCxnSpPr>
        <p:spPr>
          <a:xfrm>
            <a:off x="3122083" y="1496305"/>
            <a:ext cx="0" cy="537533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Rett linje 48">
            <a:extLst>
              <a:ext uri="{FF2B5EF4-FFF2-40B4-BE49-F238E27FC236}">
                <a16:creationId xmlns:a16="http://schemas.microsoft.com/office/drawing/2014/main" id="{85B25FA9-678F-91C4-A030-9C711FAE1A83}"/>
              </a:ext>
            </a:extLst>
          </p:cNvPr>
          <p:cNvCxnSpPr>
            <a:cxnSpLocks/>
          </p:cNvCxnSpPr>
          <p:nvPr/>
        </p:nvCxnSpPr>
        <p:spPr>
          <a:xfrm>
            <a:off x="6136655" y="1499021"/>
            <a:ext cx="0" cy="5372619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ktangel: avrundede hjørner 52">
            <a:extLst>
              <a:ext uri="{FF2B5EF4-FFF2-40B4-BE49-F238E27FC236}">
                <a16:creationId xmlns:a16="http://schemas.microsoft.com/office/drawing/2014/main" id="{2CD8685D-BF34-E798-DA63-8BDD0252B68E}"/>
              </a:ext>
            </a:extLst>
          </p:cNvPr>
          <p:cNvSpPr/>
          <p:nvPr/>
        </p:nvSpPr>
        <p:spPr>
          <a:xfrm>
            <a:off x="6454099" y="1145683"/>
            <a:ext cx="2432174" cy="55399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b="1" dirty="0"/>
              <a:t>Befolkningen i regionen</a:t>
            </a:r>
          </a:p>
        </p:txBody>
      </p:sp>
      <p:sp>
        <p:nvSpPr>
          <p:cNvPr id="54" name="Rektangel: avrundede hjørner 53">
            <a:extLst>
              <a:ext uri="{FF2B5EF4-FFF2-40B4-BE49-F238E27FC236}">
                <a16:creationId xmlns:a16="http://schemas.microsoft.com/office/drawing/2014/main" id="{9B7B1BA1-178A-4E9D-E10A-9C610E207F4A}"/>
              </a:ext>
            </a:extLst>
          </p:cNvPr>
          <p:cNvSpPr/>
          <p:nvPr/>
        </p:nvSpPr>
        <p:spPr>
          <a:xfrm>
            <a:off x="9503124" y="1145683"/>
            <a:ext cx="2395910" cy="553998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b="1" dirty="0"/>
              <a:t>Bedrifter i regionen</a:t>
            </a:r>
          </a:p>
        </p:txBody>
      </p:sp>
      <p:sp>
        <p:nvSpPr>
          <p:cNvPr id="57" name="Snakkeboble: rektangel med avrundede hjørner 56">
            <a:extLst>
              <a:ext uri="{FF2B5EF4-FFF2-40B4-BE49-F238E27FC236}">
                <a16:creationId xmlns:a16="http://schemas.microsoft.com/office/drawing/2014/main" id="{046AD23D-7F82-A5A5-D67B-0C59A709D3F6}"/>
              </a:ext>
            </a:extLst>
          </p:cNvPr>
          <p:cNvSpPr/>
          <p:nvPr/>
        </p:nvSpPr>
        <p:spPr>
          <a:xfrm>
            <a:off x="9503001" y="1966919"/>
            <a:ext cx="2395910" cy="872066"/>
          </a:xfrm>
          <a:prstGeom prst="wedgeRoundRectCallout">
            <a:avLst>
              <a:gd name="adj1" fmla="val 6424"/>
              <a:gd name="adj2" fmla="val 104449"/>
              <a:gd name="adj3" fmla="val 16667"/>
            </a:avLst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58" name="TekstSylinder 57">
            <a:extLst>
              <a:ext uri="{FF2B5EF4-FFF2-40B4-BE49-F238E27FC236}">
                <a16:creationId xmlns:a16="http://schemas.microsoft.com/office/drawing/2014/main" id="{682B6629-0D22-39DF-A94C-5B9CB08E0BB8}"/>
              </a:ext>
            </a:extLst>
          </p:cNvPr>
          <p:cNvSpPr txBox="1"/>
          <p:nvPr/>
        </p:nvSpPr>
        <p:spPr>
          <a:xfrm>
            <a:off x="9623864" y="2077749"/>
            <a:ext cx="228720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200" dirty="0">
                <a:solidFill>
                  <a:schemeClr val="bg1"/>
                </a:solidFill>
              </a:rPr>
              <a:t>I hvilken grad etterspør kundene dine klimavennlige produkter og tjenester?</a:t>
            </a:r>
          </a:p>
        </p:txBody>
      </p:sp>
      <p:cxnSp>
        <p:nvCxnSpPr>
          <p:cNvPr id="59" name="Rett linje 58">
            <a:extLst>
              <a:ext uri="{FF2B5EF4-FFF2-40B4-BE49-F238E27FC236}">
                <a16:creationId xmlns:a16="http://schemas.microsoft.com/office/drawing/2014/main" id="{D45F6364-6D27-7838-9774-739E8545CDEA}"/>
              </a:ext>
            </a:extLst>
          </p:cNvPr>
          <p:cNvCxnSpPr>
            <a:cxnSpLocks/>
          </p:cNvCxnSpPr>
          <p:nvPr/>
        </p:nvCxnSpPr>
        <p:spPr>
          <a:xfrm>
            <a:off x="9233821" y="1473140"/>
            <a:ext cx="0" cy="53985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kstSylinder 59">
            <a:extLst>
              <a:ext uri="{FF2B5EF4-FFF2-40B4-BE49-F238E27FC236}">
                <a16:creationId xmlns:a16="http://schemas.microsoft.com/office/drawing/2014/main" id="{82C4AA96-3DC2-1C76-91C2-057166546FD8}"/>
              </a:ext>
            </a:extLst>
          </p:cNvPr>
          <p:cNvSpPr txBox="1"/>
          <p:nvPr/>
        </p:nvSpPr>
        <p:spPr>
          <a:xfrm>
            <a:off x="10252635" y="3885970"/>
            <a:ext cx="13800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2"/>
                </a:solidFill>
              </a:rPr>
              <a:t>54%</a:t>
            </a:r>
          </a:p>
        </p:txBody>
      </p:sp>
      <p:sp>
        <p:nvSpPr>
          <p:cNvPr id="61" name="TekstSylinder 60">
            <a:extLst>
              <a:ext uri="{FF2B5EF4-FFF2-40B4-BE49-F238E27FC236}">
                <a16:creationId xmlns:a16="http://schemas.microsoft.com/office/drawing/2014/main" id="{EC560BC6-4002-C219-3BCD-139C367DC975}"/>
              </a:ext>
            </a:extLst>
          </p:cNvPr>
          <p:cNvSpPr txBox="1"/>
          <p:nvPr/>
        </p:nvSpPr>
        <p:spPr>
          <a:xfrm>
            <a:off x="9806164" y="3379148"/>
            <a:ext cx="213393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0" b="1" dirty="0"/>
              <a:t>LITEN / SVÆRT LITEN GRAD</a:t>
            </a:r>
          </a:p>
        </p:txBody>
      </p:sp>
      <p:sp>
        <p:nvSpPr>
          <p:cNvPr id="70" name="TekstSylinder 69">
            <a:extLst>
              <a:ext uri="{FF2B5EF4-FFF2-40B4-BE49-F238E27FC236}">
                <a16:creationId xmlns:a16="http://schemas.microsoft.com/office/drawing/2014/main" id="{2A94635F-DB32-B3AC-4904-1929B8A42216}"/>
              </a:ext>
            </a:extLst>
          </p:cNvPr>
          <p:cNvSpPr txBox="1"/>
          <p:nvPr/>
        </p:nvSpPr>
        <p:spPr>
          <a:xfrm>
            <a:off x="9945177" y="5885006"/>
            <a:ext cx="2187909" cy="52322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ct val="0"/>
              </a:spcBef>
              <a:buNone/>
              <a:defRPr sz="1400">
                <a:solidFill>
                  <a:srgbClr val="00207D"/>
                </a:solidFill>
                <a:ea typeface="+mj-ea"/>
                <a:cs typeface="+mj-cs"/>
              </a:defRPr>
            </a:lvl1pPr>
          </a:lstStyle>
          <a:p>
            <a:r>
              <a:rPr lang="nb-NO" sz="1200" dirty="0">
                <a:solidFill>
                  <a:schemeClr val="bg1"/>
                </a:solidFill>
              </a:rPr>
              <a:t>Kundene etterspør i liten grad bærekraftige produkter og tjenester</a:t>
            </a:r>
          </a:p>
        </p:txBody>
      </p:sp>
      <p:sp>
        <p:nvSpPr>
          <p:cNvPr id="71" name="TekstSylinder 70">
            <a:extLst>
              <a:ext uri="{FF2B5EF4-FFF2-40B4-BE49-F238E27FC236}">
                <a16:creationId xmlns:a16="http://schemas.microsoft.com/office/drawing/2014/main" id="{F70EC37B-83BE-AEFA-EE31-0260AA191C85}"/>
              </a:ext>
            </a:extLst>
          </p:cNvPr>
          <p:cNvSpPr txBox="1"/>
          <p:nvPr/>
        </p:nvSpPr>
        <p:spPr>
          <a:xfrm>
            <a:off x="9387709" y="5812701"/>
            <a:ext cx="5942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6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A0643B41-0BCC-B85B-6A30-186091856C19}"/>
              </a:ext>
            </a:extLst>
          </p:cNvPr>
          <p:cNvSpPr txBox="1"/>
          <p:nvPr/>
        </p:nvSpPr>
        <p:spPr>
          <a:xfrm>
            <a:off x="106898" y="3992695"/>
            <a:ext cx="5014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0" b="1" dirty="0"/>
              <a:t>2023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4D286A10-37E1-74CB-0CC2-67CA127A87FB}"/>
              </a:ext>
            </a:extLst>
          </p:cNvPr>
          <p:cNvSpPr txBox="1"/>
          <p:nvPr/>
        </p:nvSpPr>
        <p:spPr>
          <a:xfrm>
            <a:off x="117612" y="4613934"/>
            <a:ext cx="65908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0" b="1" dirty="0"/>
              <a:t>2024</a:t>
            </a:r>
          </a:p>
        </p:txBody>
      </p:sp>
      <p:cxnSp>
        <p:nvCxnSpPr>
          <p:cNvPr id="18" name="Rett linje 17">
            <a:extLst>
              <a:ext uri="{FF2B5EF4-FFF2-40B4-BE49-F238E27FC236}">
                <a16:creationId xmlns:a16="http://schemas.microsoft.com/office/drawing/2014/main" id="{F3DAC078-BF42-B41C-4062-8AA2367ED129}"/>
              </a:ext>
            </a:extLst>
          </p:cNvPr>
          <p:cNvCxnSpPr>
            <a:cxnSpLocks/>
          </p:cNvCxnSpPr>
          <p:nvPr/>
        </p:nvCxnSpPr>
        <p:spPr>
          <a:xfrm>
            <a:off x="0" y="3817907"/>
            <a:ext cx="1220284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linje 23">
            <a:extLst>
              <a:ext uri="{FF2B5EF4-FFF2-40B4-BE49-F238E27FC236}">
                <a16:creationId xmlns:a16="http://schemas.microsoft.com/office/drawing/2014/main" id="{24E388DF-8B6C-CDF6-8E58-6624AB39839C}"/>
              </a:ext>
            </a:extLst>
          </p:cNvPr>
          <p:cNvCxnSpPr>
            <a:cxnSpLocks/>
          </p:cNvCxnSpPr>
          <p:nvPr/>
        </p:nvCxnSpPr>
        <p:spPr>
          <a:xfrm>
            <a:off x="0" y="4409094"/>
            <a:ext cx="1220284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ett linje 24">
            <a:extLst>
              <a:ext uri="{FF2B5EF4-FFF2-40B4-BE49-F238E27FC236}">
                <a16:creationId xmlns:a16="http://schemas.microsoft.com/office/drawing/2014/main" id="{13D63AC2-6FB2-DE35-457D-2AD72F4FFA1E}"/>
              </a:ext>
            </a:extLst>
          </p:cNvPr>
          <p:cNvCxnSpPr>
            <a:cxnSpLocks/>
          </p:cNvCxnSpPr>
          <p:nvPr/>
        </p:nvCxnSpPr>
        <p:spPr>
          <a:xfrm>
            <a:off x="-12690" y="5014650"/>
            <a:ext cx="1221869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kstSylinder 25">
            <a:extLst>
              <a:ext uri="{FF2B5EF4-FFF2-40B4-BE49-F238E27FC236}">
                <a16:creationId xmlns:a16="http://schemas.microsoft.com/office/drawing/2014/main" id="{EC2AB209-276B-1642-FD06-EB14CDCECFF9}"/>
              </a:ext>
            </a:extLst>
          </p:cNvPr>
          <p:cNvSpPr txBox="1"/>
          <p:nvPr/>
        </p:nvSpPr>
        <p:spPr>
          <a:xfrm>
            <a:off x="4193860" y="4504344"/>
            <a:ext cx="13800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2"/>
                </a:solidFill>
              </a:rPr>
              <a:t>41%</a:t>
            </a:r>
          </a:p>
        </p:txBody>
      </p: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CDCE9C6D-A777-F331-9BB8-8A45030668E4}"/>
              </a:ext>
            </a:extLst>
          </p:cNvPr>
          <p:cNvSpPr txBox="1"/>
          <p:nvPr/>
        </p:nvSpPr>
        <p:spPr>
          <a:xfrm>
            <a:off x="1117715" y="4504344"/>
            <a:ext cx="13800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tx2"/>
                </a:solidFill>
              </a:rPr>
              <a:t>48%</a:t>
            </a:r>
          </a:p>
        </p:txBody>
      </p:sp>
      <p:sp>
        <p:nvSpPr>
          <p:cNvPr id="30" name="TekstSylinder 29">
            <a:extLst>
              <a:ext uri="{FF2B5EF4-FFF2-40B4-BE49-F238E27FC236}">
                <a16:creationId xmlns:a16="http://schemas.microsoft.com/office/drawing/2014/main" id="{FF9E24B9-FBFE-D58F-AB96-8320A90E50CE}"/>
              </a:ext>
            </a:extLst>
          </p:cNvPr>
          <p:cNvSpPr txBox="1"/>
          <p:nvPr/>
        </p:nvSpPr>
        <p:spPr>
          <a:xfrm>
            <a:off x="7303339" y="4504344"/>
            <a:ext cx="13800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tx2"/>
                </a:solidFill>
              </a:rPr>
              <a:t>46%</a:t>
            </a:r>
          </a:p>
        </p:txBody>
      </p:sp>
      <p:sp>
        <p:nvSpPr>
          <p:cNvPr id="32" name="TekstSylinder 31">
            <a:extLst>
              <a:ext uri="{FF2B5EF4-FFF2-40B4-BE49-F238E27FC236}">
                <a16:creationId xmlns:a16="http://schemas.microsoft.com/office/drawing/2014/main" id="{4A24C81D-401D-4DC6-0E12-65DB3DD82EEC}"/>
              </a:ext>
            </a:extLst>
          </p:cNvPr>
          <p:cNvSpPr txBox="1"/>
          <p:nvPr/>
        </p:nvSpPr>
        <p:spPr>
          <a:xfrm>
            <a:off x="10252635" y="4504344"/>
            <a:ext cx="13800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2"/>
                </a:solidFill>
              </a:rPr>
              <a:t>58%</a:t>
            </a:r>
          </a:p>
        </p:txBody>
      </p:sp>
      <p:sp>
        <p:nvSpPr>
          <p:cNvPr id="55" name="Plassholder for bunntekst 3">
            <a:extLst>
              <a:ext uri="{FF2B5EF4-FFF2-40B4-BE49-F238E27FC236}">
                <a16:creationId xmlns:a16="http://schemas.microsoft.com/office/drawing/2014/main" id="{893FAD30-D028-DBC3-9880-65D2404DDF0E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bg1"/>
                </a:solidFill>
              </a:rPr>
              <a:t>Kilde: Sentio Research Norge</a:t>
            </a:r>
          </a:p>
        </p:txBody>
      </p:sp>
    </p:spTree>
    <p:extLst>
      <p:ext uri="{BB962C8B-B14F-4D97-AF65-F5344CB8AC3E}">
        <p14:creationId xmlns:p14="http://schemas.microsoft.com/office/powerpoint/2010/main" val="18712125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lassholder for innhold 15" descr="Et bilde som inneholder tekst, skjermbilde&#10;&#10;Automatisk generert beskrivelse">
            <a:extLst>
              <a:ext uri="{FF2B5EF4-FFF2-40B4-BE49-F238E27FC236}">
                <a16:creationId xmlns:a16="http://schemas.microsoft.com/office/drawing/2014/main" id="{DEFE9B95-DFE9-BE8C-62F4-13268531151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alphaModFix amt="8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53" t="-562" b="25595"/>
          <a:stretch/>
        </p:blipFill>
        <p:spPr>
          <a:xfrm>
            <a:off x="-30968" y="-66675"/>
            <a:ext cx="12207365" cy="6924675"/>
          </a:xfrm>
        </p:spPr>
      </p:pic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126D1735-9251-86D1-C782-F77A49776BA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088311" y="3917952"/>
            <a:ext cx="1800000" cy="1800000"/>
          </a:xfrm>
          <a:prstGeom prst="ellipse">
            <a:avLst/>
          </a:prstGeom>
          <a:solidFill>
            <a:srgbClr val="D3D3EA"/>
          </a:solidFill>
        </p:spPr>
        <p:txBody>
          <a:bodyPr anchor="ctr" anchorCtr="0"/>
          <a:lstStyle/>
          <a:p>
            <a:pPr algn="ctr"/>
            <a:r>
              <a:rPr lang="nb-NO" dirty="0"/>
              <a:t>Få inntil 30.000 kroner i støtte</a:t>
            </a:r>
          </a:p>
        </p:txBody>
      </p:sp>
      <p:sp>
        <p:nvSpPr>
          <p:cNvPr id="6" name="Tittel 5">
            <a:extLst>
              <a:ext uri="{FF2B5EF4-FFF2-40B4-BE49-F238E27FC236}">
                <a16:creationId xmlns:a16="http://schemas.microsoft.com/office/drawing/2014/main" id="{CBE941B0-B4C1-C4D3-4B02-164E43EB7B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659396" cy="553998"/>
          </a:xfrm>
        </p:spPr>
        <p:txBody>
          <a:bodyPr/>
          <a:lstStyle/>
          <a:p>
            <a:r>
              <a:rPr lang="nb-NO" dirty="0"/>
              <a:t>Nå kan SMB få støtte til å bli miljøfyrtårnsertifisert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5375FA40-26A1-9EBF-FA54-D4F88EA11C0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nb-NO" dirty="0"/>
              <a:t>Ny støtteordning fra SpareBank 1 SMN</a:t>
            </a:r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9AD0CB93-D9FD-7296-D3B0-118D54973BAD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045768" y="3917952"/>
            <a:ext cx="1800000" cy="1800000"/>
          </a:xfrm>
          <a:prstGeom prst="ellipse">
            <a:avLst/>
          </a:prstGeom>
          <a:solidFill>
            <a:srgbClr val="D3D3EA"/>
          </a:solidFill>
        </p:spPr>
        <p:txBody>
          <a:bodyPr anchor="ctr" anchorCtr="0"/>
          <a:lstStyle/>
          <a:p>
            <a:pPr algn="ctr"/>
            <a:r>
              <a:rPr lang="nb-NO" dirty="0"/>
              <a:t>For bedrifter med inntil </a:t>
            </a:r>
            <a:br>
              <a:rPr lang="nb-NO" dirty="0"/>
            </a:br>
            <a:r>
              <a:rPr lang="nb-NO" dirty="0"/>
              <a:t>50 mill. kroner i omsetning</a:t>
            </a:r>
          </a:p>
        </p:txBody>
      </p:sp>
      <p:sp>
        <p:nvSpPr>
          <p:cNvPr id="11" name="Plassholder for tekst 10">
            <a:extLst>
              <a:ext uri="{FF2B5EF4-FFF2-40B4-BE49-F238E27FC236}">
                <a16:creationId xmlns:a16="http://schemas.microsoft.com/office/drawing/2014/main" id="{2811FB0E-17FA-2748-A60A-79A31BD2612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003225" y="3917952"/>
            <a:ext cx="1800000" cy="1800000"/>
          </a:xfrm>
          <a:prstGeom prst="ellipse">
            <a:avLst/>
          </a:prstGeom>
          <a:solidFill>
            <a:srgbClr val="D3D3EA"/>
          </a:solidFill>
        </p:spPr>
        <p:txBody>
          <a:bodyPr anchor="ctr" anchorCtr="0"/>
          <a:lstStyle/>
          <a:p>
            <a:pPr algn="ctr"/>
            <a:r>
              <a:rPr lang="nb-NO" dirty="0"/>
              <a:t>Vårt budskap: </a:t>
            </a:r>
            <a:br>
              <a:rPr lang="nb-NO" dirty="0"/>
            </a:br>
            <a:r>
              <a:rPr lang="nb-NO" dirty="0"/>
              <a:t>Sett i gang!</a:t>
            </a:r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1E51823F-ED89-CD66-2F04-075E2C2BAC84}"/>
              </a:ext>
            </a:extLst>
          </p:cNvPr>
          <p:cNvSpPr txBox="1"/>
          <p:nvPr/>
        </p:nvSpPr>
        <p:spPr>
          <a:xfrm>
            <a:off x="6096001" y="1340073"/>
            <a:ext cx="570722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Vi skal bidra til å få 100 nye miljøfyrtårnbedrifter i  Midt-Norg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areBank 1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Dette er et konkret tiltak for å hjelpe SMB’er i gang med å jobbe kontinuerlig med miljøforbedringer og grønn omstilling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areBank 1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Søk på </a:t>
            </a: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smn.no/miljøfyrtår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areBank 1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pareBank 1"/>
              <a:ea typeface="+mn-ea"/>
              <a:cs typeface="+mn-cs"/>
            </a:endParaRPr>
          </a:p>
        </p:txBody>
      </p:sp>
      <p:pic>
        <p:nvPicPr>
          <p:cNvPr id="2" name="logo_blaa">
            <a:extLst>
              <a:ext uri="{FF2B5EF4-FFF2-40B4-BE49-F238E27FC236}">
                <a16:creationId xmlns:a16="http://schemas.microsoft.com/office/drawing/2014/main" id="{678CF98C-168C-0F57-C9F7-EE24658CA98C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6069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_blaa">
            <a:extLst>
              <a:ext uri="{FF2B5EF4-FFF2-40B4-BE49-F238E27FC236}">
                <a16:creationId xmlns:a16="http://schemas.microsoft.com/office/drawing/2014/main" id="{0E0967EA-D400-EF23-DABA-9B7036651475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6400" y="6119570"/>
            <a:ext cx="2667000" cy="560754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9745F3D9-BA37-E928-9DC1-70496559D703}"/>
              </a:ext>
            </a:extLst>
          </p:cNvPr>
          <p:cNvSpPr txBox="1"/>
          <p:nvPr/>
        </p:nvSpPr>
        <p:spPr>
          <a:xfrm>
            <a:off x="436562" y="1727893"/>
            <a:ext cx="51339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  <a:latin typeface="+mj-lt"/>
              </a:rPr>
              <a:t>Svar: I stor / svært stor grad (%)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DC402674-5A84-2DC8-3918-A0DF349E4FE2}"/>
              </a:ext>
            </a:extLst>
          </p:cNvPr>
          <p:cNvSpPr txBox="1"/>
          <p:nvPr/>
        </p:nvSpPr>
        <p:spPr>
          <a:xfrm>
            <a:off x="436562" y="1345295"/>
            <a:ext cx="73945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>
                <a:solidFill>
                  <a:schemeClr val="accent2"/>
                </a:solidFill>
                <a:latin typeface="+mj-lt"/>
              </a:rPr>
              <a:t>I hvilken grad ser du på tap av natur som en risiko for din virksomhet?</a:t>
            </a:r>
          </a:p>
        </p:txBody>
      </p:sp>
      <p:sp>
        <p:nvSpPr>
          <p:cNvPr id="7" name="Grunt object 55a14e13b09d161ac138bde922b08469-svg">
            <a:extLst>
              <a:ext uri="{FF2B5EF4-FFF2-40B4-BE49-F238E27FC236}">
                <a16:creationId xmlns:a16="http://schemas.microsoft.com/office/drawing/2014/main" id="{E7555A09-D0DC-261C-A310-A3A66D25FF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57919" y="2850493"/>
            <a:ext cx="10718915" cy="3362347"/>
          </a:xfrm>
          <a:prstGeom prst="rect">
            <a:avLst/>
          </a:prstGeom>
          <a:blipFill dpi="0" rotWithShape="1"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1" name="Plassholder for bilde 4" descr="Et bilde som inneholder utendørs, vandring, skogområde, Urskog&#10;&#10;Automatisk generert beskrivelse">
            <a:extLst>
              <a:ext uri="{FF2B5EF4-FFF2-40B4-BE49-F238E27FC236}">
                <a16:creationId xmlns:a16="http://schemas.microsoft.com/office/drawing/2014/main" id="{12F2EA3B-8429-C5FA-7EAC-08041441932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35" r="14335"/>
          <a:stretch>
            <a:fillRect/>
          </a:stretch>
        </p:blipFill>
        <p:spPr>
          <a:xfrm>
            <a:off x="8166044" y="-6886"/>
            <a:ext cx="4025955" cy="3717038"/>
          </a:xfrm>
          <a:custGeom>
            <a:avLst/>
            <a:gdLst>
              <a:gd name="connsiteX0" fmla="*/ 662015 w 6245112"/>
              <a:gd name="connsiteY0" fmla="*/ 0 h 5842000"/>
              <a:gd name="connsiteX1" fmla="*/ 6245112 w 6245112"/>
              <a:gd name="connsiteY1" fmla="*/ 0 h 5842000"/>
              <a:gd name="connsiteX2" fmla="*/ 6245112 w 6245112"/>
              <a:gd name="connsiteY2" fmla="*/ 4800066 h 5842000"/>
              <a:gd name="connsiteX3" fmla="*/ 6034914 w 6245112"/>
              <a:gd name="connsiteY3" fmla="*/ 4992696 h 5842000"/>
              <a:gd name="connsiteX4" fmla="*/ 3688613 w 6245112"/>
              <a:gd name="connsiteY4" fmla="*/ 5842000 h 5842000"/>
              <a:gd name="connsiteX5" fmla="*/ 0 w 6245112"/>
              <a:gd name="connsiteY5" fmla="*/ 2122714 h 5842000"/>
              <a:gd name="connsiteX6" fmla="*/ 629957 w 6245112"/>
              <a:gd name="connsiteY6" fmla="*/ 43226 h 58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5112" h="5842000">
                <a:moveTo>
                  <a:pt x="662015" y="0"/>
                </a:moveTo>
                <a:lnTo>
                  <a:pt x="6245112" y="0"/>
                </a:lnTo>
                <a:lnTo>
                  <a:pt x="6245112" y="4800066"/>
                </a:lnTo>
                <a:lnTo>
                  <a:pt x="6034914" y="4992696"/>
                </a:lnTo>
                <a:cubicBezTo>
                  <a:pt x="5397304" y="5523274"/>
                  <a:pt x="4579873" y="5842000"/>
                  <a:pt x="3688613" y="5842000"/>
                </a:cubicBezTo>
                <a:cubicBezTo>
                  <a:pt x="1651448" y="5842000"/>
                  <a:pt x="0" y="4176819"/>
                  <a:pt x="0" y="2122714"/>
                </a:cubicBezTo>
                <a:cubicBezTo>
                  <a:pt x="0" y="1352425"/>
                  <a:pt x="232235" y="636828"/>
                  <a:pt x="629957" y="43226"/>
                </a:cubicBezTo>
                <a:close/>
              </a:path>
            </a:pathLst>
          </a:custGeom>
          <a:blipFill>
            <a:blip r:embed="rId11"/>
            <a:stretch>
              <a:fillRect/>
            </a:stretch>
          </a:blipFill>
          <a:effectLst>
            <a:innerShdw blurRad="63500" dist="50800" dir="8100000">
              <a:prstClr val="black">
                <a:alpha val="50000"/>
              </a:prstClr>
            </a:innerShdw>
          </a:effectLst>
        </p:spPr>
      </p:pic>
      <p:sp>
        <p:nvSpPr>
          <p:cNvPr id="12" name="Plassholder for bunntekst 3">
            <a:extLst>
              <a:ext uri="{FF2B5EF4-FFF2-40B4-BE49-F238E27FC236}">
                <a16:creationId xmlns:a16="http://schemas.microsoft.com/office/drawing/2014/main" id="{2B742B81-7581-06EC-349B-D3084DB75966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  <p:sp>
        <p:nvSpPr>
          <p:cNvPr id="4" name="Tittel 1">
            <a:extLst>
              <a:ext uri="{FF2B5EF4-FFF2-40B4-BE49-F238E27FC236}">
                <a16:creationId xmlns:a16="http://schemas.microsoft.com/office/drawing/2014/main" id="{975808D8-B1E3-67CF-CB11-A3108E2CF036}"/>
              </a:ext>
            </a:extLst>
          </p:cNvPr>
          <p:cNvSpPr txBox="1">
            <a:spLocks/>
          </p:cNvSpPr>
          <p:nvPr/>
        </p:nvSpPr>
        <p:spPr>
          <a:xfrm>
            <a:off x="215900" y="246185"/>
            <a:ext cx="11037095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200" dirty="0"/>
              <a:t>Knapt 1 av 5 bedrifter (1 av 4) ser i stor grad på </a:t>
            </a:r>
          </a:p>
          <a:p>
            <a:r>
              <a:rPr lang="nb-NO" sz="3200" dirty="0"/>
              <a:t>tap av natur som en risiko for egen virksomhet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597728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_blaa">
            <a:extLst>
              <a:ext uri="{FF2B5EF4-FFF2-40B4-BE49-F238E27FC236}">
                <a16:creationId xmlns:a16="http://schemas.microsoft.com/office/drawing/2014/main" id="{0E0967EA-D400-EF23-DABA-9B7036651475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6400" y="6119570"/>
            <a:ext cx="2667000" cy="560754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9745F3D9-BA37-E928-9DC1-70496559D703}"/>
              </a:ext>
            </a:extLst>
          </p:cNvPr>
          <p:cNvSpPr txBox="1"/>
          <p:nvPr/>
        </p:nvSpPr>
        <p:spPr>
          <a:xfrm>
            <a:off x="473993" y="1896761"/>
            <a:ext cx="51339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  <a:latin typeface="+mj-lt"/>
              </a:rPr>
              <a:t>Svar: I stor / svært stor grad (%)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DC402674-5A84-2DC8-3918-A0DF349E4FE2}"/>
              </a:ext>
            </a:extLst>
          </p:cNvPr>
          <p:cNvSpPr txBox="1"/>
          <p:nvPr/>
        </p:nvSpPr>
        <p:spPr>
          <a:xfrm>
            <a:off x="473993" y="1237827"/>
            <a:ext cx="693763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>
                <a:solidFill>
                  <a:schemeClr val="accent2"/>
                </a:solidFill>
                <a:latin typeface="+mj-lt"/>
              </a:rPr>
              <a:t>I hvilken grad er du bekymret for at naturskader kan påvirke virksomhetens daglige drift?</a:t>
            </a:r>
          </a:p>
        </p:txBody>
      </p:sp>
      <p:sp>
        <p:nvSpPr>
          <p:cNvPr id="7" name="Grunt object 02e4edc122666acafb202a21643bf69a-svg">
            <a:extLst>
              <a:ext uri="{FF2B5EF4-FFF2-40B4-BE49-F238E27FC236}">
                <a16:creationId xmlns:a16="http://schemas.microsoft.com/office/drawing/2014/main" id="{E7555A09-D0DC-261C-A310-A3A66D25FF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57917" y="2371521"/>
            <a:ext cx="10718915" cy="3667147"/>
          </a:xfrm>
          <a:prstGeom prst="rect">
            <a:avLst/>
          </a:prstGeom>
          <a:blipFill dpi="0" rotWithShape="1"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5D619084-838D-60BF-376C-6B64695A5409}"/>
              </a:ext>
            </a:extLst>
          </p:cNvPr>
          <p:cNvSpPr txBox="1">
            <a:spLocks/>
          </p:cNvSpPr>
          <p:nvPr/>
        </p:nvSpPr>
        <p:spPr>
          <a:xfrm>
            <a:off x="473993" y="310870"/>
            <a:ext cx="11037095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200" dirty="0"/>
              <a:t>Færre bedrifter er bekymret for naturskader. </a:t>
            </a:r>
          </a:p>
          <a:p>
            <a:r>
              <a:rPr lang="nb-NO" sz="3200" dirty="0"/>
              <a:t>Størst bekymring i primærnæringene  </a:t>
            </a:r>
          </a:p>
        </p:txBody>
      </p:sp>
      <p:pic>
        <p:nvPicPr>
          <p:cNvPr id="11" name="Plassholder for bilde 4" descr="Et bilde som inneholder utendørs, vandring, skogområde, Urskog&#10;&#10;Automatisk generert beskrivelse">
            <a:extLst>
              <a:ext uri="{FF2B5EF4-FFF2-40B4-BE49-F238E27FC236}">
                <a16:creationId xmlns:a16="http://schemas.microsoft.com/office/drawing/2014/main" id="{F63E6529-BC03-3C37-462A-80B482CCCCB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35" r="14335"/>
          <a:stretch>
            <a:fillRect/>
          </a:stretch>
        </p:blipFill>
        <p:spPr>
          <a:xfrm>
            <a:off x="8166044" y="-6886"/>
            <a:ext cx="4025955" cy="3667147"/>
          </a:xfrm>
          <a:custGeom>
            <a:avLst/>
            <a:gdLst>
              <a:gd name="connsiteX0" fmla="*/ 662015 w 6245112"/>
              <a:gd name="connsiteY0" fmla="*/ 0 h 5842000"/>
              <a:gd name="connsiteX1" fmla="*/ 6245112 w 6245112"/>
              <a:gd name="connsiteY1" fmla="*/ 0 h 5842000"/>
              <a:gd name="connsiteX2" fmla="*/ 6245112 w 6245112"/>
              <a:gd name="connsiteY2" fmla="*/ 4800066 h 5842000"/>
              <a:gd name="connsiteX3" fmla="*/ 6034914 w 6245112"/>
              <a:gd name="connsiteY3" fmla="*/ 4992696 h 5842000"/>
              <a:gd name="connsiteX4" fmla="*/ 3688613 w 6245112"/>
              <a:gd name="connsiteY4" fmla="*/ 5842000 h 5842000"/>
              <a:gd name="connsiteX5" fmla="*/ 0 w 6245112"/>
              <a:gd name="connsiteY5" fmla="*/ 2122714 h 5842000"/>
              <a:gd name="connsiteX6" fmla="*/ 629957 w 6245112"/>
              <a:gd name="connsiteY6" fmla="*/ 43226 h 58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5112" h="5842000">
                <a:moveTo>
                  <a:pt x="662015" y="0"/>
                </a:moveTo>
                <a:lnTo>
                  <a:pt x="6245112" y="0"/>
                </a:lnTo>
                <a:lnTo>
                  <a:pt x="6245112" y="4800066"/>
                </a:lnTo>
                <a:lnTo>
                  <a:pt x="6034914" y="4992696"/>
                </a:lnTo>
                <a:cubicBezTo>
                  <a:pt x="5397304" y="5523274"/>
                  <a:pt x="4579873" y="5842000"/>
                  <a:pt x="3688613" y="5842000"/>
                </a:cubicBezTo>
                <a:cubicBezTo>
                  <a:pt x="1651448" y="5842000"/>
                  <a:pt x="0" y="4176819"/>
                  <a:pt x="0" y="2122714"/>
                </a:cubicBezTo>
                <a:cubicBezTo>
                  <a:pt x="0" y="1352425"/>
                  <a:pt x="232235" y="636828"/>
                  <a:pt x="629957" y="43226"/>
                </a:cubicBezTo>
                <a:close/>
              </a:path>
            </a:pathLst>
          </a:custGeom>
          <a:blipFill>
            <a:blip r:embed="rId11"/>
            <a:stretch>
              <a:fillRect/>
            </a:stretch>
          </a:blipFill>
          <a:effectLst>
            <a:innerShdw blurRad="63500" dist="50800" dir="8100000">
              <a:prstClr val="black">
                <a:alpha val="50000"/>
              </a:prstClr>
            </a:innerShdw>
          </a:effectLst>
        </p:spPr>
      </p:pic>
      <p:sp>
        <p:nvSpPr>
          <p:cNvPr id="12" name="Plassholder for bunntekst 3">
            <a:extLst>
              <a:ext uri="{FF2B5EF4-FFF2-40B4-BE49-F238E27FC236}">
                <a16:creationId xmlns:a16="http://schemas.microsoft.com/office/drawing/2014/main" id="{4C87AF3E-876D-7682-5889-026FE1D70B00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09935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: avrundede hjørner diagonalt 15">
            <a:extLst>
              <a:ext uri="{FF2B5EF4-FFF2-40B4-BE49-F238E27FC236}">
                <a16:creationId xmlns:a16="http://schemas.microsoft.com/office/drawing/2014/main" id="{4863B0D7-0DCE-F6BA-8C00-45CC5804699C}"/>
              </a:ext>
            </a:extLst>
          </p:cNvPr>
          <p:cNvSpPr/>
          <p:nvPr/>
        </p:nvSpPr>
        <p:spPr>
          <a:xfrm>
            <a:off x="626287" y="1712476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rgbClr val="005AA4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Strategi</a:t>
            </a:r>
          </a:p>
        </p:txBody>
      </p:sp>
      <p:sp>
        <p:nvSpPr>
          <p:cNvPr id="18" name="Rektangel: avrundede hjørner diagonalt 17">
            <a:extLst>
              <a:ext uri="{FF2B5EF4-FFF2-40B4-BE49-F238E27FC236}">
                <a16:creationId xmlns:a16="http://schemas.microsoft.com/office/drawing/2014/main" id="{EDDFE4F8-336D-47E3-6D24-516DEAB3FEB9}"/>
              </a:ext>
            </a:extLst>
          </p:cNvPr>
          <p:cNvSpPr/>
          <p:nvPr/>
        </p:nvSpPr>
        <p:spPr>
          <a:xfrm>
            <a:off x="626287" y="2685387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rgbClr val="005AA4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Innovasjon, kunder og marked</a:t>
            </a:r>
          </a:p>
        </p:txBody>
      </p:sp>
      <p:sp>
        <p:nvSpPr>
          <p:cNvPr id="19" name="Rektangel: avrundede hjørner diagonalt 18">
            <a:extLst>
              <a:ext uri="{FF2B5EF4-FFF2-40B4-BE49-F238E27FC236}">
                <a16:creationId xmlns:a16="http://schemas.microsoft.com/office/drawing/2014/main" id="{C912209D-AC8B-C81D-FABD-7AB5C9EF0892}"/>
              </a:ext>
            </a:extLst>
          </p:cNvPr>
          <p:cNvSpPr/>
          <p:nvPr/>
        </p:nvSpPr>
        <p:spPr>
          <a:xfrm>
            <a:off x="626287" y="3658298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chemeClr val="accent2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Vekst og lønnsomhet</a:t>
            </a:r>
          </a:p>
        </p:txBody>
      </p:sp>
      <p:sp>
        <p:nvSpPr>
          <p:cNvPr id="20" name="Rektangel: avrundede hjørner diagonalt 19">
            <a:extLst>
              <a:ext uri="{FF2B5EF4-FFF2-40B4-BE49-F238E27FC236}">
                <a16:creationId xmlns:a16="http://schemas.microsoft.com/office/drawing/2014/main" id="{17D22BF5-A214-1915-566E-B058C54CB6AE}"/>
              </a:ext>
            </a:extLst>
          </p:cNvPr>
          <p:cNvSpPr/>
          <p:nvPr/>
        </p:nvSpPr>
        <p:spPr>
          <a:xfrm>
            <a:off x="626287" y="4631209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rgbClr val="005AA4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Kompetanse</a:t>
            </a:r>
          </a:p>
        </p:txBody>
      </p:sp>
      <p:pic>
        <p:nvPicPr>
          <p:cNvPr id="2" name="logo_blaa">
            <a:extLst>
              <a:ext uri="{FF2B5EF4-FFF2-40B4-BE49-F238E27FC236}">
                <a16:creationId xmlns:a16="http://schemas.microsoft.com/office/drawing/2014/main" id="{ADD11C62-9922-08BA-A996-937B4BB099ED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3" name="Frihåndsform: figur 2">
            <a:extLst>
              <a:ext uri="{FF2B5EF4-FFF2-40B4-BE49-F238E27FC236}">
                <a16:creationId xmlns:a16="http://schemas.microsoft.com/office/drawing/2014/main" id="{FD942A78-B56C-AB56-4341-2D0D61947FDC}"/>
              </a:ext>
            </a:extLst>
          </p:cNvPr>
          <p:cNvSpPr/>
          <p:nvPr/>
        </p:nvSpPr>
        <p:spPr>
          <a:xfrm>
            <a:off x="7536546" y="0"/>
            <a:ext cx="4655454" cy="4354951"/>
          </a:xfrm>
          <a:custGeom>
            <a:avLst/>
            <a:gdLst>
              <a:gd name="connsiteX0" fmla="*/ 941343 w 6096000"/>
              <a:gd name="connsiteY0" fmla="*/ 0 h 5717750"/>
              <a:gd name="connsiteX1" fmla="*/ 6096000 w 6096000"/>
              <a:gd name="connsiteY1" fmla="*/ 0 h 5717750"/>
              <a:gd name="connsiteX2" fmla="*/ 6096000 w 6096000"/>
              <a:gd name="connsiteY2" fmla="*/ 4691651 h 5717750"/>
              <a:gd name="connsiteX3" fmla="*/ 6070472 w 6096000"/>
              <a:gd name="connsiteY3" fmla="*/ 4718596 h 5717750"/>
              <a:gd name="connsiteX4" fmla="*/ 3556000 w 6096000"/>
              <a:gd name="connsiteY4" fmla="*/ 5717750 h 5717750"/>
              <a:gd name="connsiteX5" fmla="*/ 0 w 6096000"/>
              <a:gd name="connsiteY5" fmla="*/ 2306425 h 5717750"/>
              <a:gd name="connsiteX6" fmla="*/ 812017 w 6096000"/>
              <a:gd name="connsiteY6" fmla="*/ 136505 h 5717750"/>
              <a:gd name="connsiteX7" fmla="*/ 941343 w 6096000"/>
              <a:gd name="connsiteY7" fmla="*/ 0 h 571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5717750">
                <a:moveTo>
                  <a:pt x="941343" y="0"/>
                </a:moveTo>
                <a:lnTo>
                  <a:pt x="6096000" y="0"/>
                </a:lnTo>
                <a:lnTo>
                  <a:pt x="6096000" y="4691651"/>
                </a:lnTo>
                <a:lnTo>
                  <a:pt x="6070472" y="4718596"/>
                </a:lnTo>
                <a:cubicBezTo>
                  <a:pt x="5426962" y="5335925"/>
                  <a:pt x="4537962" y="5717750"/>
                  <a:pt x="3556000" y="5717750"/>
                </a:cubicBezTo>
                <a:cubicBezTo>
                  <a:pt x="1592075" y="5717750"/>
                  <a:pt x="0" y="4190448"/>
                  <a:pt x="0" y="2306425"/>
                </a:cubicBezTo>
                <a:cubicBezTo>
                  <a:pt x="0" y="1482165"/>
                  <a:pt x="304733" y="726184"/>
                  <a:pt x="812017" y="136505"/>
                </a:cubicBezTo>
                <a:lnTo>
                  <a:pt x="941343" y="0"/>
                </a:lnTo>
                <a:close/>
              </a:path>
            </a:pathLst>
          </a:custGeom>
          <a:blipFill dpi="0" rotWithShape="1">
            <a:blip r:embed="rId3">
              <a:grayscl/>
            </a:blip>
            <a:srcRect/>
            <a:stretch>
              <a:fillRect l="-11000" t="-1000"/>
            </a:stretch>
          </a:blip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586549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36109EF-7E07-4A6A-9F84-4312921252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36109EF-7E07-4A6A-9F84-4312921252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>
            <a:extLst>
              <a:ext uri="{FF2B5EF4-FFF2-40B4-BE49-F238E27FC236}">
                <a16:creationId xmlns:a16="http://schemas.microsoft.com/office/drawing/2014/main" id="{494EADB9-EC3F-3FD6-7DE4-1385DCEEFA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90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1119CD65-7110-2BBD-F7F0-8FACEA9C25DA}"/>
              </a:ext>
            </a:extLst>
          </p:cNvPr>
          <p:cNvSpPr/>
          <p:nvPr/>
        </p:nvSpPr>
        <p:spPr>
          <a:xfrm>
            <a:off x="0" y="0"/>
            <a:ext cx="12192000" cy="6908800"/>
          </a:xfrm>
          <a:prstGeom prst="rect">
            <a:avLst/>
          </a:prstGeom>
          <a:solidFill>
            <a:schemeClr val="tx1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8" name="Rektangel 17" hidden="1">
            <a:extLst>
              <a:ext uri="{FF2B5EF4-FFF2-40B4-BE49-F238E27FC236}">
                <a16:creationId xmlns:a16="http://schemas.microsoft.com/office/drawing/2014/main" id="{D73727A0-423C-4D41-9175-B38F285C5FA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1200" dirty="0">
              <a:latin typeface="SpareBank 1" panose="020B0500030000000000" pitchFamily="34" charset="0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7E3BF617-AADD-BECA-C5D0-0B3FB7C70C8C}"/>
              </a:ext>
            </a:extLst>
          </p:cNvPr>
          <p:cNvSpPr txBox="1">
            <a:spLocks/>
          </p:cNvSpPr>
          <p:nvPr/>
        </p:nvSpPr>
        <p:spPr>
          <a:xfrm>
            <a:off x="444441" y="336535"/>
            <a:ext cx="11299563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200" dirty="0">
                <a:solidFill>
                  <a:schemeClr val="bg1"/>
                </a:solidFill>
              </a:rPr>
              <a:t>3 av 10 bedrifter opplever bærekraft som en finansiell risiko. Relativt stor forskjell mellom bransjene</a:t>
            </a:r>
          </a:p>
        </p:txBody>
      </p:sp>
      <p:pic>
        <p:nvPicPr>
          <p:cNvPr id="29" name="Bilde 28">
            <a:extLst>
              <a:ext uri="{FF2B5EF4-FFF2-40B4-BE49-F238E27FC236}">
                <a16:creationId xmlns:a16="http://schemas.microsoft.com/office/drawing/2014/main" id="{2BF05711-30AC-A3B4-E085-EA233EA049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05120" y="6164125"/>
            <a:ext cx="2670279" cy="560881"/>
          </a:xfrm>
          <a:prstGeom prst="rect">
            <a:avLst/>
          </a:prstGeom>
        </p:spPr>
      </p:pic>
      <p:grpSp>
        <p:nvGrpSpPr>
          <p:cNvPr id="2" name="Gruppe 1">
            <a:extLst>
              <a:ext uri="{FF2B5EF4-FFF2-40B4-BE49-F238E27FC236}">
                <a16:creationId xmlns:a16="http://schemas.microsoft.com/office/drawing/2014/main" id="{1D7BE59E-B565-84B1-96E7-5D9677780453}"/>
              </a:ext>
            </a:extLst>
          </p:cNvPr>
          <p:cNvGrpSpPr/>
          <p:nvPr/>
        </p:nvGrpSpPr>
        <p:grpSpPr>
          <a:xfrm>
            <a:off x="9273497" y="1631180"/>
            <a:ext cx="2460554" cy="4097567"/>
            <a:chOff x="8762008" y="1682839"/>
            <a:chExt cx="2460554" cy="4097567"/>
          </a:xfrm>
        </p:grpSpPr>
        <p:sp>
          <p:nvSpPr>
            <p:cNvPr id="3" name="TekstSylinder 2">
              <a:extLst>
                <a:ext uri="{FF2B5EF4-FFF2-40B4-BE49-F238E27FC236}">
                  <a16:creationId xmlns:a16="http://schemas.microsoft.com/office/drawing/2014/main" id="{EFBC34EE-E94A-BE14-203C-51E2CBB1E00B}"/>
                </a:ext>
              </a:extLst>
            </p:cNvPr>
            <p:cNvSpPr txBox="1"/>
            <p:nvPr/>
          </p:nvSpPr>
          <p:spPr>
            <a:xfrm>
              <a:off x="8889670" y="4470866"/>
              <a:ext cx="233289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4800" b="1" dirty="0">
                  <a:solidFill>
                    <a:srgbClr val="008000"/>
                  </a:solidFill>
                </a:rPr>
                <a:t>26%</a:t>
              </a:r>
            </a:p>
          </p:txBody>
        </p:sp>
        <p:sp>
          <p:nvSpPr>
            <p:cNvPr id="4" name="TekstSylinder 3">
              <a:extLst>
                <a:ext uri="{FF2B5EF4-FFF2-40B4-BE49-F238E27FC236}">
                  <a16:creationId xmlns:a16="http://schemas.microsoft.com/office/drawing/2014/main" id="{A72A92D1-D0E3-2EBE-AB2A-42BF9A9C5978}"/>
                </a:ext>
              </a:extLst>
            </p:cNvPr>
            <p:cNvSpPr txBox="1"/>
            <p:nvPr/>
          </p:nvSpPr>
          <p:spPr>
            <a:xfrm>
              <a:off x="8762008" y="2026963"/>
              <a:ext cx="2332892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7200" b="1" dirty="0">
                  <a:solidFill>
                    <a:srgbClr val="C30C3E"/>
                  </a:solidFill>
                </a:rPr>
                <a:t>71%</a:t>
              </a:r>
            </a:p>
          </p:txBody>
        </p:sp>
        <p:sp>
          <p:nvSpPr>
            <p:cNvPr id="31" name="TekstSylinder 30">
              <a:extLst>
                <a:ext uri="{FF2B5EF4-FFF2-40B4-BE49-F238E27FC236}">
                  <a16:creationId xmlns:a16="http://schemas.microsoft.com/office/drawing/2014/main" id="{CFB7AA40-9D90-1A63-E125-55123680BE6F}"/>
                </a:ext>
              </a:extLst>
            </p:cNvPr>
            <p:cNvSpPr txBox="1"/>
            <p:nvPr/>
          </p:nvSpPr>
          <p:spPr>
            <a:xfrm>
              <a:off x="9230930" y="1682839"/>
              <a:ext cx="108766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2800" b="1" dirty="0">
                  <a:solidFill>
                    <a:srgbClr val="C30C3E"/>
                  </a:solidFill>
                </a:rPr>
                <a:t>NEI</a:t>
              </a:r>
            </a:p>
          </p:txBody>
        </p:sp>
        <p:sp>
          <p:nvSpPr>
            <p:cNvPr id="32" name="TekstSylinder 31">
              <a:extLst>
                <a:ext uri="{FF2B5EF4-FFF2-40B4-BE49-F238E27FC236}">
                  <a16:creationId xmlns:a16="http://schemas.microsoft.com/office/drawing/2014/main" id="{1A3E6848-5AC8-1FC2-E765-F340D7381FB3}"/>
                </a:ext>
              </a:extLst>
            </p:cNvPr>
            <p:cNvSpPr txBox="1"/>
            <p:nvPr/>
          </p:nvSpPr>
          <p:spPr>
            <a:xfrm>
              <a:off x="9113699" y="3020349"/>
              <a:ext cx="125049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2800" b="1" dirty="0">
                  <a:solidFill>
                    <a:schemeClr val="bg1"/>
                  </a:solidFill>
                </a:rPr>
                <a:t>2024</a:t>
              </a:r>
            </a:p>
          </p:txBody>
        </p:sp>
        <p:sp>
          <p:nvSpPr>
            <p:cNvPr id="33" name="TekstSylinder 32">
              <a:extLst>
                <a:ext uri="{FF2B5EF4-FFF2-40B4-BE49-F238E27FC236}">
                  <a16:creationId xmlns:a16="http://schemas.microsoft.com/office/drawing/2014/main" id="{1590A7F7-7605-44EC-F131-88E5B12A5045}"/>
                </a:ext>
              </a:extLst>
            </p:cNvPr>
            <p:cNvSpPr txBox="1"/>
            <p:nvPr/>
          </p:nvSpPr>
          <p:spPr>
            <a:xfrm>
              <a:off x="9230930" y="4013460"/>
              <a:ext cx="108766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2800" b="1" dirty="0">
                  <a:solidFill>
                    <a:srgbClr val="008000"/>
                  </a:solidFill>
                </a:rPr>
                <a:t>JA</a:t>
              </a:r>
            </a:p>
          </p:txBody>
        </p:sp>
        <p:sp>
          <p:nvSpPr>
            <p:cNvPr id="34" name="TekstSylinder 33">
              <a:extLst>
                <a:ext uri="{FF2B5EF4-FFF2-40B4-BE49-F238E27FC236}">
                  <a16:creationId xmlns:a16="http://schemas.microsoft.com/office/drawing/2014/main" id="{30823533-B60A-6D71-461F-B4AA9F78DAD3}"/>
                </a:ext>
              </a:extLst>
            </p:cNvPr>
            <p:cNvSpPr txBox="1"/>
            <p:nvPr/>
          </p:nvSpPr>
          <p:spPr>
            <a:xfrm>
              <a:off x="9113699" y="5257186"/>
              <a:ext cx="125049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2800" b="1" dirty="0">
                  <a:solidFill>
                    <a:schemeClr val="bg1"/>
                  </a:solidFill>
                </a:rPr>
                <a:t>2024</a:t>
              </a:r>
            </a:p>
          </p:txBody>
        </p:sp>
      </p:grpSp>
      <p:grpSp>
        <p:nvGrpSpPr>
          <p:cNvPr id="49" name="Gruppe 48">
            <a:extLst>
              <a:ext uri="{FF2B5EF4-FFF2-40B4-BE49-F238E27FC236}">
                <a16:creationId xmlns:a16="http://schemas.microsoft.com/office/drawing/2014/main" id="{158152DB-397F-C52E-BEA5-970CE45A9ADA}"/>
              </a:ext>
            </a:extLst>
          </p:cNvPr>
          <p:cNvGrpSpPr/>
          <p:nvPr/>
        </p:nvGrpSpPr>
        <p:grpSpPr>
          <a:xfrm>
            <a:off x="1005248" y="1631180"/>
            <a:ext cx="2460554" cy="4301844"/>
            <a:chOff x="1005248" y="1631180"/>
            <a:chExt cx="2460554" cy="4301844"/>
          </a:xfrm>
        </p:grpSpPr>
        <p:grpSp>
          <p:nvGrpSpPr>
            <p:cNvPr id="27" name="Gruppe 26">
              <a:extLst>
                <a:ext uri="{FF2B5EF4-FFF2-40B4-BE49-F238E27FC236}">
                  <a16:creationId xmlns:a16="http://schemas.microsoft.com/office/drawing/2014/main" id="{8AC6B6A7-6D65-62D7-A6E4-DBF811C303BF}"/>
                </a:ext>
              </a:extLst>
            </p:cNvPr>
            <p:cNvGrpSpPr/>
            <p:nvPr/>
          </p:nvGrpSpPr>
          <p:grpSpPr>
            <a:xfrm>
              <a:off x="1005248" y="1631180"/>
              <a:ext cx="2460554" cy="4116316"/>
              <a:chOff x="1841816" y="1687538"/>
              <a:chExt cx="2460554" cy="4116316"/>
            </a:xfrm>
          </p:grpSpPr>
          <p:sp>
            <p:nvSpPr>
              <p:cNvPr id="8" name="TekstSylinder 7">
                <a:extLst>
                  <a:ext uri="{FF2B5EF4-FFF2-40B4-BE49-F238E27FC236}">
                    <a16:creationId xmlns:a16="http://schemas.microsoft.com/office/drawing/2014/main" id="{AC159010-4CA4-4B60-62E0-2C73AD08B428}"/>
                  </a:ext>
                </a:extLst>
              </p:cNvPr>
              <p:cNvSpPr txBox="1"/>
              <p:nvPr/>
            </p:nvSpPr>
            <p:spPr>
              <a:xfrm>
                <a:off x="1841816" y="2031662"/>
                <a:ext cx="2332892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7200" b="1" dirty="0">
                    <a:solidFill>
                      <a:srgbClr val="C30C3E"/>
                    </a:solidFill>
                  </a:rPr>
                  <a:t>69%</a:t>
                </a:r>
              </a:p>
            </p:txBody>
          </p:sp>
          <p:sp>
            <p:nvSpPr>
              <p:cNvPr id="9" name="TekstSylinder 8">
                <a:extLst>
                  <a:ext uri="{FF2B5EF4-FFF2-40B4-BE49-F238E27FC236}">
                    <a16:creationId xmlns:a16="http://schemas.microsoft.com/office/drawing/2014/main" id="{434D88F5-B4B8-DC3B-8E78-F4A1F97A6EBD}"/>
                  </a:ext>
                </a:extLst>
              </p:cNvPr>
              <p:cNvSpPr txBox="1"/>
              <p:nvPr/>
            </p:nvSpPr>
            <p:spPr>
              <a:xfrm>
                <a:off x="2310738" y="1687538"/>
                <a:ext cx="1087663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2800" b="1" dirty="0">
                    <a:solidFill>
                      <a:srgbClr val="C30C3E"/>
                    </a:solidFill>
                  </a:rPr>
                  <a:t>NEI</a:t>
                </a:r>
              </a:p>
            </p:txBody>
          </p:sp>
          <p:sp>
            <p:nvSpPr>
              <p:cNvPr id="10" name="TekstSylinder 9">
                <a:extLst>
                  <a:ext uri="{FF2B5EF4-FFF2-40B4-BE49-F238E27FC236}">
                    <a16:creationId xmlns:a16="http://schemas.microsoft.com/office/drawing/2014/main" id="{847EB496-0F92-C3E1-124C-92F5347F23E9}"/>
                  </a:ext>
                </a:extLst>
              </p:cNvPr>
              <p:cNvSpPr txBox="1"/>
              <p:nvPr/>
            </p:nvSpPr>
            <p:spPr>
              <a:xfrm>
                <a:off x="2193507" y="3025048"/>
                <a:ext cx="1250494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2800" b="1" dirty="0">
                    <a:solidFill>
                      <a:schemeClr val="bg1"/>
                    </a:solidFill>
                  </a:rPr>
                  <a:t>2019</a:t>
                </a:r>
              </a:p>
            </p:txBody>
          </p:sp>
          <p:sp>
            <p:nvSpPr>
              <p:cNvPr id="11" name="TekstSylinder 10">
                <a:extLst>
                  <a:ext uri="{FF2B5EF4-FFF2-40B4-BE49-F238E27FC236}">
                    <a16:creationId xmlns:a16="http://schemas.microsoft.com/office/drawing/2014/main" id="{2C00DEAD-820E-289A-B23C-DD5DE7969E08}"/>
                  </a:ext>
                </a:extLst>
              </p:cNvPr>
              <p:cNvSpPr txBox="1"/>
              <p:nvPr/>
            </p:nvSpPr>
            <p:spPr>
              <a:xfrm>
                <a:off x="1969478" y="4494314"/>
                <a:ext cx="2332892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4800" b="1" dirty="0">
                    <a:solidFill>
                      <a:srgbClr val="008000"/>
                    </a:solidFill>
                  </a:rPr>
                  <a:t>17%</a:t>
                </a:r>
              </a:p>
            </p:txBody>
          </p:sp>
          <p:sp>
            <p:nvSpPr>
              <p:cNvPr id="12" name="TekstSylinder 11">
                <a:extLst>
                  <a:ext uri="{FF2B5EF4-FFF2-40B4-BE49-F238E27FC236}">
                    <a16:creationId xmlns:a16="http://schemas.microsoft.com/office/drawing/2014/main" id="{FFB994BF-3F16-5712-9000-55C52CAB18E9}"/>
                  </a:ext>
                </a:extLst>
              </p:cNvPr>
              <p:cNvSpPr txBox="1"/>
              <p:nvPr/>
            </p:nvSpPr>
            <p:spPr>
              <a:xfrm>
                <a:off x="2310738" y="4036908"/>
                <a:ext cx="1087663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2800" b="1" dirty="0">
                    <a:solidFill>
                      <a:srgbClr val="008000"/>
                    </a:solidFill>
                  </a:rPr>
                  <a:t>JA</a:t>
                </a:r>
              </a:p>
            </p:txBody>
          </p:sp>
          <p:sp>
            <p:nvSpPr>
              <p:cNvPr id="13" name="TekstSylinder 12">
                <a:extLst>
                  <a:ext uri="{FF2B5EF4-FFF2-40B4-BE49-F238E27FC236}">
                    <a16:creationId xmlns:a16="http://schemas.microsoft.com/office/drawing/2014/main" id="{5AAB5326-0F37-BDA0-717C-BF703D1CD23F}"/>
                  </a:ext>
                </a:extLst>
              </p:cNvPr>
              <p:cNvSpPr txBox="1"/>
              <p:nvPr/>
            </p:nvSpPr>
            <p:spPr>
              <a:xfrm>
                <a:off x="2193507" y="5280634"/>
                <a:ext cx="1250494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2800" b="1" dirty="0">
                    <a:solidFill>
                      <a:schemeClr val="bg1"/>
                    </a:solidFill>
                  </a:rPr>
                  <a:t>2019</a:t>
                </a:r>
              </a:p>
            </p:txBody>
          </p:sp>
        </p:grpSp>
        <p:cxnSp>
          <p:nvCxnSpPr>
            <p:cNvPr id="35" name="Rett linje 34">
              <a:extLst>
                <a:ext uri="{FF2B5EF4-FFF2-40B4-BE49-F238E27FC236}">
                  <a16:creationId xmlns:a16="http://schemas.microsoft.com/office/drawing/2014/main" id="{5CD46325-3CBA-0ADB-78DA-C5C9DDB2844D}"/>
                </a:ext>
              </a:extLst>
            </p:cNvPr>
            <p:cNvCxnSpPr>
              <a:cxnSpLocks/>
            </p:cNvCxnSpPr>
            <p:nvPr/>
          </p:nvCxnSpPr>
          <p:spPr>
            <a:xfrm>
              <a:off x="3374123" y="1800224"/>
              <a:ext cx="0" cy="413280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uppe 49">
            <a:extLst>
              <a:ext uri="{FF2B5EF4-FFF2-40B4-BE49-F238E27FC236}">
                <a16:creationId xmlns:a16="http://schemas.microsoft.com/office/drawing/2014/main" id="{C5511CA4-63C4-EC71-4995-AC2A8A1A581B}"/>
              </a:ext>
            </a:extLst>
          </p:cNvPr>
          <p:cNvGrpSpPr/>
          <p:nvPr/>
        </p:nvGrpSpPr>
        <p:grpSpPr>
          <a:xfrm>
            <a:off x="3761331" y="1631180"/>
            <a:ext cx="2460554" cy="4225645"/>
            <a:chOff x="3761331" y="1631180"/>
            <a:chExt cx="2460554" cy="4225645"/>
          </a:xfrm>
        </p:grpSpPr>
        <p:grpSp>
          <p:nvGrpSpPr>
            <p:cNvPr id="28" name="Gruppe 27">
              <a:extLst>
                <a:ext uri="{FF2B5EF4-FFF2-40B4-BE49-F238E27FC236}">
                  <a16:creationId xmlns:a16="http://schemas.microsoft.com/office/drawing/2014/main" id="{0D876E19-C918-4D49-3458-1482785AFB32}"/>
                </a:ext>
              </a:extLst>
            </p:cNvPr>
            <p:cNvGrpSpPr/>
            <p:nvPr/>
          </p:nvGrpSpPr>
          <p:grpSpPr>
            <a:xfrm>
              <a:off x="3761331" y="1631180"/>
              <a:ext cx="2460554" cy="4116316"/>
              <a:chOff x="5109277" y="1687538"/>
              <a:chExt cx="2460554" cy="4116316"/>
            </a:xfrm>
          </p:grpSpPr>
          <p:sp>
            <p:nvSpPr>
              <p:cNvPr id="14" name="TekstSylinder 13">
                <a:extLst>
                  <a:ext uri="{FF2B5EF4-FFF2-40B4-BE49-F238E27FC236}">
                    <a16:creationId xmlns:a16="http://schemas.microsoft.com/office/drawing/2014/main" id="{5127A47C-F168-F6A1-F00B-5C71A1D77C29}"/>
                  </a:ext>
                </a:extLst>
              </p:cNvPr>
              <p:cNvSpPr txBox="1"/>
              <p:nvPr/>
            </p:nvSpPr>
            <p:spPr>
              <a:xfrm>
                <a:off x="5109277" y="2031662"/>
                <a:ext cx="2332892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7200" b="1" dirty="0">
                    <a:solidFill>
                      <a:srgbClr val="C30C3E"/>
                    </a:solidFill>
                  </a:rPr>
                  <a:t>70%</a:t>
                </a:r>
              </a:p>
            </p:txBody>
          </p:sp>
          <p:sp>
            <p:nvSpPr>
              <p:cNvPr id="15" name="TekstSylinder 14">
                <a:extLst>
                  <a:ext uri="{FF2B5EF4-FFF2-40B4-BE49-F238E27FC236}">
                    <a16:creationId xmlns:a16="http://schemas.microsoft.com/office/drawing/2014/main" id="{93C54BAF-0652-227B-70C8-08C91937FBFE}"/>
                  </a:ext>
                </a:extLst>
              </p:cNvPr>
              <p:cNvSpPr txBox="1"/>
              <p:nvPr/>
            </p:nvSpPr>
            <p:spPr>
              <a:xfrm>
                <a:off x="5578199" y="1687538"/>
                <a:ext cx="1087663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2800" b="1" dirty="0">
                    <a:solidFill>
                      <a:srgbClr val="C30C3E"/>
                    </a:solidFill>
                  </a:rPr>
                  <a:t>NEI</a:t>
                </a:r>
              </a:p>
            </p:txBody>
          </p:sp>
          <p:sp>
            <p:nvSpPr>
              <p:cNvPr id="16" name="TekstSylinder 15">
                <a:extLst>
                  <a:ext uri="{FF2B5EF4-FFF2-40B4-BE49-F238E27FC236}">
                    <a16:creationId xmlns:a16="http://schemas.microsoft.com/office/drawing/2014/main" id="{B7E10C76-8794-332C-B809-6A6921F7FB65}"/>
                  </a:ext>
                </a:extLst>
              </p:cNvPr>
              <p:cNvSpPr txBox="1"/>
              <p:nvPr/>
            </p:nvSpPr>
            <p:spPr>
              <a:xfrm>
                <a:off x="5460968" y="3025048"/>
                <a:ext cx="1250494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2800" b="1" dirty="0">
                    <a:solidFill>
                      <a:schemeClr val="bg1"/>
                    </a:solidFill>
                  </a:rPr>
                  <a:t>2021</a:t>
                </a:r>
              </a:p>
            </p:txBody>
          </p:sp>
          <p:sp>
            <p:nvSpPr>
              <p:cNvPr id="17" name="TekstSylinder 16">
                <a:extLst>
                  <a:ext uri="{FF2B5EF4-FFF2-40B4-BE49-F238E27FC236}">
                    <a16:creationId xmlns:a16="http://schemas.microsoft.com/office/drawing/2014/main" id="{969F4F99-68FE-1640-5DD8-9FF4EF61E250}"/>
                  </a:ext>
                </a:extLst>
              </p:cNvPr>
              <p:cNvSpPr txBox="1"/>
              <p:nvPr/>
            </p:nvSpPr>
            <p:spPr>
              <a:xfrm>
                <a:off x="5236939" y="4494314"/>
                <a:ext cx="2332892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4800" b="1" dirty="0">
                    <a:solidFill>
                      <a:srgbClr val="008000"/>
                    </a:solidFill>
                  </a:rPr>
                  <a:t>26%</a:t>
                </a:r>
              </a:p>
            </p:txBody>
          </p:sp>
          <p:sp>
            <p:nvSpPr>
              <p:cNvPr id="19" name="TekstSylinder 18">
                <a:extLst>
                  <a:ext uri="{FF2B5EF4-FFF2-40B4-BE49-F238E27FC236}">
                    <a16:creationId xmlns:a16="http://schemas.microsoft.com/office/drawing/2014/main" id="{55502ED0-CBF9-B214-00D8-1A0A196ED6B4}"/>
                  </a:ext>
                </a:extLst>
              </p:cNvPr>
              <p:cNvSpPr txBox="1"/>
              <p:nvPr/>
            </p:nvSpPr>
            <p:spPr>
              <a:xfrm>
                <a:off x="5578199" y="4036908"/>
                <a:ext cx="1087663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2800" b="1" dirty="0">
                    <a:solidFill>
                      <a:srgbClr val="008000"/>
                    </a:solidFill>
                  </a:rPr>
                  <a:t>JA</a:t>
                </a:r>
              </a:p>
            </p:txBody>
          </p:sp>
          <p:sp>
            <p:nvSpPr>
              <p:cNvPr id="20" name="TekstSylinder 19">
                <a:extLst>
                  <a:ext uri="{FF2B5EF4-FFF2-40B4-BE49-F238E27FC236}">
                    <a16:creationId xmlns:a16="http://schemas.microsoft.com/office/drawing/2014/main" id="{DE220A42-C8CF-E1B3-C45E-C62D6D7F3238}"/>
                  </a:ext>
                </a:extLst>
              </p:cNvPr>
              <p:cNvSpPr txBox="1"/>
              <p:nvPr/>
            </p:nvSpPr>
            <p:spPr>
              <a:xfrm>
                <a:off x="5460968" y="5280634"/>
                <a:ext cx="1250494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2800" b="1" dirty="0">
                    <a:solidFill>
                      <a:schemeClr val="bg1"/>
                    </a:solidFill>
                  </a:rPr>
                  <a:t>2021</a:t>
                </a:r>
              </a:p>
            </p:txBody>
          </p:sp>
        </p:grpSp>
        <p:cxnSp>
          <p:nvCxnSpPr>
            <p:cNvPr id="38" name="Rett linje 37">
              <a:extLst>
                <a:ext uri="{FF2B5EF4-FFF2-40B4-BE49-F238E27FC236}">
                  <a16:creationId xmlns:a16="http://schemas.microsoft.com/office/drawing/2014/main" id="{DBFF156E-1DA5-D053-9FE1-2ABB585F63F7}"/>
                </a:ext>
              </a:extLst>
            </p:cNvPr>
            <p:cNvCxnSpPr>
              <a:cxnSpLocks/>
            </p:cNvCxnSpPr>
            <p:nvPr/>
          </p:nvCxnSpPr>
          <p:spPr>
            <a:xfrm>
              <a:off x="6205108" y="1724025"/>
              <a:ext cx="0" cy="413280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uppe 50">
            <a:extLst>
              <a:ext uri="{FF2B5EF4-FFF2-40B4-BE49-F238E27FC236}">
                <a16:creationId xmlns:a16="http://schemas.microsoft.com/office/drawing/2014/main" id="{E8C53ED3-AA59-5BD1-85D5-99C2F8E1B6D8}"/>
              </a:ext>
            </a:extLst>
          </p:cNvPr>
          <p:cNvGrpSpPr/>
          <p:nvPr/>
        </p:nvGrpSpPr>
        <p:grpSpPr>
          <a:xfrm>
            <a:off x="6517414" y="1631180"/>
            <a:ext cx="2460554" cy="4263744"/>
            <a:chOff x="6517414" y="1631180"/>
            <a:chExt cx="2460554" cy="4263744"/>
          </a:xfrm>
        </p:grpSpPr>
        <p:grpSp>
          <p:nvGrpSpPr>
            <p:cNvPr id="30" name="Gruppe 29">
              <a:extLst>
                <a:ext uri="{FF2B5EF4-FFF2-40B4-BE49-F238E27FC236}">
                  <a16:creationId xmlns:a16="http://schemas.microsoft.com/office/drawing/2014/main" id="{83B0FD18-0F3A-117E-602B-44FA10EEF3A3}"/>
                </a:ext>
              </a:extLst>
            </p:cNvPr>
            <p:cNvGrpSpPr/>
            <p:nvPr/>
          </p:nvGrpSpPr>
          <p:grpSpPr>
            <a:xfrm>
              <a:off x="6517414" y="1631180"/>
              <a:ext cx="2460554" cy="4097567"/>
              <a:chOff x="8762008" y="1682839"/>
              <a:chExt cx="2460554" cy="4097567"/>
            </a:xfrm>
          </p:grpSpPr>
          <p:sp>
            <p:nvSpPr>
              <p:cNvPr id="24" name="TekstSylinder 23">
                <a:extLst>
                  <a:ext uri="{FF2B5EF4-FFF2-40B4-BE49-F238E27FC236}">
                    <a16:creationId xmlns:a16="http://schemas.microsoft.com/office/drawing/2014/main" id="{98C80140-41D8-0178-8F78-14A5B05AC781}"/>
                  </a:ext>
                </a:extLst>
              </p:cNvPr>
              <p:cNvSpPr txBox="1"/>
              <p:nvPr/>
            </p:nvSpPr>
            <p:spPr>
              <a:xfrm>
                <a:off x="8889670" y="4470866"/>
                <a:ext cx="2332892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4800" b="1" dirty="0">
                    <a:solidFill>
                      <a:srgbClr val="008000"/>
                    </a:solidFill>
                  </a:rPr>
                  <a:t>27%</a:t>
                </a:r>
              </a:p>
            </p:txBody>
          </p:sp>
          <p:sp>
            <p:nvSpPr>
              <p:cNvPr id="21" name="TekstSylinder 20">
                <a:extLst>
                  <a:ext uri="{FF2B5EF4-FFF2-40B4-BE49-F238E27FC236}">
                    <a16:creationId xmlns:a16="http://schemas.microsoft.com/office/drawing/2014/main" id="{6DA79210-9B21-57C3-D9E8-1CA624D391E0}"/>
                  </a:ext>
                </a:extLst>
              </p:cNvPr>
              <p:cNvSpPr txBox="1"/>
              <p:nvPr/>
            </p:nvSpPr>
            <p:spPr>
              <a:xfrm>
                <a:off x="8762008" y="2026963"/>
                <a:ext cx="2332892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7200" b="1" dirty="0">
                    <a:solidFill>
                      <a:srgbClr val="C30C3E"/>
                    </a:solidFill>
                  </a:rPr>
                  <a:t>70%</a:t>
                </a:r>
              </a:p>
            </p:txBody>
          </p:sp>
          <p:sp>
            <p:nvSpPr>
              <p:cNvPr id="22" name="TekstSylinder 21">
                <a:extLst>
                  <a:ext uri="{FF2B5EF4-FFF2-40B4-BE49-F238E27FC236}">
                    <a16:creationId xmlns:a16="http://schemas.microsoft.com/office/drawing/2014/main" id="{0A3AF0B2-9B95-945B-36BC-FF99BD270107}"/>
                  </a:ext>
                </a:extLst>
              </p:cNvPr>
              <p:cNvSpPr txBox="1"/>
              <p:nvPr/>
            </p:nvSpPr>
            <p:spPr>
              <a:xfrm>
                <a:off x="9230930" y="1682839"/>
                <a:ext cx="1087663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2800" b="1" dirty="0">
                    <a:solidFill>
                      <a:srgbClr val="C30C3E"/>
                    </a:solidFill>
                  </a:rPr>
                  <a:t>NEI</a:t>
                </a:r>
              </a:p>
            </p:txBody>
          </p:sp>
          <p:sp>
            <p:nvSpPr>
              <p:cNvPr id="23" name="TekstSylinder 22">
                <a:extLst>
                  <a:ext uri="{FF2B5EF4-FFF2-40B4-BE49-F238E27FC236}">
                    <a16:creationId xmlns:a16="http://schemas.microsoft.com/office/drawing/2014/main" id="{862B5974-2844-5EF3-4E4E-AEBFB286A863}"/>
                  </a:ext>
                </a:extLst>
              </p:cNvPr>
              <p:cNvSpPr txBox="1"/>
              <p:nvPr/>
            </p:nvSpPr>
            <p:spPr>
              <a:xfrm>
                <a:off x="9113699" y="3020349"/>
                <a:ext cx="1250494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2800" b="1" dirty="0">
                    <a:solidFill>
                      <a:schemeClr val="bg1"/>
                    </a:solidFill>
                  </a:rPr>
                  <a:t>2023</a:t>
                </a:r>
              </a:p>
            </p:txBody>
          </p:sp>
          <p:sp>
            <p:nvSpPr>
              <p:cNvPr id="25" name="TekstSylinder 24">
                <a:extLst>
                  <a:ext uri="{FF2B5EF4-FFF2-40B4-BE49-F238E27FC236}">
                    <a16:creationId xmlns:a16="http://schemas.microsoft.com/office/drawing/2014/main" id="{B762419E-A0DF-30EA-78B0-F77DC5007BFD}"/>
                  </a:ext>
                </a:extLst>
              </p:cNvPr>
              <p:cNvSpPr txBox="1"/>
              <p:nvPr/>
            </p:nvSpPr>
            <p:spPr>
              <a:xfrm>
                <a:off x="9230930" y="4013460"/>
                <a:ext cx="1087663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2800" b="1" dirty="0">
                    <a:solidFill>
                      <a:srgbClr val="008000"/>
                    </a:solidFill>
                  </a:rPr>
                  <a:t>JA</a:t>
                </a:r>
              </a:p>
            </p:txBody>
          </p:sp>
          <p:sp>
            <p:nvSpPr>
              <p:cNvPr id="26" name="TekstSylinder 25">
                <a:extLst>
                  <a:ext uri="{FF2B5EF4-FFF2-40B4-BE49-F238E27FC236}">
                    <a16:creationId xmlns:a16="http://schemas.microsoft.com/office/drawing/2014/main" id="{2F113980-B55D-65F4-D763-D7F7BF4C9C1C}"/>
                  </a:ext>
                </a:extLst>
              </p:cNvPr>
              <p:cNvSpPr txBox="1"/>
              <p:nvPr/>
            </p:nvSpPr>
            <p:spPr>
              <a:xfrm>
                <a:off x="9113699" y="5257186"/>
                <a:ext cx="1250494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2800" b="1" dirty="0">
                    <a:solidFill>
                      <a:schemeClr val="bg1"/>
                    </a:solidFill>
                  </a:rPr>
                  <a:t>2023</a:t>
                </a:r>
              </a:p>
            </p:txBody>
          </p:sp>
        </p:grpSp>
        <p:cxnSp>
          <p:nvCxnSpPr>
            <p:cNvPr id="39" name="Rett linje 38">
              <a:extLst>
                <a:ext uri="{FF2B5EF4-FFF2-40B4-BE49-F238E27FC236}">
                  <a16:creationId xmlns:a16="http://schemas.microsoft.com/office/drawing/2014/main" id="{1B5B7917-0FA8-4A24-64A9-ACD527D01579}"/>
                </a:ext>
              </a:extLst>
            </p:cNvPr>
            <p:cNvCxnSpPr>
              <a:cxnSpLocks/>
            </p:cNvCxnSpPr>
            <p:nvPr/>
          </p:nvCxnSpPr>
          <p:spPr>
            <a:xfrm>
              <a:off x="8850306" y="1762124"/>
              <a:ext cx="0" cy="413280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Plassholder for bunntekst 3">
            <a:extLst>
              <a:ext uri="{FF2B5EF4-FFF2-40B4-BE49-F238E27FC236}">
                <a16:creationId xmlns:a16="http://schemas.microsoft.com/office/drawing/2014/main" id="{8B53AFA0-E84B-3D8B-8D4B-BDF2861255BD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bg1"/>
                </a:solidFill>
              </a:rPr>
              <a:t>Kilde: Sentio Research Norge</a:t>
            </a:r>
          </a:p>
        </p:txBody>
      </p:sp>
    </p:spTree>
    <p:extLst>
      <p:ext uri="{BB962C8B-B14F-4D97-AF65-F5344CB8AC3E}">
        <p14:creationId xmlns:p14="http://schemas.microsoft.com/office/powerpoint/2010/main" val="2549290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Picture 4">
            <a:extLst>
              <a:ext uri="{FF2B5EF4-FFF2-40B4-BE49-F238E27FC236}">
                <a16:creationId xmlns:a16="http://schemas.microsoft.com/office/drawing/2014/main" id="{CB69AAB7-EDC6-73BA-A505-29F9C8E349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4234" y="4041118"/>
            <a:ext cx="1980135" cy="1214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16">
            <a:extLst>
              <a:ext uri="{FF2B5EF4-FFF2-40B4-BE49-F238E27FC236}">
                <a16:creationId xmlns:a16="http://schemas.microsoft.com/office/drawing/2014/main" id="{4F6A3184-BF10-0AC4-7604-4C9A6BF1F1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24017" y="4021409"/>
            <a:ext cx="1975163" cy="1369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8">
            <a:extLst>
              <a:ext uri="{FF2B5EF4-FFF2-40B4-BE49-F238E27FC236}">
                <a16:creationId xmlns:a16="http://schemas.microsoft.com/office/drawing/2014/main" id="{6CCBA612-0B9F-A6B0-6A2E-0648FF134F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37395" y="4041118"/>
            <a:ext cx="2015863" cy="1350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0">
            <a:extLst>
              <a:ext uri="{FF2B5EF4-FFF2-40B4-BE49-F238E27FC236}">
                <a16:creationId xmlns:a16="http://schemas.microsoft.com/office/drawing/2014/main" id="{1E719004-B1CC-811F-39B1-492506B561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119" r="47091" b="12536"/>
          <a:stretch/>
        </p:blipFill>
        <p:spPr bwMode="auto">
          <a:xfrm>
            <a:off x="2863853" y="4041118"/>
            <a:ext cx="1947345" cy="1203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6552E03E-A07C-94F9-8858-80ABD2A1B7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711" r="29128" b="17510"/>
          <a:stretch/>
        </p:blipFill>
        <p:spPr bwMode="auto">
          <a:xfrm>
            <a:off x="7519755" y="1364245"/>
            <a:ext cx="1954093" cy="1326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3D7C139F-1473-9931-C338-CAE7F47263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85" r="42570" b="17117"/>
          <a:stretch/>
        </p:blipFill>
        <p:spPr bwMode="auto">
          <a:xfrm>
            <a:off x="5137396" y="1364245"/>
            <a:ext cx="1991637" cy="1361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9E386925-BCB4-09D2-EA5C-69A7E643DC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945" r="23688"/>
          <a:stretch/>
        </p:blipFill>
        <p:spPr bwMode="auto">
          <a:xfrm>
            <a:off x="2842355" y="1378238"/>
            <a:ext cx="1977858" cy="1361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93DF4B60-558E-467A-809F-A8FA1006B7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93DF4B60-558E-467A-809F-A8FA1006B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ktangel 12" hidden="1">
            <a:extLst>
              <a:ext uri="{FF2B5EF4-FFF2-40B4-BE49-F238E27FC236}">
                <a16:creationId xmlns:a16="http://schemas.microsoft.com/office/drawing/2014/main" id="{89009246-DCFE-4301-AC3A-7742247FE8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pareBank 1 Title" panose="020B0500030000000000" pitchFamily="34" charset="0"/>
              <a:ea typeface="+mn-ea"/>
              <a:cs typeface="+mn-cs"/>
              <a:sym typeface="SpareBank 1 Title" panose="020B0500030000000000" pitchFamily="34" charset="0"/>
            </a:endParaRPr>
          </a:p>
        </p:txBody>
      </p:sp>
      <p:pic>
        <p:nvPicPr>
          <p:cNvPr id="16" name="Bilde 15">
            <a:extLst>
              <a:ext uri="{FF2B5EF4-FFF2-40B4-BE49-F238E27FC236}">
                <a16:creationId xmlns:a16="http://schemas.microsoft.com/office/drawing/2014/main" id="{E2D6B821-B177-4640-B41C-1374D0A8E936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97" r="21862"/>
          <a:stretch/>
        </p:blipFill>
        <p:spPr>
          <a:xfrm>
            <a:off x="497896" y="1378238"/>
            <a:ext cx="1975164" cy="133679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Bilde 18">
            <a:extLst>
              <a:ext uri="{FF2B5EF4-FFF2-40B4-BE49-F238E27FC236}">
                <a16:creationId xmlns:a16="http://schemas.microsoft.com/office/drawing/2014/main" id="{C7A6952A-9498-4DBE-8B44-877D1010AFFA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69"/>
          <a:stretch/>
        </p:blipFill>
        <p:spPr>
          <a:xfrm>
            <a:off x="7501988" y="2372874"/>
            <a:ext cx="1975163" cy="136144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Bilde 19">
            <a:extLst>
              <a:ext uri="{FF2B5EF4-FFF2-40B4-BE49-F238E27FC236}">
                <a16:creationId xmlns:a16="http://schemas.microsoft.com/office/drawing/2014/main" id="{C2B66C6B-2274-471A-80AD-52537CED8139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13" r="9496"/>
          <a:stretch/>
        </p:blipFill>
        <p:spPr>
          <a:xfrm>
            <a:off x="497896" y="4041118"/>
            <a:ext cx="2004779" cy="115412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8" name="Bilde 27">
            <a:extLst>
              <a:ext uri="{FF2B5EF4-FFF2-40B4-BE49-F238E27FC236}">
                <a16:creationId xmlns:a16="http://schemas.microsoft.com/office/drawing/2014/main" id="{CB9A8D40-B52D-41BF-8F2F-396AB1F3C9D2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69"/>
          <a:stretch/>
        </p:blipFill>
        <p:spPr>
          <a:xfrm>
            <a:off x="5137396" y="2372873"/>
            <a:ext cx="1990029" cy="136144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9" name="Bilde 28">
            <a:extLst>
              <a:ext uri="{FF2B5EF4-FFF2-40B4-BE49-F238E27FC236}">
                <a16:creationId xmlns:a16="http://schemas.microsoft.com/office/drawing/2014/main" id="{765A5081-3BCC-426F-B47C-D987099EFCA7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69"/>
          <a:stretch/>
        </p:blipFill>
        <p:spPr>
          <a:xfrm>
            <a:off x="2842356" y="2439777"/>
            <a:ext cx="1975163" cy="131251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0" name="Bilde 29">
            <a:extLst>
              <a:ext uri="{FF2B5EF4-FFF2-40B4-BE49-F238E27FC236}">
                <a16:creationId xmlns:a16="http://schemas.microsoft.com/office/drawing/2014/main" id="{2BDA7D1C-7E47-4B10-8F0F-330F13679F2D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69"/>
          <a:stretch/>
        </p:blipFill>
        <p:spPr>
          <a:xfrm>
            <a:off x="497898" y="2439777"/>
            <a:ext cx="1975161" cy="131251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1" name="TekstSylinder 30">
            <a:extLst>
              <a:ext uri="{FF2B5EF4-FFF2-40B4-BE49-F238E27FC236}">
                <a16:creationId xmlns:a16="http://schemas.microsoft.com/office/drawing/2014/main" id="{F241CA2B-7C52-49E4-9A11-A84C2F4472B8}"/>
              </a:ext>
            </a:extLst>
          </p:cNvPr>
          <p:cNvSpPr txBox="1"/>
          <p:nvPr/>
        </p:nvSpPr>
        <p:spPr>
          <a:xfrm>
            <a:off x="498182" y="2626949"/>
            <a:ext cx="197516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Varehandel</a:t>
            </a:r>
          </a:p>
        </p:txBody>
      </p:sp>
      <p:sp>
        <p:nvSpPr>
          <p:cNvPr id="53" name="TekstSylinder 52">
            <a:extLst>
              <a:ext uri="{FF2B5EF4-FFF2-40B4-BE49-F238E27FC236}">
                <a16:creationId xmlns:a16="http://schemas.microsoft.com/office/drawing/2014/main" id="{49B1FF48-A4AB-4EC6-9005-FE1C35025EF6}"/>
              </a:ext>
            </a:extLst>
          </p:cNvPr>
          <p:cNvSpPr txBox="1"/>
          <p:nvPr/>
        </p:nvSpPr>
        <p:spPr>
          <a:xfrm>
            <a:off x="2805711" y="2626949"/>
            <a:ext cx="201942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Bygg og anlegg</a:t>
            </a:r>
          </a:p>
        </p:txBody>
      </p:sp>
      <p:sp>
        <p:nvSpPr>
          <p:cNvPr id="65" name="TekstSylinder 64">
            <a:extLst>
              <a:ext uri="{FF2B5EF4-FFF2-40B4-BE49-F238E27FC236}">
                <a16:creationId xmlns:a16="http://schemas.microsoft.com/office/drawing/2014/main" id="{B1F595F0-D71C-4D6C-987F-B5748A7A2F85}"/>
              </a:ext>
            </a:extLst>
          </p:cNvPr>
          <p:cNvSpPr txBox="1"/>
          <p:nvPr/>
        </p:nvSpPr>
        <p:spPr>
          <a:xfrm>
            <a:off x="5118346" y="2626949"/>
            <a:ext cx="2005989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Fiskeri/Havbruk</a:t>
            </a:r>
          </a:p>
        </p:txBody>
      </p:sp>
      <p:sp>
        <p:nvSpPr>
          <p:cNvPr id="95" name="TekstSylinder 94">
            <a:extLst>
              <a:ext uri="{FF2B5EF4-FFF2-40B4-BE49-F238E27FC236}">
                <a16:creationId xmlns:a16="http://schemas.microsoft.com/office/drawing/2014/main" id="{3BCD1A04-9B44-46A7-9747-08EF773DB6F0}"/>
              </a:ext>
            </a:extLst>
          </p:cNvPr>
          <p:cNvSpPr txBox="1"/>
          <p:nvPr/>
        </p:nvSpPr>
        <p:spPr>
          <a:xfrm>
            <a:off x="7532114" y="2626949"/>
            <a:ext cx="195409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Næringseiendom</a:t>
            </a:r>
          </a:p>
        </p:txBody>
      </p:sp>
      <p:sp>
        <p:nvSpPr>
          <p:cNvPr id="103" name="TekstSylinder 102">
            <a:extLst>
              <a:ext uri="{FF2B5EF4-FFF2-40B4-BE49-F238E27FC236}">
                <a16:creationId xmlns:a16="http://schemas.microsoft.com/office/drawing/2014/main" id="{5526F22E-D2A8-4E26-BD68-E40CE0ACFB91}"/>
              </a:ext>
            </a:extLst>
          </p:cNvPr>
          <p:cNvSpPr txBox="1"/>
          <p:nvPr/>
        </p:nvSpPr>
        <p:spPr>
          <a:xfrm>
            <a:off x="750108" y="3026304"/>
            <a:ext cx="4833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JA</a:t>
            </a:r>
          </a:p>
        </p:txBody>
      </p:sp>
      <p:sp>
        <p:nvSpPr>
          <p:cNvPr id="104" name="TekstSylinder 103">
            <a:extLst>
              <a:ext uri="{FF2B5EF4-FFF2-40B4-BE49-F238E27FC236}">
                <a16:creationId xmlns:a16="http://schemas.microsoft.com/office/drawing/2014/main" id="{0E1F2806-1594-445D-A146-9255888F2DD1}"/>
              </a:ext>
            </a:extLst>
          </p:cNvPr>
          <p:cNvSpPr txBox="1"/>
          <p:nvPr/>
        </p:nvSpPr>
        <p:spPr>
          <a:xfrm>
            <a:off x="1603462" y="3026304"/>
            <a:ext cx="70854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NEI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9167084D-9005-87E2-0386-8C6E6C4D3BBF}"/>
              </a:ext>
            </a:extLst>
          </p:cNvPr>
          <p:cNvSpPr txBox="1"/>
          <p:nvPr/>
        </p:nvSpPr>
        <p:spPr>
          <a:xfrm>
            <a:off x="688913" y="3209598"/>
            <a:ext cx="10247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b="1" dirty="0">
                <a:solidFill>
                  <a:schemeClr val="accent2"/>
                </a:solidFill>
              </a:rPr>
              <a:t>25%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96352CA0-EA2B-59EA-1AA4-9E90DDA41F80}"/>
              </a:ext>
            </a:extLst>
          </p:cNvPr>
          <p:cNvSpPr txBox="1"/>
          <p:nvPr/>
        </p:nvSpPr>
        <p:spPr>
          <a:xfrm>
            <a:off x="1688563" y="3240376"/>
            <a:ext cx="6088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</a:rPr>
              <a:t>71%</a:t>
            </a:r>
          </a:p>
        </p:txBody>
      </p:sp>
      <p:pic>
        <p:nvPicPr>
          <p:cNvPr id="36" name="Bilde 35">
            <a:extLst>
              <a:ext uri="{FF2B5EF4-FFF2-40B4-BE49-F238E27FC236}">
                <a16:creationId xmlns:a16="http://schemas.microsoft.com/office/drawing/2014/main" id="{0B353862-BBD7-DA9E-D14F-05FB840D4176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69"/>
          <a:stretch/>
        </p:blipFill>
        <p:spPr>
          <a:xfrm>
            <a:off x="470078" y="4924425"/>
            <a:ext cx="2048998" cy="135019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7" name="TekstSylinder 36">
            <a:extLst>
              <a:ext uri="{FF2B5EF4-FFF2-40B4-BE49-F238E27FC236}">
                <a16:creationId xmlns:a16="http://schemas.microsoft.com/office/drawing/2014/main" id="{81EB0F1E-9A22-803B-ECA5-DB10A1DFF43F}"/>
              </a:ext>
            </a:extLst>
          </p:cNvPr>
          <p:cNvSpPr txBox="1"/>
          <p:nvPr/>
        </p:nvSpPr>
        <p:spPr>
          <a:xfrm>
            <a:off x="497896" y="5157826"/>
            <a:ext cx="2004779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Landbruk</a:t>
            </a:r>
          </a:p>
        </p:txBody>
      </p:sp>
      <p:pic>
        <p:nvPicPr>
          <p:cNvPr id="44" name="Bilde 43">
            <a:extLst>
              <a:ext uri="{FF2B5EF4-FFF2-40B4-BE49-F238E27FC236}">
                <a16:creationId xmlns:a16="http://schemas.microsoft.com/office/drawing/2014/main" id="{CB33BDF4-F3C1-5CEC-A74E-D334161693D3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69"/>
          <a:stretch/>
        </p:blipFill>
        <p:spPr>
          <a:xfrm>
            <a:off x="2836036" y="4924425"/>
            <a:ext cx="1975163" cy="135019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5" name="TekstSylinder 44">
            <a:extLst>
              <a:ext uri="{FF2B5EF4-FFF2-40B4-BE49-F238E27FC236}">
                <a16:creationId xmlns:a16="http://schemas.microsoft.com/office/drawing/2014/main" id="{601C6D69-1D29-B2A9-C41D-992F593B43DD}"/>
              </a:ext>
            </a:extLst>
          </p:cNvPr>
          <p:cNvSpPr txBox="1"/>
          <p:nvPr/>
        </p:nvSpPr>
        <p:spPr>
          <a:xfrm>
            <a:off x="2826795" y="5157826"/>
            <a:ext cx="197516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Industri</a:t>
            </a:r>
          </a:p>
        </p:txBody>
      </p:sp>
      <p:pic>
        <p:nvPicPr>
          <p:cNvPr id="52" name="Bilde 51">
            <a:extLst>
              <a:ext uri="{FF2B5EF4-FFF2-40B4-BE49-F238E27FC236}">
                <a16:creationId xmlns:a16="http://schemas.microsoft.com/office/drawing/2014/main" id="{F50776B4-6F5C-B8E2-3D98-25627038D166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69"/>
          <a:stretch/>
        </p:blipFill>
        <p:spPr>
          <a:xfrm>
            <a:off x="5171147" y="4924425"/>
            <a:ext cx="1975163" cy="135019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4" name="TekstSylinder 53">
            <a:extLst>
              <a:ext uri="{FF2B5EF4-FFF2-40B4-BE49-F238E27FC236}">
                <a16:creationId xmlns:a16="http://schemas.microsoft.com/office/drawing/2014/main" id="{1E66CA4F-85DA-CD8B-EC7C-FE89C901D987}"/>
              </a:ext>
            </a:extLst>
          </p:cNvPr>
          <p:cNvSpPr txBox="1"/>
          <p:nvPr/>
        </p:nvSpPr>
        <p:spPr>
          <a:xfrm>
            <a:off x="5104756" y="5140094"/>
            <a:ext cx="197516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Tjenesteyting/ kommunikasjon</a:t>
            </a:r>
          </a:p>
        </p:txBody>
      </p:sp>
      <p:pic>
        <p:nvPicPr>
          <p:cNvPr id="61" name="Bilde 60">
            <a:extLst>
              <a:ext uri="{FF2B5EF4-FFF2-40B4-BE49-F238E27FC236}">
                <a16:creationId xmlns:a16="http://schemas.microsoft.com/office/drawing/2014/main" id="{53526B7B-5341-E74E-26C2-A830757DFFC1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69"/>
          <a:stretch/>
        </p:blipFill>
        <p:spPr>
          <a:xfrm>
            <a:off x="7460977" y="4924425"/>
            <a:ext cx="2012871" cy="135019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2" name="TekstSylinder 61">
            <a:extLst>
              <a:ext uri="{FF2B5EF4-FFF2-40B4-BE49-F238E27FC236}">
                <a16:creationId xmlns:a16="http://schemas.microsoft.com/office/drawing/2014/main" id="{A0E6A52D-3B3A-2232-61A2-6B4847BB6C80}"/>
              </a:ext>
            </a:extLst>
          </p:cNvPr>
          <p:cNvSpPr txBox="1"/>
          <p:nvPr/>
        </p:nvSpPr>
        <p:spPr>
          <a:xfrm>
            <a:off x="7451736" y="5157826"/>
            <a:ext cx="197516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Hotell/restaurant</a:t>
            </a:r>
          </a:p>
        </p:txBody>
      </p:sp>
      <p:pic>
        <p:nvPicPr>
          <p:cNvPr id="68" name="Bilde 67">
            <a:extLst>
              <a:ext uri="{FF2B5EF4-FFF2-40B4-BE49-F238E27FC236}">
                <a16:creationId xmlns:a16="http://schemas.microsoft.com/office/drawing/2014/main" id="{4BEB9FEB-BA4D-62D5-B5F0-2A86E4352249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69"/>
          <a:stretch/>
        </p:blipFill>
        <p:spPr>
          <a:xfrm>
            <a:off x="9824489" y="4904716"/>
            <a:ext cx="1975163" cy="135019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9" name="TekstSylinder 68">
            <a:extLst>
              <a:ext uri="{FF2B5EF4-FFF2-40B4-BE49-F238E27FC236}">
                <a16:creationId xmlns:a16="http://schemas.microsoft.com/office/drawing/2014/main" id="{CA8099D2-AAA4-A02F-CC44-9FE9095A0545}"/>
              </a:ext>
            </a:extLst>
          </p:cNvPr>
          <p:cNvSpPr txBox="1"/>
          <p:nvPr/>
        </p:nvSpPr>
        <p:spPr>
          <a:xfrm>
            <a:off x="9815248" y="5157826"/>
            <a:ext cx="197516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Transport og lagring</a:t>
            </a:r>
          </a:p>
        </p:txBody>
      </p:sp>
      <p:sp>
        <p:nvSpPr>
          <p:cNvPr id="76" name="Tittel 1">
            <a:extLst>
              <a:ext uri="{FF2B5EF4-FFF2-40B4-BE49-F238E27FC236}">
                <a16:creationId xmlns:a16="http://schemas.microsoft.com/office/drawing/2014/main" id="{609DCF67-0706-86DE-E480-F22E60D25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00" y="233713"/>
            <a:ext cx="11308680" cy="457668"/>
          </a:xfrm>
        </p:spPr>
        <p:txBody>
          <a:bodyPr vert="horz"/>
          <a:lstStyle/>
          <a:p>
            <a:r>
              <a:rPr lang="nb-NO" sz="3200" dirty="0">
                <a:solidFill>
                  <a:schemeClr val="accent2"/>
                </a:solidFill>
              </a:rPr>
              <a:t>Halvparten av bedriftene innenfor transport og lagring, samt fiskeri/havbruk, opplever bærekraft som en finansiell risiko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9E93E1F2-770D-AB95-FBCA-73EE7492A869}"/>
              </a:ext>
            </a:extLst>
          </p:cNvPr>
          <p:cNvSpPr txBox="1"/>
          <p:nvPr/>
        </p:nvSpPr>
        <p:spPr>
          <a:xfrm>
            <a:off x="3065191" y="3026304"/>
            <a:ext cx="4833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JA</a:t>
            </a: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DB9A33D0-C3B2-5C24-25B8-AE8258EA13F5}"/>
              </a:ext>
            </a:extLst>
          </p:cNvPr>
          <p:cNvSpPr txBox="1"/>
          <p:nvPr/>
        </p:nvSpPr>
        <p:spPr>
          <a:xfrm>
            <a:off x="3899495" y="3026304"/>
            <a:ext cx="70854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NEI</a:t>
            </a:r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B7E87BDE-3278-2CBA-8A99-1E9357353D0F}"/>
              </a:ext>
            </a:extLst>
          </p:cNvPr>
          <p:cNvSpPr txBox="1"/>
          <p:nvPr/>
        </p:nvSpPr>
        <p:spPr>
          <a:xfrm>
            <a:off x="2975421" y="3209598"/>
            <a:ext cx="10247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b="1" dirty="0">
                <a:solidFill>
                  <a:schemeClr val="accent2"/>
                </a:solidFill>
              </a:rPr>
              <a:t>32%</a:t>
            </a:r>
          </a:p>
        </p:txBody>
      </p:sp>
      <p:sp>
        <p:nvSpPr>
          <p:cNvPr id="23" name="TekstSylinder 22">
            <a:extLst>
              <a:ext uri="{FF2B5EF4-FFF2-40B4-BE49-F238E27FC236}">
                <a16:creationId xmlns:a16="http://schemas.microsoft.com/office/drawing/2014/main" id="{5496F41F-900F-E220-1FEF-5AD279791CDF}"/>
              </a:ext>
            </a:extLst>
          </p:cNvPr>
          <p:cNvSpPr txBox="1"/>
          <p:nvPr/>
        </p:nvSpPr>
        <p:spPr>
          <a:xfrm>
            <a:off x="3994121" y="3240376"/>
            <a:ext cx="6320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</a:rPr>
              <a:t>65%</a:t>
            </a:r>
          </a:p>
        </p:txBody>
      </p:sp>
      <p:sp>
        <p:nvSpPr>
          <p:cNvPr id="24" name="TekstSylinder 23">
            <a:extLst>
              <a:ext uri="{FF2B5EF4-FFF2-40B4-BE49-F238E27FC236}">
                <a16:creationId xmlns:a16="http://schemas.microsoft.com/office/drawing/2014/main" id="{41713E3A-1E4B-452F-E7B5-16FC1DF3469D}"/>
              </a:ext>
            </a:extLst>
          </p:cNvPr>
          <p:cNvSpPr txBox="1"/>
          <p:nvPr/>
        </p:nvSpPr>
        <p:spPr>
          <a:xfrm>
            <a:off x="5358696" y="3026304"/>
            <a:ext cx="4833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JA</a:t>
            </a: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3DCF6683-E93A-15A6-617D-2A1CE4DEF8E6}"/>
              </a:ext>
            </a:extLst>
          </p:cNvPr>
          <p:cNvSpPr txBox="1"/>
          <p:nvPr/>
        </p:nvSpPr>
        <p:spPr>
          <a:xfrm>
            <a:off x="6135850" y="3026304"/>
            <a:ext cx="70854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NEI</a:t>
            </a:r>
          </a:p>
        </p:txBody>
      </p:sp>
      <p:sp>
        <p:nvSpPr>
          <p:cNvPr id="35" name="TekstSylinder 34">
            <a:extLst>
              <a:ext uri="{FF2B5EF4-FFF2-40B4-BE49-F238E27FC236}">
                <a16:creationId xmlns:a16="http://schemas.microsoft.com/office/drawing/2014/main" id="{7042D793-0FE6-43FD-2EA4-16A67C3D69B6}"/>
              </a:ext>
            </a:extLst>
          </p:cNvPr>
          <p:cNvSpPr txBox="1"/>
          <p:nvPr/>
        </p:nvSpPr>
        <p:spPr>
          <a:xfrm>
            <a:off x="5326076" y="3209598"/>
            <a:ext cx="10247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b="1" dirty="0">
                <a:solidFill>
                  <a:schemeClr val="accent2"/>
                </a:solidFill>
              </a:rPr>
              <a:t>49%</a:t>
            </a:r>
          </a:p>
        </p:txBody>
      </p:sp>
      <p:sp>
        <p:nvSpPr>
          <p:cNvPr id="40" name="TekstSylinder 39">
            <a:extLst>
              <a:ext uri="{FF2B5EF4-FFF2-40B4-BE49-F238E27FC236}">
                <a16:creationId xmlns:a16="http://schemas.microsoft.com/office/drawing/2014/main" id="{8BC8D2B0-51B4-228D-8015-47A5D5165438}"/>
              </a:ext>
            </a:extLst>
          </p:cNvPr>
          <p:cNvSpPr txBox="1"/>
          <p:nvPr/>
        </p:nvSpPr>
        <p:spPr>
          <a:xfrm>
            <a:off x="6240001" y="3240376"/>
            <a:ext cx="684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</a:rPr>
              <a:t>45%</a:t>
            </a:r>
          </a:p>
        </p:txBody>
      </p:sp>
      <p:sp>
        <p:nvSpPr>
          <p:cNvPr id="43" name="TekstSylinder 42">
            <a:extLst>
              <a:ext uri="{FF2B5EF4-FFF2-40B4-BE49-F238E27FC236}">
                <a16:creationId xmlns:a16="http://schemas.microsoft.com/office/drawing/2014/main" id="{4F6BBC88-ED66-7AF1-1205-503D35B912B5}"/>
              </a:ext>
            </a:extLst>
          </p:cNvPr>
          <p:cNvSpPr txBox="1"/>
          <p:nvPr/>
        </p:nvSpPr>
        <p:spPr>
          <a:xfrm>
            <a:off x="7757134" y="3026304"/>
            <a:ext cx="4833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JA</a:t>
            </a:r>
          </a:p>
        </p:txBody>
      </p:sp>
      <p:sp>
        <p:nvSpPr>
          <p:cNvPr id="51" name="TekstSylinder 50">
            <a:extLst>
              <a:ext uri="{FF2B5EF4-FFF2-40B4-BE49-F238E27FC236}">
                <a16:creationId xmlns:a16="http://schemas.microsoft.com/office/drawing/2014/main" id="{43F666D2-7731-0DC3-8C29-852B3987C33D}"/>
              </a:ext>
            </a:extLst>
          </p:cNvPr>
          <p:cNvSpPr txBox="1"/>
          <p:nvPr/>
        </p:nvSpPr>
        <p:spPr>
          <a:xfrm>
            <a:off x="8562863" y="3026304"/>
            <a:ext cx="70854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NEI</a:t>
            </a:r>
          </a:p>
        </p:txBody>
      </p:sp>
      <p:sp>
        <p:nvSpPr>
          <p:cNvPr id="60" name="TekstSylinder 59">
            <a:extLst>
              <a:ext uri="{FF2B5EF4-FFF2-40B4-BE49-F238E27FC236}">
                <a16:creationId xmlns:a16="http://schemas.microsoft.com/office/drawing/2014/main" id="{B12DDDB7-A987-10EC-8B7B-758C0FA81A48}"/>
              </a:ext>
            </a:extLst>
          </p:cNvPr>
          <p:cNvSpPr txBox="1"/>
          <p:nvPr/>
        </p:nvSpPr>
        <p:spPr>
          <a:xfrm>
            <a:off x="7657839" y="3209598"/>
            <a:ext cx="10247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b="1" dirty="0">
                <a:solidFill>
                  <a:schemeClr val="accent2"/>
                </a:solidFill>
              </a:rPr>
              <a:t>30%</a:t>
            </a:r>
          </a:p>
        </p:txBody>
      </p:sp>
      <p:sp>
        <p:nvSpPr>
          <p:cNvPr id="77" name="TekstSylinder 76">
            <a:extLst>
              <a:ext uri="{FF2B5EF4-FFF2-40B4-BE49-F238E27FC236}">
                <a16:creationId xmlns:a16="http://schemas.microsoft.com/office/drawing/2014/main" id="{21D05460-E26D-5046-8E3C-A0472BBACB23}"/>
              </a:ext>
            </a:extLst>
          </p:cNvPr>
          <p:cNvSpPr txBox="1"/>
          <p:nvPr/>
        </p:nvSpPr>
        <p:spPr>
          <a:xfrm>
            <a:off x="8643988" y="3240376"/>
            <a:ext cx="6880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</a:rPr>
              <a:t>70%</a:t>
            </a:r>
          </a:p>
        </p:txBody>
      </p:sp>
      <p:sp>
        <p:nvSpPr>
          <p:cNvPr id="78" name="TekstSylinder 77">
            <a:extLst>
              <a:ext uri="{FF2B5EF4-FFF2-40B4-BE49-F238E27FC236}">
                <a16:creationId xmlns:a16="http://schemas.microsoft.com/office/drawing/2014/main" id="{8CE63D25-D4B8-0EB5-9145-708335AD3D27}"/>
              </a:ext>
            </a:extLst>
          </p:cNvPr>
          <p:cNvSpPr txBox="1"/>
          <p:nvPr/>
        </p:nvSpPr>
        <p:spPr>
          <a:xfrm>
            <a:off x="696223" y="5577313"/>
            <a:ext cx="4833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JA</a:t>
            </a:r>
          </a:p>
        </p:txBody>
      </p:sp>
      <p:sp>
        <p:nvSpPr>
          <p:cNvPr id="79" name="TekstSylinder 78">
            <a:extLst>
              <a:ext uri="{FF2B5EF4-FFF2-40B4-BE49-F238E27FC236}">
                <a16:creationId xmlns:a16="http://schemas.microsoft.com/office/drawing/2014/main" id="{21B64C69-C04A-00D3-6C03-1C8621A2D4E0}"/>
              </a:ext>
            </a:extLst>
          </p:cNvPr>
          <p:cNvSpPr txBox="1"/>
          <p:nvPr/>
        </p:nvSpPr>
        <p:spPr>
          <a:xfrm>
            <a:off x="1511477" y="5577313"/>
            <a:ext cx="70854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NEI</a:t>
            </a:r>
          </a:p>
        </p:txBody>
      </p:sp>
      <p:sp>
        <p:nvSpPr>
          <p:cNvPr id="80" name="TekstSylinder 79">
            <a:extLst>
              <a:ext uri="{FF2B5EF4-FFF2-40B4-BE49-F238E27FC236}">
                <a16:creationId xmlns:a16="http://schemas.microsoft.com/office/drawing/2014/main" id="{354D0813-298D-C0AA-0117-35AE25579463}"/>
              </a:ext>
            </a:extLst>
          </p:cNvPr>
          <p:cNvSpPr txBox="1"/>
          <p:nvPr/>
        </p:nvSpPr>
        <p:spPr>
          <a:xfrm>
            <a:off x="635028" y="5752788"/>
            <a:ext cx="10247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b="1" dirty="0">
                <a:solidFill>
                  <a:schemeClr val="accent2"/>
                </a:solidFill>
              </a:rPr>
              <a:t>17%</a:t>
            </a:r>
          </a:p>
        </p:txBody>
      </p:sp>
      <p:sp>
        <p:nvSpPr>
          <p:cNvPr id="81" name="TekstSylinder 80">
            <a:extLst>
              <a:ext uri="{FF2B5EF4-FFF2-40B4-BE49-F238E27FC236}">
                <a16:creationId xmlns:a16="http://schemas.microsoft.com/office/drawing/2014/main" id="{4222F2A2-AACA-2A3D-EDEB-21ED41C463D8}"/>
              </a:ext>
            </a:extLst>
          </p:cNvPr>
          <p:cNvSpPr txBox="1"/>
          <p:nvPr/>
        </p:nvSpPr>
        <p:spPr>
          <a:xfrm>
            <a:off x="1596578" y="5783566"/>
            <a:ext cx="6620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</a:rPr>
              <a:t>83%</a:t>
            </a:r>
          </a:p>
        </p:txBody>
      </p:sp>
      <p:sp>
        <p:nvSpPr>
          <p:cNvPr id="82" name="TekstSylinder 81">
            <a:extLst>
              <a:ext uri="{FF2B5EF4-FFF2-40B4-BE49-F238E27FC236}">
                <a16:creationId xmlns:a16="http://schemas.microsoft.com/office/drawing/2014/main" id="{254D6CBE-8DE6-C9DB-4D2C-9AD760EC5828}"/>
              </a:ext>
            </a:extLst>
          </p:cNvPr>
          <p:cNvSpPr txBox="1"/>
          <p:nvPr/>
        </p:nvSpPr>
        <p:spPr>
          <a:xfrm>
            <a:off x="3092004" y="5577313"/>
            <a:ext cx="4833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JA</a:t>
            </a:r>
          </a:p>
        </p:txBody>
      </p:sp>
      <p:sp>
        <p:nvSpPr>
          <p:cNvPr id="83" name="TekstSylinder 82">
            <a:extLst>
              <a:ext uri="{FF2B5EF4-FFF2-40B4-BE49-F238E27FC236}">
                <a16:creationId xmlns:a16="http://schemas.microsoft.com/office/drawing/2014/main" id="{10DB1C52-4489-4FCD-D0FC-9FD93D472B38}"/>
              </a:ext>
            </a:extLst>
          </p:cNvPr>
          <p:cNvSpPr txBox="1"/>
          <p:nvPr/>
        </p:nvSpPr>
        <p:spPr>
          <a:xfrm>
            <a:off x="3926308" y="5577313"/>
            <a:ext cx="70854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NEI</a:t>
            </a:r>
          </a:p>
        </p:txBody>
      </p:sp>
      <p:sp>
        <p:nvSpPr>
          <p:cNvPr id="84" name="TekstSylinder 83">
            <a:extLst>
              <a:ext uri="{FF2B5EF4-FFF2-40B4-BE49-F238E27FC236}">
                <a16:creationId xmlns:a16="http://schemas.microsoft.com/office/drawing/2014/main" id="{5C58781E-B50C-F65C-CAA9-F1D1E4D0540E}"/>
              </a:ext>
            </a:extLst>
          </p:cNvPr>
          <p:cNvSpPr txBox="1"/>
          <p:nvPr/>
        </p:nvSpPr>
        <p:spPr>
          <a:xfrm>
            <a:off x="3002234" y="5752788"/>
            <a:ext cx="10247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b="1" dirty="0">
                <a:solidFill>
                  <a:schemeClr val="accent2"/>
                </a:solidFill>
              </a:rPr>
              <a:t>28%</a:t>
            </a:r>
          </a:p>
        </p:txBody>
      </p:sp>
      <p:sp>
        <p:nvSpPr>
          <p:cNvPr id="85" name="TekstSylinder 84">
            <a:extLst>
              <a:ext uri="{FF2B5EF4-FFF2-40B4-BE49-F238E27FC236}">
                <a16:creationId xmlns:a16="http://schemas.microsoft.com/office/drawing/2014/main" id="{5BD76D98-E920-FE5A-A4CD-BF16DA620637}"/>
              </a:ext>
            </a:extLst>
          </p:cNvPr>
          <p:cNvSpPr txBox="1"/>
          <p:nvPr/>
        </p:nvSpPr>
        <p:spPr>
          <a:xfrm>
            <a:off x="4020934" y="5783566"/>
            <a:ext cx="6088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</a:rPr>
              <a:t>71%</a:t>
            </a:r>
          </a:p>
        </p:txBody>
      </p:sp>
      <p:sp>
        <p:nvSpPr>
          <p:cNvPr id="86" name="TekstSylinder 85">
            <a:extLst>
              <a:ext uri="{FF2B5EF4-FFF2-40B4-BE49-F238E27FC236}">
                <a16:creationId xmlns:a16="http://schemas.microsoft.com/office/drawing/2014/main" id="{90DBCD53-6623-C1E9-C8B5-5CC50447A648}"/>
              </a:ext>
            </a:extLst>
          </p:cNvPr>
          <p:cNvSpPr txBox="1"/>
          <p:nvPr/>
        </p:nvSpPr>
        <p:spPr>
          <a:xfrm>
            <a:off x="5358696" y="5577313"/>
            <a:ext cx="4833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JA</a:t>
            </a:r>
          </a:p>
        </p:txBody>
      </p:sp>
      <p:sp>
        <p:nvSpPr>
          <p:cNvPr id="87" name="TekstSylinder 86">
            <a:extLst>
              <a:ext uri="{FF2B5EF4-FFF2-40B4-BE49-F238E27FC236}">
                <a16:creationId xmlns:a16="http://schemas.microsoft.com/office/drawing/2014/main" id="{003B4CD5-FB14-55E9-A22C-0B3C9E8BED31}"/>
              </a:ext>
            </a:extLst>
          </p:cNvPr>
          <p:cNvSpPr txBox="1"/>
          <p:nvPr/>
        </p:nvSpPr>
        <p:spPr>
          <a:xfrm>
            <a:off x="6135850" y="5577313"/>
            <a:ext cx="70854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NEI</a:t>
            </a:r>
          </a:p>
        </p:txBody>
      </p:sp>
      <p:sp>
        <p:nvSpPr>
          <p:cNvPr id="88" name="TekstSylinder 87">
            <a:extLst>
              <a:ext uri="{FF2B5EF4-FFF2-40B4-BE49-F238E27FC236}">
                <a16:creationId xmlns:a16="http://schemas.microsoft.com/office/drawing/2014/main" id="{0A8333EE-2821-624B-6AB1-521BD72777A7}"/>
              </a:ext>
            </a:extLst>
          </p:cNvPr>
          <p:cNvSpPr txBox="1"/>
          <p:nvPr/>
        </p:nvSpPr>
        <p:spPr>
          <a:xfrm>
            <a:off x="5326076" y="5752788"/>
            <a:ext cx="10247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b="1" dirty="0">
                <a:solidFill>
                  <a:schemeClr val="accent2"/>
                </a:solidFill>
              </a:rPr>
              <a:t>15%</a:t>
            </a:r>
          </a:p>
        </p:txBody>
      </p:sp>
      <p:sp>
        <p:nvSpPr>
          <p:cNvPr id="89" name="TekstSylinder 88">
            <a:extLst>
              <a:ext uri="{FF2B5EF4-FFF2-40B4-BE49-F238E27FC236}">
                <a16:creationId xmlns:a16="http://schemas.microsoft.com/office/drawing/2014/main" id="{FD36905A-63A1-5238-CF03-D313DE35765E}"/>
              </a:ext>
            </a:extLst>
          </p:cNvPr>
          <p:cNvSpPr txBox="1"/>
          <p:nvPr/>
        </p:nvSpPr>
        <p:spPr>
          <a:xfrm>
            <a:off x="6240001" y="5783566"/>
            <a:ext cx="6929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</a:rPr>
              <a:t>83%</a:t>
            </a:r>
          </a:p>
        </p:txBody>
      </p:sp>
      <p:sp>
        <p:nvSpPr>
          <p:cNvPr id="90" name="TekstSylinder 89">
            <a:extLst>
              <a:ext uri="{FF2B5EF4-FFF2-40B4-BE49-F238E27FC236}">
                <a16:creationId xmlns:a16="http://schemas.microsoft.com/office/drawing/2014/main" id="{5C627B89-B5CD-B4EA-5B7C-D57B5C2ADC2E}"/>
              </a:ext>
            </a:extLst>
          </p:cNvPr>
          <p:cNvSpPr txBox="1"/>
          <p:nvPr/>
        </p:nvSpPr>
        <p:spPr>
          <a:xfrm>
            <a:off x="7757134" y="5577313"/>
            <a:ext cx="4833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JA</a:t>
            </a:r>
          </a:p>
        </p:txBody>
      </p:sp>
      <p:sp>
        <p:nvSpPr>
          <p:cNvPr id="91" name="TekstSylinder 90">
            <a:extLst>
              <a:ext uri="{FF2B5EF4-FFF2-40B4-BE49-F238E27FC236}">
                <a16:creationId xmlns:a16="http://schemas.microsoft.com/office/drawing/2014/main" id="{86C2359C-2E96-E905-1DC3-8508F442F3DB}"/>
              </a:ext>
            </a:extLst>
          </p:cNvPr>
          <p:cNvSpPr txBox="1"/>
          <p:nvPr/>
        </p:nvSpPr>
        <p:spPr>
          <a:xfrm>
            <a:off x="8590696" y="5577313"/>
            <a:ext cx="70854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NEI</a:t>
            </a:r>
          </a:p>
        </p:txBody>
      </p:sp>
      <p:sp>
        <p:nvSpPr>
          <p:cNvPr id="92" name="TekstSylinder 91">
            <a:extLst>
              <a:ext uri="{FF2B5EF4-FFF2-40B4-BE49-F238E27FC236}">
                <a16:creationId xmlns:a16="http://schemas.microsoft.com/office/drawing/2014/main" id="{5B2DD14F-D7D4-49FB-18F6-BD242828D12B}"/>
              </a:ext>
            </a:extLst>
          </p:cNvPr>
          <p:cNvSpPr txBox="1"/>
          <p:nvPr/>
        </p:nvSpPr>
        <p:spPr>
          <a:xfrm>
            <a:off x="7685672" y="5752788"/>
            <a:ext cx="10247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b="1" dirty="0">
                <a:solidFill>
                  <a:schemeClr val="accent2"/>
                </a:solidFill>
              </a:rPr>
              <a:t>23%</a:t>
            </a:r>
          </a:p>
        </p:txBody>
      </p:sp>
      <p:sp>
        <p:nvSpPr>
          <p:cNvPr id="93" name="TekstSylinder 92">
            <a:extLst>
              <a:ext uri="{FF2B5EF4-FFF2-40B4-BE49-F238E27FC236}">
                <a16:creationId xmlns:a16="http://schemas.microsoft.com/office/drawing/2014/main" id="{E42FF333-42DD-14F0-111B-AA82F79A595A}"/>
              </a:ext>
            </a:extLst>
          </p:cNvPr>
          <p:cNvSpPr txBox="1"/>
          <p:nvPr/>
        </p:nvSpPr>
        <p:spPr>
          <a:xfrm>
            <a:off x="8643988" y="5783566"/>
            <a:ext cx="6969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</a:rPr>
              <a:t>76%</a:t>
            </a:r>
          </a:p>
        </p:txBody>
      </p:sp>
      <p:sp>
        <p:nvSpPr>
          <p:cNvPr id="94" name="TekstSylinder 93">
            <a:extLst>
              <a:ext uri="{FF2B5EF4-FFF2-40B4-BE49-F238E27FC236}">
                <a16:creationId xmlns:a16="http://schemas.microsoft.com/office/drawing/2014/main" id="{F6A02879-1D7F-6B39-3D70-DAB53F08DDEC}"/>
              </a:ext>
            </a:extLst>
          </p:cNvPr>
          <p:cNvSpPr txBox="1"/>
          <p:nvPr/>
        </p:nvSpPr>
        <p:spPr>
          <a:xfrm>
            <a:off x="10071674" y="5577313"/>
            <a:ext cx="48339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JA</a:t>
            </a:r>
          </a:p>
        </p:txBody>
      </p:sp>
      <p:sp>
        <p:nvSpPr>
          <p:cNvPr id="96" name="TekstSylinder 95">
            <a:extLst>
              <a:ext uri="{FF2B5EF4-FFF2-40B4-BE49-F238E27FC236}">
                <a16:creationId xmlns:a16="http://schemas.microsoft.com/office/drawing/2014/main" id="{9BC0D063-3369-824C-2B0F-C7B4BCC3DEB4}"/>
              </a:ext>
            </a:extLst>
          </p:cNvPr>
          <p:cNvSpPr txBox="1"/>
          <p:nvPr/>
        </p:nvSpPr>
        <p:spPr>
          <a:xfrm>
            <a:off x="10934553" y="5577313"/>
            <a:ext cx="70854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pareBank 1"/>
                <a:ea typeface="+mn-ea"/>
                <a:cs typeface="+mn-cs"/>
              </a:rPr>
              <a:t>NEI</a:t>
            </a:r>
          </a:p>
        </p:txBody>
      </p:sp>
      <p:sp>
        <p:nvSpPr>
          <p:cNvPr id="97" name="TekstSylinder 96">
            <a:extLst>
              <a:ext uri="{FF2B5EF4-FFF2-40B4-BE49-F238E27FC236}">
                <a16:creationId xmlns:a16="http://schemas.microsoft.com/office/drawing/2014/main" id="{9535DD6C-C064-458F-3305-6D1A55859694}"/>
              </a:ext>
            </a:extLst>
          </p:cNvPr>
          <p:cNvSpPr txBox="1"/>
          <p:nvPr/>
        </p:nvSpPr>
        <p:spPr>
          <a:xfrm>
            <a:off x="10000954" y="5752788"/>
            <a:ext cx="10247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b="1" dirty="0">
                <a:solidFill>
                  <a:schemeClr val="accent2"/>
                </a:solidFill>
              </a:rPr>
              <a:t>55%</a:t>
            </a:r>
          </a:p>
        </p:txBody>
      </p:sp>
      <p:sp>
        <p:nvSpPr>
          <p:cNvPr id="98" name="TekstSylinder 97">
            <a:extLst>
              <a:ext uri="{FF2B5EF4-FFF2-40B4-BE49-F238E27FC236}">
                <a16:creationId xmlns:a16="http://schemas.microsoft.com/office/drawing/2014/main" id="{B3D41862-0CDB-86DF-34E5-E3488398828C}"/>
              </a:ext>
            </a:extLst>
          </p:cNvPr>
          <p:cNvSpPr txBox="1"/>
          <p:nvPr/>
        </p:nvSpPr>
        <p:spPr>
          <a:xfrm>
            <a:off x="11015880" y="5783566"/>
            <a:ext cx="6507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</a:rPr>
              <a:t>44%</a:t>
            </a:r>
          </a:p>
        </p:txBody>
      </p:sp>
      <p:sp>
        <p:nvSpPr>
          <p:cNvPr id="100" name="Plassholder for bunntekst 3">
            <a:extLst>
              <a:ext uri="{FF2B5EF4-FFF2-40B4-BE49-F238E27FC236}">
                <a16:creationId xmlns:a16="http://schemas.microsoft.com/office/drawing/2014/main" id="{A1DB5262-4A81-A8E2-6AC3-A6FA0230899B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</p:spTree>
    <p:extLst>
      <p:ext uri="{BB962C8B-B14F-4D97-AF65-F5344CB8AC3E}">
        <p14:creationId xmlns:p14="http://schemas.microsoft.com/office/powerpoint/2010/main" val="40754555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475E816-5DFF-B94D-B56D-81261A9D52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475E816-5DFF-B94D-B56D-81261A9D52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EC29CDDA-8F5B-9AD6-1FB7-8622363C5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562" y="402466"/>
            <a:ext cx="11037095" cy="553998"/>
          </a:xfrm>
        </p:spPr>
        <p:txBody>
          <a:bodyPr vert="horz"/>
          <a:lstStyle/>
          <a:p>
            <a:r>
              <a:rPr lang="nb-NO" sz="3200" dirty="0"/>
              <a:t>1 av 4 bedrifter forventer at bærekraft vil påvirke lønnsomheten positivt, mens 1 av 3 bedrifter forventer økte investeringer   </a:t>
            </a:r>
          </a:p>
        </p:txBody>
      </p:sp>
      <p:sp>
        <p:nvSpPr>
          <p:cNvPr id="2069" name="Tittel 1">
            <a:extLst>
              <a:ext uri="{FF2B5EF4-FFF2-40B4-BE49-F238E27FC236}">
                <a16:creationId xmlns:a16="http://schemas.microsoft.com/office/drawing/2014/main" id="{94930BBA-AE81-AD8D-961C-5673ECD49B13}"/>
              </a:ext>
            </a:extLst>
          </p:cNvPr>
          <p:cNvSpPr txBox="1">
            <a:spLocks/>
          </p:cNvSpPr>
          <p:nvPr/>
        </p:nvSpPr>
        <p:spPr>
          <a:xfrm>
            <a:off x="436562" y="1672594"/>
            <a:ext cx="10478180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1800" dirty="0">
                <a:latin typeface="SpareBank 1 Medium" panose="020B0500030000000000" pitchFamily="34" charset="0"/>
              </a:rPr>
              <a:t>Hvordan tror du bærekraft vil påvirke din bedrift de neste </a:t>
            </a:r>
            <a:r>
              <a:rPr lang="nb-NO" sz="1800" u="sng" dirty="0">
                <a:latin typeface="SpareBank 1 Medium" panose="020B0500030000000000" pitchFamily="34" charset="0"/>
              </a:rPr>
              <a:t>fem</a:t>
            </a:r>
            <a:r>
              <a:rPr lang="nb-NO" sz="1800" dirty="0">
                <a:latin typeface="SpareBank 1 Medium" panose="020B0500030000000000" pitchFamily="34" charset="0"/>
              </a:rPr>
              <a:t> årene?</a:t>
            </a:r>
          </a:p>
        </p:txBody>
      </p:sp>
      <p:sp>
        <p:nvSpPr>
          <p:cNvPr id="4" name="Grunt object 5927ff8861133352bd99e50f02264d3c-svg">
            <a:extLst>
              <a:ext uri="{FF2B5EF4-FFF2-40B4-BE49-F238E27FC236}">
                <a16:creationId xmlns:a16="http://schemas.microsoft.com/office/drawing/2014/main" id="{CD96AEED-E975-C5C0-F451-64C82D2F869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30212" y="4288403"/>
            <a:ext cx="2337788" cy="1279606"/>
          </a:xfrm>
          <a:prstGeom prst="rect">
            <a:avLst/>
          </a:prstGeom>
          <a:blipFill dpi="0" rotWithShape="1"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1E646194-248D-0E6C-7020-8DF8DEBB07E4}"/>
              </a:ext>
            </a:extLst>
          </p:cNvPr>
          <p:cNvSpPr txBox="1"/>
          <p:nvPr/>
        </p:nvSpPr>
        <p:spPr>
          <a:xfrm>
            <a:off x="726475" y="2883502"/>
            <a:ext cx="2514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 dirty="0"/>
              <a:t>Lønnsomhet</a:t>
            </a:r>
          </a:p>
        </p:txBody>
      </p:sp>
      <p:sp>
        <p:nvSpPr>
          <p:cNvPr id="20" name="TekstSylinder 19">
            <a:extLst>
              <a:ext uri="{FF2B5EF4-FFF2-40B4-BE49-F238E27FC236}">
                <a16:creationId xmlns:a16="http://schemas.microsoft.com/office/drawing/2014/main" id="{1EA4D69D-0A83-E215-58AE-30ADE70CB793}"/>
              </a:ext>
            </a:extLst>
          </p:cNvPr>
          <p:cNvSpPr txBox="1"/>
          <p:nvPr/>
        </p:nvSpPr>
        <p:spPr>
          <a:xfrm>
            <a:off x="3823795" y="2880463"/>
            <a:ext cx="2514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 dirty="0"/>
              <a:t>Ansatte</a:t>
            </a:r>
          </a:p>
        </p:txBody>
      </p:sp>
      <p:sp>
        <p:nvSpPr>
          <p:cNvPr id="24" name="Grunt object 7216bcfb401d2a2977469af97f629e13-svg">
            <a:extLst>
              <a:ext uri="{FF2B5EF4-FFF2-40B4-BE49-F238E27FC236}">
                <a16:creationId xmlns:a16="http://schemas.microsoft.com/office/drawing/2014/main" id="{9DB36E77-5E63-9406-AD6E-EE20E09F16F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448810" y="4601646"/>
            <a:ext cx="2099663" cy="966363"/>
          </a:xfrm>
          <a:prstGeom prst="rect">
            <a:avLst/>
          </a:prstGeom>
          <a:blipFill dpi="0" rotWithShape="1"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879D667A-FFB7-85F7-E447-0DD09938FA19}"/>
              </a:ext>
            </a:extLst>
          </p:cNvPr>
          <p:cNvSpPr txBox="1"/>
          <p:nvPr/>
        </p:nvSpPr>
        <p:spPr>
          <a:xfrm>
            <a:off x="6665656" y="2887097"/>
            <a:ext cx="2514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 dirty="0"/>
              <a:t>Omsetning</a:t>
            </a:r>
          </a:p>
        </p:txBody>
      </p:sp>
      <p:sp>
        <p:nvSpPr>
          <p:cNvPr id="26" name="Grunt object 821c8d481de052d2b86a1e80778866d2-svg">
            <a:extLst>
              <a:ext uri="{FF2B5EF4-FFF2-40B4-BE49-F238E27FC236}">
                <a16:creationId xmlns:a16="http://schemas.microsoft.com/office/drawing/2014/main" id="{BA178E73-2BDA-27C4-9E5B-6E52EF8774F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232526" y="4417249"/>
            <a:ext cx="2290163" cy="1150761"/>
          </a:xfrm>
          <a:prstGeom prst="rect">
            <a:avLst/>
          </a:prstGeom>
          <a:blipFill dpi="0" rotWithShape="1"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2C334514-4CB0-62C2-A947-4D3430AF60E9}"/>
              </a:ext>
            </a:extLst>
          </p:cNvPr>
          <p:cNvSpPr txBox="1"/>
          <p:nvPr/>
        </p:nvSpPr>
        <p:spPr>
          <a:xfrm>
            <a:off x="9507517" y="2880463"/>
            <a:ext cx="2514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 dirty="0"/>
              <a:t>Investeringer</a:t>
            </a:r>
          </a:p>
        </p:txBody>
      </p:sp>
      <p:sp>
        <p:nvSpPr>
          <p:cNvPr id="28" name="Grunt object b2b12b3fe6becac1b447d69a76cf2219-svg">
            <a:extLst>
              <a:ext uri="{FF2B5EF4-FFF2-40B4-BE49-F238E27FC236}">
                <a16:creationId xmlns:a16="http://schemas.microsoft.com/office/drawing/2014/main" id="{C7E59402-E8D6-4274-F143-9EFB6967B5E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685597" y="4670646"/>
            <a:ext cx="1578963" cy="897362"/>
          </a:xfrm>
          <a:prstGeom prst="rect">
            <a:avLst/>
          </a:prstGeom>
          <a:blipFill dpi="0" rotWithShape="1"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9" name="Tittel 1">
            <a:extLst>
              <a:ext uri="{FF2B5EF4-FFF2-40B4-BE49-F238E27FC236}">
                <a16:creationId xmlns:a16="http://schemas.microsoft.com/office/drawing/2014/main" id="{F07466D3-2766-B112-6BE9-4630CD268532}"/>
              </a:ext>
            </a:extLst>
          </p:cNvPr>
          <p:cNvSpPr txBox="1">
            <a:spLocks/>
          </p:cNvSpPr>
          <p:nvPr/>
        </p:nvSpPr>
        <p:spPr>
          <a:xfrm>
            <a:off x="436562" y="2050432"/>
            <a:ext cx="2337789" cy="2352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1800" b="1" dirty="0">
                <a:latin typeface="SpareBank 1 Medium" panose="020B0500030000000000" pitchFamily="34" charset="0"/>
              </a:rPr>
              <a:t>Svar: Økning (%)</a:t>
            </a:r>
          </a:p>
        </p:txBody>
      </p:sp>
      <p:cxnSp>
        <p:nvCxnSpPr>
          <p:cNvPr id="30" name="Rett linje 29">
            <a:extLst>
              <a:ext uri="{FF2B5EF4-FFF2-40B4-BE49-F238E27FC236}">
                <a16:creationId xmlns:a16="http://schemas.microsoft.com/office/drawing/2014/main" id="{FC25C189-AA52-7CB3-EDD5-5D79B2AB4208}"/>
              </a:ext>
            </a:extLst>
          </p:cNvPr>
          <p:cNvCxnSpPr>
            <a:cxnSpLocks/>
          </p:cNvCxnSpPr>
          <p:nvPr/>
        </p:nvCxnSpPr>
        <p:spPr>
          <a:xfrm>
            <a:off x="3111957" y="2654868"/>
            <a:ext cx="0" cy="344470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linje 31">
            <a:extLst>
              <a:ext uri="{FF2B5EF4-FFF2-40B4-BE49-F238E27FC236}">
                <a16:creationId xmlns:a16="http://schemas.microsoft.com/office/drawing/2014/main" id="{9CC541AE-7A7E-6631-6F88-B6F127F41B38}"/>
              </a:ext>
            </a:extLst>
          </p:cNvPr>
          <p:cNvCxnSpPr>
            <a:cxnSpLocks/>
          </p:cNvCxnSpPr>
          <p:nvPr/>
        </p:nvCxnSpPr>
        <p:spPr>
          <a:xfrm>
            <a:off x="5920471" y="2654868"/>
            <a:ext cx="0" cy="344470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Rett linje 34">
            <a:extLst>
              <a:ext uri="{FF2B5EF4-FFF2-40B4-BE49-F238E27FC236}">
                <a16:creationId xmlns:a16="http://schemas.microsoft.com/office/drawing/2014/main" id="{7C06667D-B0B2-3B34-8B9A-A581540AA3CD}"/>
              </a:ext>
            </a:extLst>
          </p:cNvPr>
          <p:cNvCxnSpPr>
            <a:cxnSpLocks/>
          </p:cNvCxnSpPr>
          <p:nvPr/>
        </p:nvCxnSpPr>
        <p:spPr>
          <a:xfrm>
            <a:off x="8932185" y="2654868"/>
            <a:ext cx="0" cy="344470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9" name="logo_blaa">
            <a:extLst>
              <a:ext uri="{FF2B5EF4-FFF2-40B4-BE49-F238E27FC236}">
                <a16:creationId xmlns:a16="http://schemas.microsoft.com/office/drawing/2014/main" id="{ABEA95A9-73C2-F5F3-A14A-ACFFFC1E6D39}"/>
              </a:ext>
            </a:extLst>
          </p:cNvPr>
          <p:cNvPicPr>
            <a:picLocks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6400" y="6119570"/>
            <a:ext cx="2667000" cy="560754"/>
          </a:xfrm>
          <a:prstGeom prst="rect">
            <a:avLst/>
          </a:prstGeom>
        </p:spPr>
      </p:pic>
      <p:sp>
        <p:nvSpPr>
          <p:cNvPr id="36" name="Plassholder for bunntekst 3">
            <a:extLst>
              <a:ext uri="{FF2B5EF4-FFF2-40B4-BE49-F238E27FC236}">
                <a16:creationId xmlns:a16="http://schemas.microsoft.com/office/drawing/2014/main" id="{C2BFD79C-3CED-B07F-8A5D-ED4A4A937F40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629310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475E816-5DFF-B94D-B56D-81261A9D52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475E816-5DFF-B94D-B56D-81261A9D52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EC29CDDA-8F5B-9AD6-1FB7-8622363C5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059" y="211885"/>
            <a:ext cx="11037095" cy="553998"/>
          </a:xfrm>
        </p:spPr>
        <p:txBody>
          <a:bodyPr vert="horz"/>
          <a:lstStyle/>
          <a:p>
            <a:r>
              <a:rPr lang="nb-NO" sz="3200" dirty="0"/>
              <a:t>38% av bedriftene forventer økt etterspørsel, men det har sammenheng med omsetningsstørrelse og bransjetilhørighet</a:t>
            </a:r>
          </a:p>
        </p:txBody>
      </p:sp>
      <p:sp>
        <p:nvSpPr>
          <p:cNvPr id="2069" name="Tittel 1">
            <a:extLst>
              <a:ext uri="{FF2B5EF4-FFF2-40B4-BE49-F238E27FC236}">
                <a16:creationId xmlns:a16="http://schemas.microsoft.com/office/drawing/2014/main" id="{94930BBA-AE81-AD8D-961C-5673ECD49B13}"/>
              </a:ext>
            </a:extLst>
          </p:cNvPr>
          <p:cNvSpPr txBox="1">
            <a:spLocks/>
          </p:cNvSpPr>
          <p:nvPr/>
        </p:nvSpPr>
        <p:spPr>
          <a:xfrm>
            <a:off x="332058" y="1466665"/>
            <a:ext cx="11653837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1800" dirty="0">
                <a:latin typeface="SpareBank 1 Medium" panose="020B0500030000000000" pitchFamily="34" charset="0"/>
              </a:rPr>
              <a:t>Hvordan tror du bærekraft vil påvirke </a:t>
            </a:r>
            <a:r>
              <a:rPr lang="nb-NO" sz="1800" u="sng" dirty="0">
                <a:latin typeface="SpareBank 1 Medium" panose="020B0500030000000000" pitchFamily="34" charset="0"/>
              </a:rPr>
              <a:t>etterspørselen</a:t>
            </a:r>
            <a:r>
              <a:rPr lang="nb-NO" sz="1800" dirty="0">
                <a:latin typeface="SpareBank 1 Medium" panose="020B0500030000000000" pitchFamily="34" charset="0"/>
              </a:rPr>
              <a:t> etter din bedrifts produkter/tjenester de neste fem årene?</a:t>
            </a:r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26C570AE-487F-EE94-1987-DD7085E2F13A}"/>
              </a:ext>
            </a:extLst>
          </p:cNvPr>
          <p:cNvSpPr txBox="1">
            <a:spLocks/>
          </p:cNvSpPr>
          <p:nvPr/>
        </p:nvSpPr>
        <p:spPr>
          <a:xfrm>
            <a:off x="332058" y="2037585"/>
            <a:ext cx="11037095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1800" b="1" dirty="0">
                <a:latin typeface="SpareBank 1 Medium" panose="020B0500030000000000" pitchFamily="34" charset="0"/>
              </a:rPr>
              <a:t>Svar: Økning (%)</a:t>
            </a:r>
          </a:p>
        </p:txBody>
      </p:sp>
      <p:sp>
        <p:nvSpPr>
          <p:cNvPr id="4" name="Grunt object 11c7d1db8272ef2f1eb8fb55a6d221be-svg">
            <a:extLst>
              <a:ext uri="{FF2B5EF4-FFF2-40B4-BE49-F238E27FC236}">
                <a16:creationId xmlns:a16="http://schemas.microsoft.com/office/drawing/2014/main" id="{029EC614-983F-C460-C9DE-E2711ABA2B3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010" y="2819287"/>
            <a:ext cx="3441019" cy="3088754"/>
          </a:xfrm>
          <a:prstGeom prst="rect">
            <a:avLst/>
          </a:prstGeom>
          <a:blipFill dpi="0" rotWithShape="1"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24975B7A-E4FA-069B-3C50-9F64CE044D98}"/>
              </a:ext>
            </a:extLst>
          </p:cNvPr>
          <p:cNvSpPr txBox="1"/>
          <p:nvPr/>
        </p:nvSpPr>
        <p:spPr>
          <a:xfrm>
            <a:off x="1688563" y="5908041"/>
            <a:ext cx="20565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Omsetningsstørrelse</a:t>
            </a:r>
          </a:p>
        </p:txBody>
      </p:sp>
      <p:sp>
        <p:nvSpPr>
          <p:cNvPr id="8" name="Grunt object 4553a008aca792519bfe4b6d9cff8563-svg">
            <a:extLst>
              <a:ext uri="{FF2B5EF4-FFF2-40B4-BE49-F238E27FC236}">
                <a16:creationId xmlns:a16="http://schemas.microsoft.com/office/drawing/2014/main" id="{5940C852-6021-86D6-AF51-D086FE46FF8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931520" y="2557738"/>
            <a:ext cx="6346721" cy="3287730"/>
          </a:xfrm>
          <a:prstGeom prst="rect">
            <a:avLst/>
          </a:prstGeom>
          <a:blipFill dpi="0" rotWithShape="1"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0" name="logo_blaa">
            <a:extLst>
              <a:ext uri="{FF2B5EF4-FFF2-40B4-BE49-F238E27FC236}">
                <a16:creationId xmlns:a16="http://schemas.microsoft.com/office/drawing/2014/main" id="{AFDBE247-5890-550B-4EDD-2CD8F778D01B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6400" y="6119570"/>
            <a:ext cx="2667000" cy="560754"/>
          </a:xfrm>
          <a:prstGeom prst="rect">
            <a:avLst/>
          </a:prstGeom>
        </p:spPr>
      </p:pic>
      <p:sp>
        <p:nvSpPr>
          <p:cNvPr id="11" name="Plassholder for bunntekst 3">
            <a:extLst>
              <a:ext uri="{FF2B5EF4-FFF2-40B4-BE49-F238E27FC236}">
                <a16:creationId xmlns:a16="http://schemas.microsoft.com/office/drawing/2014/main" id="{57838C6A-BA3D-A61A-587A-4A46A3BBE7FA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776399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: avrundede hjørner diagonalt 15">
            <a:extLst>
              <a:ext uri="{FF2B5EF4-FFF2-40B4-BE49-F238E27FC236}">
                <a16:creationId xmlns:a16="http://schemas.microsoft.com/office/drawing/2014/main" id="{4863B0D7-0DCE-F6BA-8C00-45CC5804699C}"/>
              </a:ext>
            </a:extLst>
          </p:cNvPr>
          <p:cNvSpPr/>
          <p:nvPr/>
        </p:nvSpPr>
        <p:spPr>
          <a:xfrm>
            <a:off x="626287" y="1712476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rgbClr val="005AA4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Strategi</a:t>
            </a:r>
          </a:p>
        </p:txBody>
      </p:sp>
      <p:sp>
        <p:nvSpPr>
          <p:cNvPr id="18" name="Rektangel: avrundede hjørner diagonalt 17">
            <a:extLst>
              <a:ext uri="{FF2B5EF4-FFF2-40B4-BE49-F238E27FC236}">
                <a16:creationId xmlns:a16="http://schemas.microsoft.com/office/drawing/2014/main" id="{EDDFE4F8-336D-47E3-6D24-516DEAB3FEB9}"/>
              </a:ext>
            </a:extLst>
          </p:cNvPr>
          <p:cNvSpPr/>
          <p:nvPr/>
        </p:nvSpPr>
        <p:spPr>
          <a:xfrm>
            <a:off x="626287" y="2685387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rgbClr val="005AA4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Innovasjon, kunder og marked</a:t>
            </a:r>
          </a:p>
        </p:txBody>
      </p:sp>
      <p:sp>
        <p:nvSpPr>
          <p:cNvPr id="19" name="Rektangel: avrundede hjørner diagonalt 18">
            <a:extLst>
              <a:ext uri="{FF2B5EF4-FFF2-40B4-BE49-F238E27FC236}">
                <a16:creationId xmlns:a16="http://schemas.microsoft.com/office/drawing/2014/main" id="{C912209D-AC8B-C81D-FABD-7AB5C9EF0892}"/>
              </a:ext>
            </a:extLst>
          </p:cNvPr>
          <p:cNvSpPr/>
          <p:nvPr/>
        </p:nvSpPr>
        <p:spPr>
          <a:xfrm>
            <a:off x="626287" y="3658298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rgbClr val="005AA4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Vekst og lønnsomhet</a:t>
            </a:r>
          </a:p>
        </p:txBody>
      </p:sp>
      <p:sp>
        <p:nvSpPr>
          <p:cNvPr id="20" name="Rektangel: avrundede hjørner diagonalt 19">
            <a:extLst>
              <a:ext uri="{FF2B5EF4-FFF2-40B4-BE49-F238E27FC236}">
                <a16:creationId xmlns:a16="http://schemas.microsoft.com/office/drawing/2014/main" id="{17D22BF5-A214-1915-566E-B058C54CB6AE}"/>
              </a:ext>
            </a:extLst>
          </p:cNvPr>
          <p:cNvSpPr/>
          <p:nvPr/>
        </p:nvSpPr>
        <p:spPr>
          <a:xfrm>
            <a:off x="626287" y="4631209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chemeClr val="accent2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Kompetanse</a:t>
            </a:r>
          </a:p>
        </p:txBody>
      </p:sp>
      <p:pic>
        <p:nvPicPr>
          <p:cNvPr id="2" name="logo_blaa">
            <a:extLst>
              <a:ext uri="{FF2B5EF4-FFF2-40B4-BE49-F238E27FC236}">
                <a16:creationId xmlns:a16="http://schemas.microsoft.com/office/drawing/2014/main" id="{ADD11C62-9922-08BA-A996-937B4BB099ED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3" name="Frihåndsform: figur 2">
            <a:extLst>
              <a:ext uri="{FF2B5EF4-FFF2-40B4-BE49-F238E27FC236}">
                <a16:creationId xmlns:a16="http://schemas.microsoft.com/office/drawing/2014/main" id="{84F65028-4F8F-5895-F0C8-CA689A51DD77}"/>
              </a:ext>
            </a:extLst>
          </p:cNvPr>
          <p:cNvSpPr/>
          <p:nvPr/>
        </p:nvSpPr>
        <p:spPr>
          <a:xfrm>
            <a:off x="7536546" y="0"/>
            <a:ext cx="4655454" cy="4354951"/>
          </a:xfrm>
          <a:custGeom>
            <a:avLst/>
            <a:gdLst>
              <a:gd name="connsiteX0" fmla="*/ 941343 w 6096000"/>
              <a:gd name="connsiteY0" fmla="*/ 0 h 5717750"/>
              <a:gd name="connsiteX1" fmla="*/ 6096000 w 6096000"/>
              <a:gd name="connsiteY1" fmla="*/ 0 h 5717750"/>
              <a:gd name="connsiteX2" fmla="*/ 6096000 w 6096000"/>
              <a:gd name="connsiteY2" fmla="*/ 4691651 h 5717750"/>
              <a:gd name="connsiteX3" fmla="*/ 6070472 w 6096000"/>
              <a:gd name="connsiteY3" fmla="*/ 4718596 h 5717750"/>
              <a:gd name="connsiteX4" fmla="*/ 3556000 w 6096000"/>
              <a:gd name="connsiteY4" fmla="*/ 5717750 h 5717750"/>
              <a:gd name="connsiteX5" fmla="*/ 0 w 6096000"/>
              <a:gd name="connsiteY5" fmla="*/ 2306425 h 5717750"/>
              <a:gd name="connsiteX6" fmla="*/ 812017 w 6096000"/>
              <a:gd name="connsiteY6" fmla="*/ 136505 h 5717750"/>
              <a:gd name="connsiteX7" fmla="*/ 941343 w 6096000"/>
              <a:gd name="connsiteY7" fmla="*/ 0 h 571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5717750">
                <a:moveTo>
                  <a:pt x="941343" y="0"/>
                </a:moveTo>
                <a:lnTo>
                  <a:pt x="6096000" y="0"/>
                </a:lnTo>
                <a:lnTo>
                  <a:pt x="6096000" y="4691651"/>
                </a:lnTo>
                <a:lnTo>
                  <a:pt x="6070472" y="4718596"/>
                </a:lnTo>
                <a:cubicBezTo>
                  <a:pt x="5426962" y="5335925"/>
                  <a:pt x="4537962" y="5717750"/>
                  <a:pt x="3556000" y="5717750"/>
                </a:cubicBezTo>
                <a:cubicBezTo>
                  <a:pt x="1592075" y="5717750"/>
                  <a:pt x="0" y="4190448"/>
                  <a:pt x="0" y="2306425"/>
                </a:cubicBezTo>
                <a:cubicBezTo>
                  <a:pt x="0" y="1482165"/>
                  <a:pt x="304733" y="726184"/>
                  <a:pt x="812017" y="136505"/>
                </a:cubicBezTo>
                <a:lnTo>
                  <a:pt x="941343" y="0"/>
                </a:lnTo>
                <a:close/>
              </a:path>
            </a:pathLst>
          </a:custGeom>
          <a:blipFill dpi="0" rotWithShape="1">
            <a:blip r:embed="rId3">
              <a:grayscl/>
            </a:blip>
            <a:srcRect/>
            <a:stretch>
              <a:fillRect l="-11000" t="-1000"/>
            </a:stretch>
          </a:blip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9248222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C258AA11-CDA7-6A41-5A43-0460C42120B6}"/>
              </a:ext>
            </a:extLst>
          </p:cNvPr>
          <p:cNvSpPr/>
          <p:nvPr/>
        </p:nvSpPr>
        <p:spPr>
          <a:xfrm>
            <a:off x="643114" y="2527010"/>
            <a:ext cx="1431130" cy="2971800"/>
          </a:xfrm>
          <a:prstGeom prst="rect">
            <a:avLst/>
          </a:prstGeom>
          <a:solidFill>
            <a:srgbClr val="92D050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83B82CC7-1CD5-E1FF-1B29-1FE474A04F8F}"/>
              </a:ext>
            </a:extLst>
          </p:cNvPr>
          <p:cNvSpPr/>
          <p:nvPr/>
        </p:nvSpPr>
        <p:spPr>
          <a:xfrm>
            <a:off x="2074244" y="2511312"/>
            <a:ext cx="2725876" cy="2971800"/>
          </a:xfrm>
          <a:prstGeom prst="rect">
            <a:avLst/>
          </a:prstGeom>
          <a:solidFill>
            <a:srgbClr val="C00000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89F51F87-19E6-4A9A-7E42-D38AB3E88C27}"/>
              </a:ext>
            </a:extLst>
          </p:cNvPr>
          <p:cNvSpPr/>
          <p:nvPr/>
        </p:nvSpPr>
        <p:spPr>
          <a:xfrm>
            <a:off x="4800120" y="2517775"/>
            <a:ext cx="1560992" cy="2971800"/>
          </a:xfrm>
          <a:prstGeom prst="rect">
            <a:avLst/>
          </a:prstGeom>
          <a:solidFill>
            <a:srgbClr val="92D050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_blaa">
            <a:extLst>
              <a:ext uri="{FF2B5EF4-FFF2-40B4-BE49-F238E27FC236}">
                <a16:creationId xmlns:a16="http://schemas.microsoft.com/office/drawing/2014/main" id="{0AD297ED-6B8D-73B6-D239-BC3C23B9D88E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7" name="Grunt object 44ee3860e69c46f0af899450e0731930-svg">
            <a:extLst>
              <a:ext uri="{FF2B5EF4-FFF2-40B4-BE49-F238E27FC236}">
                <a16:creationId xmlns:a16="http://schemas.microsoft.com/office/drawing/2014/main" id="{CBD146DA-1D45-6331-9989-585B2A80F4D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95993" y="2476387"/>
            <a:ext cx="5765119" cy="3426573"/>
          </a:xfrm>
          <a:prstGeom prst="rect">
            <a:avLst/>
          </a:prstGeom>
          <a:blipFill dpi="0" rotWithShape="1"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914848EE-A78B-A911-5782-8B5C4935FA02}"/>
              </a:ext>
            </a:extLst>
          </p:cNvPr>
          <p:cNvSpPr txBox="1"/>
          <p:nvPr/>
        </p:nvSpPr>
        <p:spPr>
          <a:xfrm>
            <a:off x="445086" y="1390286"/>
            <a:ext cx="937709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>
                <a:solidFill>
                  <a:schemeClr val="accent2"/>
                </a:solidFill>
                <a:latin typeface="SpareBank 1 Medium" panose="020B0500030000000000" pitchFamily="34" charset="0"/>
              </a:rPr>
              <a:t>I hvilken grad opplever bedriften å ha tilstrekkelig kompetanse om bærekraft?</a:t>
            </a:r>
          </a:p>
          <a:p>
            <a:endParaRPr lang="nb-NO" dirty="0">
              <a:solidFill>
                <a:schemeClr val="accent2"/>
              </a:solidFill>
              <a:latin typeface="SpareBank 1 Medium" panose="020B0500030000000000" pitchFamily="34" charset="0"/>
            </a:endParaRPr>
          </a:p>
          <a:p>
            <a:r>
              <a:rPr lang="nb-NO" b="1" dirty="0">
                <a:solidFill>
                  <a:schemeClr val="accent2"/>
                </a:solidFill>
                <a:latin typeface="SpareBank 1 Medium" panose="020B0500030000000000" pitchFamily="34" charset="0"/>
              </a:rPr>
              <a:t>Andel bedrifter som svarer : I stor/svært stor grad (%)</a:t>
            </a:r>
          </a:p>
        </p:txBody>
      </p:sp>
      <p:sp>
        <p:nvSpPr>
          <p:cNvPr id="15" name="Tittel 1">
            <a:extLst>
              <a:ext uri="{FF2B5EF4-FFF2-40B4-BE49-F238E27FC236}">
                <a16:creationId xmlns:a16="http://schemas.microsoft.com/office/drawing/2014/main" id="{A9F2AF02-94DD-9B4F-E0B7-1C36C9B39F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240" y="270326"/>
            <a:ext cx="11253520" cy="553998"/>
          </a:xfrm>
        </p:spPr>
        <p:txBody>
          <a:bodyPr vert="horz"/>
          <a:lstStyle/>
          <a:p>
            <a:r>
              <a:rPr lang="nb-NO" sz="3200" dirty="0">
                <a:solidFill>
                  <a:schemeClr val="accent2"/>
                </a:solidFill>
              </a:rPr>
              <a:t>Store bedrifter opplever i større grad å ha tilstrekkelig kompetanse om bærekraft enn små bedrifter </a:t>
            </a:r>
          </a:p>
        </p:txBody>
      </p:sp>
      <p:sp>
        <p:nvSpPr>
          <p:cNvPr id="17" name="Grunt object b9b85d837d94931d269afebf32648066-svg">
            <a:extLst>
              <a:ext uri="{FF2B5EF4-FFF2-40B4-BE49-F238E27FC236}">
                <a16:creationId xmlns:a16="http://schemas.microsoft.com/office/drawing/2014/main" id="{2A7505B7-6A4A-3AB0-07A3-D2A31F30195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673799" y="2511312"/>
            <a:ext cx="4939157" cy="3046033"/>
          </a:xfrm>
          <a:prstGeom prst="rect">
            <a:avLst/>
          </a:prstGeom>
          <a:blipFill dpi="0"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A5F885D7-EFBF-C642-7AAB-491B007740AA}"/>
              </a:ext>
            </a:extLst>
          </p:cNvPr>
          <p:cNvSpPr txBox="1"/>
          <p:nvPr/>
        </p:nvSpPr>
        <p:spPr>
          <a:xfrm>
            <a:off x="902780" y="4179262"/>
            <a:ext cx="923824" cy="91940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nb-NO" sz="800" dirty="0"/>
              <a:t>Mindre bedrifter</a:t>
            </a:r>
          </a:p>
          <a:p>
            <a:r>
              <a:rPr lang="nb-NO" sz="800" dirty="0"/>
              <a:t>Lavere krav føler de har tilstrekkelig kompetanse</a:t>
            </a:r>
          </a:p>
        </p:txBody>
      </p:sp>
      <p:sp>
        <p:nvSpPr>
          <p:cNvPr id="22" name="TekstSylinder 21">
            <a:extLst>
              <a:ext uri="{FF2B5EF4-FFF2-40B4-BE49-F238E27FC236}">
                <a16:creationId xmlns:a16="http://schemas.microsoft.com/office/drawing/2014/main" id="{35B9A2A9-BCB2-86A1-BC1A-FFCB5FCC1643}"/>
              </a:ext>
            </a:extLst>
          </p:cNvPr>
          <p:cNvSpPr txBox="1"/>
          <p:nvPr/>
        </p:nvSpPr>
        <p:spPr>
          <a:xfrm>
            <a:off x="2502788" y="2682694"/>
            <a:ext cx="1802468" cy="919401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C00000"/>
            </a:solidFill>
            <a:prstDash val="sysDash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nb-NO" sz="800" dirty="0"/>
              <a:t>Mellomstore bedrifter opplever å ikke ha tilstrekkelig kompetanse om bærekraft. Trolig for dyrt å ha kompetanse på bærekraft inhouse. </a:t>
            </a:r>
          </a:p>
        </p:txBody>
      </p:sp>
      <p:sp>
        <p:nvSpPr>
          <p:cNvPr id="23" name="TekstSylinder 22">
            <a:extLst>
              <a:ext uri="{FF2B5EF4-FFF2-40B4-BE49-F238E27FC236}">
                <a16:creationId xmlns:a16="http://schemas.microsoft.com/office/drawing/2014/main" id="{0DC86E5A-755C-4D4C-34DC-A353E125A44E}"/>
              </a:ext>
            </a:extLst>
          </p:cNvPr>
          <p:cNvSpPr txBox="1"/>
          <p:nvPr/>
        </p:nvSpPr>
        <p:spPr>
          <a:xfrm>
            <a:off x="4999237" y="4179262"/>
            <a:ext cx="1232013" cy="91940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nb-NO" sz="800" dirty="0"/>
              <a:t>Større bedrifter har flere ressurser som arbeider med bærekraft. I større grad tilstrekkelig kompetanse</a:t>
            </a: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4AB24C66-87E9-F5D2-8CFE-44CAFED7DF88}"/>
              </a:ext>
            </a:extLst>
          </p:cNvPr>
          <p:cNvSpPr txBox="1"/>
          <p:nvPr/>
        </p:nvSpPr>
        <p:spPr>
          <a:xfrm>
            <a:off x="2743608" y="5996574"/>
            <a:ext cx="20565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Omsetningsstørrelse</a:t>
            </a:r>
          </a:p>
        </p:txBody>
      </p:sp>
      <p:sp>
        <p:nvSpPr>
          <p:cNvPr id="26" name="Plassholder for bunntekst 3">
            <a:extLst>
              <a:ext uri="{FF2B5EF4-FFF2-40B4-BE49-F238E27FC236}">
                <a16:creationId xmlns:a16="http://schemas.microsoft.com/office/drawing/2014/main" id="{EEEF7097-23D5-59E4-7414-CA5CD81AA675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  <p:sp>
        <p:nvSpPr>
          <p:cNvPr id="27" name="Rektangel: avrundede hjørner 26">
            <a:extLst>
              <a:ext uri="{FF2B5EF4-FFF2-40B4-BE49-F238E27FC236}">
                <a16:creationId xmlns:a16="http://schemas.microsoft.com/office/drawing/2014/main" id="{7058314E-969F-F3A3-C2FE-02A93A1DCFE6}"/>
              </a:ext>
            </a:extLst>
          </p:cNvPr>
          <p:cNvSpPr/>
          <p:nvPr/>
        </p:nvSpPr>
        <p:spPr>
          <a:xfrm>
            <a:off x="7316765" y="4556098"/>
            <a:ext cx="3972455" cy="965200"/>
          </a:xfrm>
          <a:prstGeom prst="roundRect">
            <a:avLst/>
          </a:prstGeom>
          <a:solidFill>
            <a:schemeClr val="accent6">
              <a:alpha val="2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256406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_blaa">
            <a:extLst>
              <a:ext uri="{FF2B5EF4-FFF2-40B4-BE49-F238E27FC236}">
                <a16:creationId xmlns:a16="http://schemas.microsoft.com/office/drawing/2014/main" id="{0AD297ED-6B8D-73B6-D239-BC3C23B9D88E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14" name="TekstSylinder 13">
            <a:extLst>
              <a:ext uri="{FF2B5EF4-FFF2-40B4-BE49-F238E27FC236}">
                <a16:creationId xmlns:a16="http://schemas.microsoft.com/office/drawing/2014/main" id="{914848EE-A78B-A911-5782-8B5C4935FA02}"/>
              </a:ext>
            </a:extLst>
          </p:cNvPr>
          <p:cNvSpPr txBox="1"/>
          <p:nvPr/>
        </p:nvSpPr>
        <p:spPr>
          <a:xfrm>
            <a:off x="456786" y="1553077"/>
            <a:ext cx="9377095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>
                <a:solidFill>
                  <a:schemeClr val="accent2"/>
                </a:solidFill>
                <a:latin typeface="SpareBank 1 Medium" panose="020B0500030000000000" pitchFamily="34" charset="0"/>
              </a:rPr>
              <a:t>I hvilken grad er din bedrift forberedt på å tilpasse seg nytt regelverk knyttet til rapportering og offentliggjøring av bærekraftsinformasjon?</a:t>
            </a:r>
          </a:p>
          <a:p>
            <a:endParaRPr lang="nb-NO" dirty="0">
              <a:solidFill>
                <a:schemeClr val="accent2"/>
              </a:solidFill>
              <a:latin typeface="SpareBank 1 Medium" panose="020B0500030000000000" pitchFamily="34" charset="0"/>
            </a:endParaRPr>
          </a:p>
          <a:p>
            <a:r>
              <a:rPr lang="nb-NO" sz="1600" b="1" dirty="0">
                <a:solidFill>
                  <a:schemeClr val="accent2"/>
                </a:solidFill>
                <a:latin typeface="SpareBank 1 Medium" panose="020B0500030000000000" pitchFamily="34" charset="0"/>
              </a:rPr>
              <a:t>Andel bedrifter som svarer : I stor/svært stor grad (%)</a:t>
            </a:r>
          </a:p>
        </p:txBody>
      </p:sp>
      <p:sp>
        <p:nvSpPr>
          <p:cNvPr id="15" name="Tittel 1">
            <a:extLst>
              <a:ext uri="{FF2B5EF4-FFF2-40B4-BE49-F238E27FC236}">
                <a16:creationId xmlns:a16="http://schemas.microsoft.com/office/drawing/2014/main" id="{A9F2AF02-94DD-9B4F-E0B7-1C36C9B39F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786" y="343822"/>
            <a:ext cx="11687927" cy="553998"/>
          </a:xfrm>
        </p:spPr>
        <p:txBody>
          <a:bodyPr vert="horz"/>
          <a:lstStyle/>
          <a:p>
            <a:r>
              <a:rPr lang="nb-NO" sz="3200" dirty="0">
                <a:solidFill>
                  <a:schemeClr val="accent2"/>
                </a:solidFill>
              </a:rPr>
              <a:t>Det er store forskjeller i hvor godt forberedt bedriftene er på å tilpasse seg regelverket om rapportering av bærekraftsinformasjon</a:t>
            </a:r>
          </a:p>
        </p:txBody>
      </p:sp>
      <p:sp>
        <p:nvSpPr>
          <p:cNvPr id="17" name="Grunt object bcb65e9c2db22d95d7562bddbf0815f6-svg">
            <a:extLst>
              <a:ext uri="{FF2B5EF4-FFF2-40B4-BE49-F238E27FC236}">
                <a16:creationId xmlns:a16="http://schemas.microsoft.com/office/drawing/2014/main" id="{2A7505B7-6A4A-3AB0-07A3-D2A31F30195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930724" y="2905012"/>
            <a:ext cx="6495212" cy="2978263"/>
          </a:xfrm>
          <a:prstGeom prst="rect">
            <a:avLst/>
          </a:prstGeom>
          <a:blipFill dpi="0" rotWithShape="1"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40424F85-61B6-C000-64EA-DA9EF63025F6}"/>
              </a:ext>
            </a:extLst>
          </p:cNvPr>
          <p:cNvSpPr txBox="1"/>
          <p:nvPr/>
        </p:nvSpPr>
        <p:spPr>
          <a:xfrm>
            <a:off x="1878382" y="6093576"/>
            <a:ext cx="20565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Omsetningsstørrelse</a:t>
            </a:r>
          </a:p>
        </p:txBody>
      </p:sp>
      <p:sp>
        <p:nvSpPr>
          <p:cNvPr id="2" name="Grunt object 8a7b71a8544821c6839ee22a86dc693d-svg">
            <a:extLst>
              <a:ext uri="{FF2B5EF4-FFF2-40B4-BE49-F238E27FC236}">
                <a16:creationId xmlns:a16="http://schemas.microsoft.com/office/drawing/2014/main" id="{F78DA1D9-C224-3E97-AB83-5774F23E486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78128" y="3192834"/>
            <a:ext cx="4121791" cy="2985080"/>
          </a:xfrm>
          <a:prstGeom prst="rect">
            <a:avLst/>
          </a:prstGeom>
          <a:blipFill dpi="0"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38C4806E-8DFE-7190-43DB-0530D40C4CB7}"/>
              </a:ext>
            </a:extLst>
          </p:cNvPr>
          <p:cNvSpPr/>
          <p:nvPr/>
        </p:nvSpPr>
        <p:spPr>
          <a:xfrm>
            <a:off x="678128" y="4051300"/>
            <a:ext cx="2056512" cy="1262129"/>
          </a:xfrm>
          <a:prstGeom prst="ellipse">
            <a:avLst/>
          </a:prstGeom>
          <a:solidFill>
            <a:schemeClr val="accent6">
              <a:alpha val="2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Plassholder for bunntekst 3">
            <a:extLst>
              <a:ext uri="{FF2B5EF4-FFF2-40B4-BE49-F238E27FC236}">
                <a16:creationId xmlns:a16="http://schemas.microsoft.com/office/drawing/2014/main" id="{417AF9B4-30C5-FE67-1378-4B594C8BCB98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  <p:sp>
        <p:nvSpPr>
          <p:cNvPr id="10" name="Rektangel: avrundede hjørner 9">
            <a:extLst>
              <a:ext uri="{FF2B5EF4-FFF2-40B4-BE49-F238E27FC236}">
                <a16:creationId xmlns:a16="http://schemas.microsoft.com/office/drawing/2014/main" id="{83A20819-CED3-6BB4-9134-3B70A96AE6F1}"/>
              </a:ext>
            </a:extLst>
          </p:cNvPr>
          <p:cNvSpPr/>
          <p:nvPr/>
        </p:nvSpPr>
        <p:spPr>
          <a:xfrm>
            <a:off x="6318282" y="5234151"/>
            <a:ext cx="3515599" cy="693683"/>
          </a:xfrm>
          <a:prstGeom prst="roundRect">
            <a:avLst/>
          </a:prstGeom>
          <a:solidFill>
            <a:schemeClr val="accent6">
              <a:alpha val="2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434303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06906B-9C5D-6C9F-E0FF-976F37C17E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406906B-9C5D-6C9F-E0FF-976F37C17E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ihåndsform: figur 12">
            <a:extLst>
              <a:ext uri="{FF2B5EF4-FFF2-40B4-BE49-F238E27FC236}">
                <a16:creationId xmlns:a16="http://schemas.microsoft.com/office/drawing/2014/main" id="{B3E95311-D9B4-B2DD-229A-ECE2E4AB5D06}"/>
              </a:ext>
            </a:extLst>
          </p:cNvPr>
          <p:cNvSpPr/>
          <p:nvPr/>
        </p:nvSpPr>
        <p:spPr>
          <a:xfrm>
            <a:off x="-316" y="3060700"/>
            <a:ext cx="12211366" cy="3410746"/>
          </a:xfrm>
          <a:custGeom>
            <a:avLst/>
            <a:gdLst>
              <a:gd name="connsiteX0" fmla="*/ 2495268 w 12220098"/>
              <a:gd name="connsiteY0" fmla="*/ 433 h 1873333"/>
              <a:gd name="connsiteX1" fmla="*/ 6576260 w 12220098"/>
              <a:gd name="connsiteY1" fmla="*/ 372631 h 1873333"/>
              <a:gd name="connsiteX2" fmla="*/ 12220098 w 12220098"/>
              <a:gd name="connsiteY2" fmla="*/ 150289 h 1873333"/>
              <a:gd name="connsiteX3" fmla="*/ 12220098 w 12220098"/>
              <a:gd name="connsiteY3" fmla="*/ 1873333 h 1873333"/>
              <a:gd name="connsiteX4" fmla="*/ 0 w 12220098"/>
              <a:gd name="connsiteY4" fmla="*/ 1873333 h 1873333"/>
              <a:gd name="connsiteX5" fmla="*/ 0 w 12220098"/>
              <a:gd name="connsiteY5" fmla="*/ 623226 h 1873333"/>
              <a:gd name="connsiteX6" fmla="*/ 27775 w 12220098"/>
              <a:gd name="connsiteY6" fmla="*/ 614429 h 1873333"/>
              <a:gd name="connsiteX7" fmla="*/ 2027052 w 12220098"/>
              <a:gd name="connsiteY7" fmla="*/ 18916 h 1873333"/>
              <a:gd name="connsiteX8" fmla="*/ 2495268 w 12220098"/>
              <a:gd name="connsiteY8" fmla="*/ 433 h 1873333"/>
              <a:gd name="connsiteX0" fmla="*/ 2495268 w 12220098"/>
              <a:gd name="connsiteY0" fmla="*/ 185905 h 2058805"/>
              <a:gd name="connsiteX1" fmla="*/ 6576260 w 12220098"/>
              <a:gd name="connsiteY1" fmla="*/ 558103 h 2058805"/>
              <a:gd name="connsiteX2" fmla="*/ 12201048 w 12220098"/>
              <a:gd name="connsiteY2" fmla="*/ 78586 h 2058805"/>
              <a:gd name="connsiteX3" fmla="*/ 12220098 w 12220098"/>
              <a:gd name="connsiteY3" fmla="*/ 2058805 h 2058805"/>
              <a:gd name="connsiteX4" fmla="*/ 0 w 12220098"/>
              <a:gd name="connsiteY4" fmla="*/ 2058805 h 2058805"/>
              <a:gd name="connsiteX5" fmla="*/ 0 w 12220098"/>
              <a:gd name="connsiteY5" fmla="*/ 808698 h 2058805"/>
              <a:gd name="connsiteX6" fmla="*/ 27775 w 12220098"/>
              <a:gd name="connsiteY6" fmla="*/ 799901 h 2058805"/>
              <a:gd name="connsiteX7" fmla="*/ 2027052 w 12220098"/>
              <a:gd name="connsiteY7" fmla="*/ 204388 h 2058805"/>
              <a:gd name="connsiteX8" fmla="*/ 2495268 w 12220098"/>
              <a:gd name="connsiteY8" fmla="*/ 185905 h 2058805"/>
              <a:gd name="connsiteX0" fmla="*/ 2495268 w 12220098"/>
              <a:gd name="connsiteY0" fmla="*/ 107319 h 1980219"/>
              <a:gd name="connsiteX1" fmla="*/ 6576260 w 12220098"/>
              <a:gd name="connsiteY1" fmla="*/ 479517 h 1980219"/>
              <a:gd name="connsiteX2" fmla="*/ 12201048 w 12220098"/>
              <a:gd name="connsiteY2" fmla="*/ 0 h 1980219"/>
              <a:gd name="connsiteX3" fmla="*/ 12220098 w 12220098"/>
              <a:gd name="connsiteY3" fmla="*/ 1980219 h 1980219"/>
              <a:gd name="connsiteX4" fmla="*/ 0 w 12220098"/>
              <a:gd name="connsiteY4" fmla="*/ 1980219 h 1980219"/>
              <a:gd name="connsiteX5" fmla="*/ 0 w 12220098"/>
              <a:gd name="connsiteY5" fmla="*/ 730112 h 1980219"/>
              <a:gd name="connsiteX6" fmla="*/ 27775 w 12220098"/>
              <a:gd name="connsiteY6" fmla="*/ 721315 h 1980219"/>
              <a:gd name="connsiteX7" fmla="*/ 2027052 w 12220098"/>
              <a:gd name="connsiteY7" fmla="*/ 125802 h 1980219"/>
              <a:gd name="connsiteX8" fmla="*/ 2495268 w 12220098"/>
              <a:gd name="connsiteY8" fmla="*/ 107319 h 1980219"/>
              <a:gd name="connsiteX0" fmla="*/ 2495268 w 12220098"/>
              <a:gd name="connsiteY0" fmla="*/ 107319 h 1980219"/>
              <a:gd name="connsiteX1" fmla="*/ 7395410 w 12220098"/>
              <a:gd name="connsiteY1" fmla="*/ 670017 h 1980219"/>
              <a:gd name="connsiteX2" fmla="*/ 12201048 w 12220098"/>
              <a:gd name="connsiteY2" fmla="*/ 0 h 1980219"/>
              <a:gd name="connsiteX3" fmla="*/ 12220098 w 12220098"/>
              <a:gd name="connsiteY3" fmla="*/ 1980219 h 1980219"/>
              <a:gd name="connsiteX4" fmla="*/ 0 w 12220098"/>
              <a:gd name="connsiteY4" fmla="*/ 1980219 h 1980219"/>
              <a:gd name="connsiteX5" fmla="*/ 0 w 12220098"/>
              <a:gd name="connsiteY5" fmla="*/ 730112 h 1980219"/>
              <a:gd name="connsiteX6" fmla="*/ 27775 w 12220098"/>
              <a:gd name="connsiteY6" fmla="*/ 721315 h 1980219"/>
              <a:gd name="connsiteX7" fmla="*/ 2027052 w 12220098"/>
              <a:gd name="connsiteY7" fmla="*/ 125802 h 1980219"/>
              <a:gd name="connsiteX8" fmla="*/ 2495268 w 12220098"/>
              <a:gd name="connsiteY8" fmla="*/ 107319 h 1980219"/>
              <a:gd name="connsiteX0" fmla="*/ 2495268 w 12220098"/>
              <a:gd name="connsiteY0" fmla="*/ 107319 h 1980219"/>
              <a:gd name="connsiteX1" fmla="*/ 7376360 w 12220098"/>
              <a:gd name="connsiteY1" fmla="*/ 589634 h 1980219"/>
              <a:gd name="connsiteX2" fmla="*/ 12201048 w 12220098"/>
              <a:gd name="connsiteY2" fmla="*/ 0 h 1980219"/>
              <a:gd name="connsiteX3" fmla="*/ 12220098 w 12220098"/>
              <a:gd name="connsiteY3" fmla="*/ 1980219 h 1980219"/>
              <a:gd name="connsiteX4" fmla="*/ 0 w 12220098"/>
              <a:gd name="connsiteY4" fmla="*/ 1980219 h 1980219"/>
              <a:gd name="connsiteX5" fmla="*/ 0 w 12220098"/>
              <a:gd name="connsiteY5" fmla="*/ 730112 h 1980219"/>
              <a:gd name="connsiteX6" fmla="*/ 27775 w 12220098"/>
              <a:gd name="connsiteY6" fmla="*/ 721315 h 1980219"/>
              <a:gd name="connsiteX7" fmla="*/ 2027052 w 12220098"/>
              <a:gd name="connsiteY7" fmla="*/ 125802 h 1980219"/>
              <a:gd name="connsiteX8" fmla="*/ 2495268 w 12220098"/>
              <a:gd name="connsiteY8" fmla="*/ 107319 h 1980219"/>
              <a:gd name="connsiteX0" fmla="*/ 2495268 w 12220098"/>
              <a:gd name="connsiteY0" fmla="*/ 107319 h 1980219"/>
              <a:gd name="connsiteX1" fmla="*/ 7309685 w 12220098"/>
              <a:gd name="connsiteY1" fmla="*/ 741469 h 1980219"/>
              <a:gd name="connsiteX2" fmla="*/ 12201048 w 12220098"/>
              <a:gd name="connsiteY2" fmla="*/ 0 h 1980219"/>
              <a:gd name="connsiteX3" fmla="*/ 12220098 w 12220098"/>
              <a:gd name="connsiteY3" fmla="*/ 1980219 h 1980219"/>
              <a:gd name="connsiteX4" fmla="*/ 0 w 12220098"/>
              <a:gd name="connsiteY4" fmla="*/ 1980219 h 1980219"/>
              <a:gd name="connsiteX5" fmla="*/ 0 w 12220098"/>
              <a:gd name="connsiteY5" fmla="*/ 730112 h 1980219"/>
              <a:gd name="connsiteX6" fmla="*/ 27775 w 12220098"/>
              <a:gd name="connsiteY6" fmla="*/ 721315 h 1980219"/>
              <a:gd name="connsiteX7" fmla="*/ 2027052 w 12220098"/>
              <a:gd name="connsiteY7" fmla="*/ 125802 h 1980219"/>
              <a:gd name="connsiteX8" fmla="*/ 2495268 w 12220098"/>
              <a:gd name="connsiteY8" fmla="*/ 107319 h 1980219"/>
              <a:gd name="connsiteX0" fmla="*/ 2495268 w 12239148"/>
              <a:gd name="connsiteY0" fmla="*/ 116250 h 1989150"/>
              <a:gd name="connsiteX1" fmla="*/ 7309685 w 12239148"/>
              <a:gd name="connsiteY1" fmla="*/ 750400 h 1989150"/>
              <a:gd name="connsiteX2" fmla="*/ 12239148 w 12239148"/>
              <a:gd name="connsiteY2" fmla="*/ 0 h 1989150"/>
              <a:gd name="connsiteX3" fmla="*/ 12220098 w 12239148"/>
              <a:gd name="connsiteY3" fmla="*/ 1989150 h 1989150"/>
              <a:gd name="connsiteX4" fmla="*/ 0 w 12239148"/>
              <a:gd name="connsiteY4" fmla="*/ 1989150 h 1989150"/>
              <a:gd name="connsiteX5" fmla="*/ 0 w 12239148"/>
              <a:gd name="connsiteY5" fmla="*/ 739043 h 1989150"/>
              <a:gd name="connsiteX6" fmla="*/ 27775 w 12239148"/>
              <a:gd name="connsiteY6" fmla="*/ 730246 h 1989150"/>
              <a:gd name="connsiteX7" fmla="*/ 2027052 w 12239148"/>
              <a:gd name="connsiteY7" fmla="*/ 134733 h 1989150"/>
              <a:gd name="connsiteX8" fmla="*/ 2495268 w 12239148"/>
              <a:gd name="connsiteY8" fmla="*/ 116250 h 1989150"/>
              <a:gd name="connsiteX0" fmla="*/ 2495268 w 12229586"/>
              <a:gd name="connsiteY0" fmla="*/ 110343 h 1983243"/>
              <a:gd name="connsiteX1" fmla="*/ 7309685 w 12229586"/>
              <a:gd name="connsiteY1" fmla="*/ 744493 h 1983243"/>
              <a:gd name="connsiteX2" fmla="*/ 12229586 w 12229586"/>
              <a:gd name="connsiteY2" fmla="*/ 0 h 1983243"/>
              <a:gd name="connsiteX3" fmla="*/ 12220098 w 12229586"/>
              <a:gd name="connsiteY3" fmla="*/ 1983243 h 1983243"/>
              <a:gd name="connsiteX4" fmla="*/ 0 w 12229586"/>
              <a:gd name="connsiteY4" fmla="*/ 1983243 h 1983243"/>
              <a:gd name="connsiteX5" fmla="*/ 0 w 12229586"/>
              <a:gd name="connsiteY5" fmla="*/ 733136 h 1983243"/>
              <a:gd name="connsiteX6" fmla="*/ 27775 w 12229586"/>
              <a:gd name="connsiteY6" fmla="*/ 724339 h 1983243"/>
              <a:gd name="connsiteX7" fmla="*/ 2027052 w 12229586"/>
              <a:gd name="connsiteY7" fmla="*/ 128826 h 1983243"/>
              <a:gd name="connsiteX8" fmla="*/ 2495268 w 12229586"/>
              <a:gd name="connsiteY8" fmla="*/ 110343 h 1983243"/>
              <a:gd name="connsiteX0" fmla="*/ 2495268 w 12229586"/>
              <a:gd name="connsiteY0" fmla="*/ 98529 h 1971429"/>
              <a:gd name="connsiteX1" fmla="*/ 7309685 w 12229586"/>
              <a:gd name="connsiteY1" fmla="*/ 732679 h 1971429"/>
              <a:gd name="connsiteX2" fmla="*/ 12229586 w 12229586"/>
              <a:gd name="connsiteY2" fmla="*/ 0 h 1971429"/>
              <a:gd name="connsiteX3" fmla="*/ 12220098 w 12229586"/>
              <a:gd name="connsiteY3" fmla="*/ 1971429 h 1971429"/>
              <a:gd name="connsiteX4" fmla="*/ 0 w 12229586"/>
              <a:gd name="connsiteY4" fmla="*/ 1971429 h 1971429"/>
              <a:gd name="connsiteX5" fmla="*/ 0 w 12229586"/>
              <a:gd name="connsiteY5" fmla="*/ 721322 h 1971429"/>
              <a:gd name="connsiteX6" fmla="*/ 27775 w 12229586"/>
              <a:gd name="connsiteY6" fmla="*/ 712525 h 1971429"/>
              <a:gd name="connsiteX7" fmla="*/ 2027052 w 12229586"/>
              <a:gd name="connsiteY7" fmla="*/ 117012 h 1971429"/>
              <a:gd name="connsiteX8" fmla="*/ 2495268 w 12229586"/>
              <a:gd name="connsiteY8" fmla="*/ 98529 h 1971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29586" h="1971429">
                <a:moveTo>
                  <a:pt x="2495268" y="98529"/>
                </a:moveTo>
                <a:cubicBezTo>
                  <a:pt x="3632722" y="113206"/>
                  <a:pt x="5687299" y="749101"/>
                  <a:pt x="7309685" y="732679"/>
                </a:cubicBezTo>
                <a:cubicBezTo>
                  <a:pt x="8932071" y="716258"/>
                  <a:pt x="11902756" y="541846"/>
                  <a:pt x="12229586" y="0"/>
                </a:cubicBezTo>
                <a:cubicBezTo>
                  <a:pt x="12226423" y="661081"/>
                  <a:pt x="12223261" y="1310348"/>
                  <a:pt x="12220098" y="1971429"/>
                </a:cubicBezTo>
                <a:lnTo>
                  <a:pt x="0" y="1971429"/>
                </a:lnTo>
                <a:lnTo>
                  <a:pt x="0" y="721322"/>
                </a:lnTo>
                <a:lnTo>
                  <a:pt x="27775" y="712525"/>
                </a:lnTo>
                <a:cubicBezTo>
                  <a:pt x="386492" y="586373"/>
                  <a:pt x="981136" y="223218"/>
                  <a:pt x="2027052" y="117012"/>
                </a:cubicBezTo>
                <a:cubicBezTo>
                  <a:pt x="2176469" y="101840"/>
                  <a:pt x="2332775" y="96432"/>
                  <a:pt x="2495268" y="9852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  <p:sp>
        <p:nvSpPr>
          <p:cNvPr id="14" name="Frihåndsform: figur 13">
            <a:extLst>
              <a:ext uri="{FF2B5EF4-FFF2-40B4-BE49-F238E27FC236}">
                <a16:creationId xmlns:a16="http://schemas.microsoft.com/office/drawing/2014/main" id="{F65A19E5-A2CE-F78E-387A-7B943E7F51E5}"/>
              </a:ext>
            </a:extLst>
          </p:cNvPr>
          <p:cNvSpPr/>
          <p:nvPr/>
        </p:nvSpPr>
        <p:spPr>
          <a:xfrm>
            <a:off x="0" y="3330055"/>
            <a:ext cx="12220824" cy="3615032"/>
          </a:xfrm>
          <a:custGeom>
            <a:avLst/>
            <a:gdLst>
              <a:gd name="connsiteX0" fmla="*/ 2495268 w 12220098"/>
              <a:gd name="connsiteY0" fmla="*/ 433 h 1873333"/>
              <a:gd name="connsiteX1" fmla="*/ 6576260 w 12220098"/>
              <a:gd name="connsiteY1" fmla="*/ 372631 h 1873333"/>
              <a:gd name="connsiteX2" fmla="*/ 12220098 w 12220098"/>
              <a:gd name="connsiteY2" fmla="*/ 150289 h 1873333"/>
              <a:gd name="connsiteX3" fmla="*/ 12220098 w 12220098"/>
              <a:gd name="connsiteY3" fmla="*/ 1873333 h 1873333"/>
              <a:gd name="connsiteX4" fmla="*/ 0 w 12220098"/>
              <a:gd name="connsiteY4" fmla="*/ 1873333 h 1873333"/>
              <a:gd name="connsiteX5" fmla="*/ 0 w 12220098"/>
              <a:gd name="connsiteY5" fmla="*/ 623226 h 1873333"/>
              <a:gd name="connsiteX6" fmla="*/ 27775 w 12220098"/>
              <a:gd name="connsiteY6" fmla="*/ 614429 h 1873333"/>
              <a:gd name="connsiteX7" fmla="*/ 2027052 w 12220098"/>
              <a:gd name="connsiteY7" fmla="*/ 18916 h 1873333"/>
              <a:gd name="connsiteX8" fmla="*/ 2495268 w 12220098"/>
              <a:gd name="connsiteY8" fmla="*/ 433 h 1873333"/>
              <a:gd name="connsiteX0" fmla="*/ 2495268 w 12220098"/>
              <a:gd name="connsiteY0" fmla="*/ 185905 h 2058805"/>
              <a:gd name="connsiteX1" fmla="*/ 6576260 w 12220098"/>
              <a:gd name="connsiteY1" fmla="*/ 558103 h 2058805"/>
              <a:gd name="connsiteX2" fmla="*/ 12201048 w 12220098"/>
              <a:gd name="connsiteY2" fmla="*/ 78586 h 2058805"/>
              <a:gd name="connsiteX3" fmla="*/ 12220098 w 12220098"/>
              <a:gd name="connsiteY3" fmla="*/ 2058805 h 2058805"/>
              <a:gd name="connsiteX4" fmla="*/ 0 w 12220098"/>
              <a:gd name="connsiteY4" fmla="*/ 2058805 h 2058805"/>
              <a:gd name="connsiteX5" fmla="*/ 0 w 12220098"/>
              <a:gd name="connsiteY5" fmla="*/ 808698 h 2058805"/>
              <a:gd name="connsiteX6" fmla="*/ 27775 w 12220098"/>
              <a:gd name="connsiteY6" fmla="*/ 799901 h 2058805"/>
              <a:gd name="connsiteX7" fmla="*/ 2027052 w 12220098"/>
              <a:gd name="connsiteY7" fmla="*/ 204388 h 2058805"/>
              <a:gd name="connsiteX8" fmla="*/ 2495268 w 12220098"/>
              <a:gd name="connsiteY8" fmla="*/ 185905 h 2058805"/>
              <a:gd name="connsiteX0" fmla="*/ 2495268 w 12220098"/>
              <a:gd name="connsiteY0" fmla="*/ 107319 h 1980219"/>
              <a:gd name="connsiteX1" fmla="*/ 6576260 w 12220098"/>
              <a:gd name="connsiteY1" fmla="*/ 479517 h 1980219"/>
              <a:gd name="connsiteX2" fmla="*/ 12201048 w 12220098"/>
              <a:gd name="connsiteY2" fmla="*/ 0 h 1980219"/>
              <a:gd name="connsiteX3" fmla="*/ 12220098 w 12220098"/>
              <a:gd name="connsiteY3" fmla="*/ 1980219 h 1980219"/>
              <a:gd name="connsiteX4" fmla="*/ 0 w 12220098"/>
              <a:gd name="connsiteY4" fmla="*/ 1980219 h 1980219"/>
              <a:gd name="connsiteX5" fmla="*/ 0 w 12220098"/>
              <a:gd name="connsiteY5" fmla="*/ 730112 h 1980219"/>
              <a:gd name="connsiteX6" fmla="*/ 27775 w 12220098"/>
              <a:gd name="connsiteY6" fmla="*/ 721315 h 1980219"/>
              <a:gd name="connsiteX7" fmla="*/ 2027052 w 12220098"/>
              <a:gd name="connsiteY7" fmla="*/ 125802 h 1980219"/>
              <a:gd name="connsiteX8" fmla="*/ 2495268 w 12220098"/>
              <a:gd name="connsiteY8" fmla="*/ 107319 h 1980219"/>
              <a:gd name="connsiteX0" fmla="*/ 2495268 w 12220098"/>
              <a:gd name="connsiteY0" fmla="*/ 107319 h 1980219"/>
              <a:gd name="connsiteX1" fmla="*/ 7395410 w 12220098"/>
              <a:gd name="connsiteY1" fmla="*/ 670017 h 1980219"/>
              <a:gd name="connsiteX2" fmla="*/ 12201048 w 12220098"/>
              <a:gd name="connsiteY2" fmla="*/ 0 h 1980219"/>
              <a:gd name="connsiteX3" fmla="*/ 12220098 w 12220098"/>
              <a:gd name="connsiteY3" fmla="*/ 1980219 h 1980219"/>
              <a:gd name="connsiteX4" fmla="*/ 0 w 12220098"/>
              <a:gd name="connsiteY4" fmla="*/ 1980219 h 1980219"/>
              <a:gd name="connsiteX5" fmla="*/ 0 w 12220098"/>
              <a:gd name="connsiteY5" fmla="*/ 730112 h 1980219"/>
              <a:gd name="connsiteX6" fmla="*/ 27775 w 12220098"/>
              <a:gd name="connsiteY6" fmla="*/ 721315 h 1980219"/>
              <a:gd name="connsiteX7" fmla="*/ 2027052 w 12220098"/>
              <a:gd name="connsiteY7" fmla="*/ 125802 h 1980219"/>
              <a:gd name="connsiteX8" fmla="*/ 2495268 w 12220098"/>
              <a:gd name="connsiteY8" fmla="*/ 107319 h 1980219"/>
              <a:gd name="connsiteX0" fmla="*/ 2495268 w 12220098"/>
              <a:gd name="connsiteY0" fmla="*/ 107319 h 1980219"/>
              <a:gd name="connsiteX1" fmla="*/ 7376360 w 12220098"/>
              <a:gd name="connsiteY1" fmla="*/ 589634 h 1980219"/>
              <a:gd name="connsiteX2" fmla="*/ 12201048 w 12220098"/>
              <a:gd name="connsiteY2" fmla="*/ 0 h 1980219"/>
              <a:gd name="connsiteX3" fmla="*/ 12220098 w 12220098"/>
              <a:gd name="connsiteY3" fmla="*/ 1980219 h 1980219"/>
              <a:gd name="connsiteX4" fmla="*/ 0 w 12220098"/>
              <a:gd name="connsiteY4" fmla="*/ 1980219 h 1980219"/>
              <a:gd name="connsiteX5" fmla="*/ 0 w 12220098"/>
              <a:gd name="connsiteY5" fmla="*/ 730112 h 1980219"/>
              <a:gd name="connsiteX6" fmla="*/ 27775 w 12220098"/>
              <a:gd name="connsiteY6" fmla="*/ 721315 h 1980219"/>
              <a:gd name="connsiteX7" fmla="*/ 2027052 w 12220098"/>
              <a:gd name="connsiteY7" fmla="*/ 125802 h 1980219"/>
              <a:gd name="connsiteX8" fmla="*/ 2495268 w 12220098"/>
              <a:gd name="connsiteY8" fmla="*/ 107319 h 1980219"/>
              <a:gd name="connsiteX0" fmla="*/ 2495268 w 12220098"/>
              <a:gd name="connsiteY0" fmla="*/ 107319 h 1980219"/>
              <a:gd name="connsiteX1" fmla="*/ 7376360 w 12220098"/>
              <a:gd name="connsiteY1" fmla="*/ 589634 h 1980219"/>
              <a:gd name="connsiteX2" fmla="*/ 12210595 w 12220098"/>
              <a:gd name="connsiteY2" fmla="*/ 0 h 1980219"/>
              <a:gd name="connsiteX3" fmla="*/ 12220098 w 12220098"/>
              <a:gd name="connsiteY3" fmla="*/ 1980219 h 1980219"/>
              <a:gd name="connsiteX4" fmla="*/ 0 w 12220098"/>
              <a:gd name="connsiteY4" fmla="*/ 1980219 h 1980219"/>
              <a:gd name="connsiteX5" fmla="*/ 0 w 12220098"/>
              <a:gd name="connsiteY5" fmla="*/ 730112 h 1980219"/>
              <a:gd name="connsiteX6" fmla="*/ 27775 w 12220098"/>
              <a:gd name="connsiteY6" fmla="*/ 721315 h 1980219"/>
              <a:gd name="connsiteX7" fmla="*/ 2027052 w 12220098"/>
              <a:gd name="connsiteY7" fmla="*/ 125802 h 1980219"/>
              <a:gd name="connsiteX8" fmla="*/ 2495268 w 12220098"/>
              <a:gd name="connsiteY8" fmla="*/ 107319 h 1980219"/>
              <a:gd name="connsiteX0" fmla="*/ 2495268 w 12239509"/>
              <a:gd name="connsiteY0" fmla="*/ 107319 h 1980219"/>
              <a:gd name="connsiteX1" fmla="*/ 7376360 w 12239509"/>
              <a:gd name="connsiteY1" fmla="*/ 589634 h 1980219"/>
              <a:gd name="connsiteX2" fmla="*/ 12239236 w 12239509"/>
              <a:gd name="connsiteY2" fmla="*/ 0 h 1980219"/>
              <a:gd name="connsiteX3" fmla="*/ 12220098 w 12239509"/>
              <a:gd name="connsiteY3" fmla="*/ 1980219 h 1980219"/>
              <a:gd name="connsiteX4" fmla="*/ 0 w 12239509"/>
              <a:gd name="connsiteY4" fmla="*/ 1980219 h 1980219"/>
              <a:gd name="connsiteX5" fmla="*/ 0 w 12239509"/>
              <a:gd name="connsiteY5" fmla="*/ 730112 h 1980219"/>
              <a:gd name="connsiteX6" fmla="*/ 27775 w 12239509"/>
              <a:gd name="connsiteY6" fmla="*/ 721315 h 1980219"/>
              <a:gd name="connsiteX7" fmla="*/ 2027052 w 12239509"/>
              <a:gd name="connsiteY7" fmla="*/ 125802 h 1980219"/>
              <a:gd name="connsiteX8" fmla="*/ 2495268 w 12239509"/>
              <a:gd name="connsiteY8" fmla="*/ 107319 h 1980219"/>
              <a:gd name="connsiteX0" fmla="*/ 2495268 w 12239509"/>
              <a:gd name="connsiteY0" fmla="*/ 107319 h 1980219"/>
              <a:gd name="connsiteX1" fmla="*/ 7376360 w 12239509"/>
              <a:gd name="connsiteY1" fmla="*/ 589634 h 1980219"/>
              <a:gd name="connsiteX2" fmla="*/ 12239236 w 12239509"/>
              <a:gd name="connsiteY2" fmla="*/ 0 h 1980219"/>
              <a:gd name="connsiteX3" fmla="*/ 12220098 w 12239509"/>
              <a:gd name="connsiteY3" fmla="*/ 1980219 h 1980219"/>
              <a:gd name="connsiteX4" fmla="*/ 0 w 12239509"/>
              <a:gd name="connsiteY4" fmla="*/ 1980219 h 1980219"/>
              <a:gd name="connsiteX5" fmla="*/ 0 w 12239509"/>
              <a:gd name="connsiteY5" fmla="*/ 730112 h 1980219"/>
              <a:gd name="connsiteX6" fmla="*/ 27775 w 12239509"/>
              <a:gd name="connsiteY6" fmla="*/ 721315 h 1980219"/>
              <a:gd name="connsiteX7" fmla="*/ 2027052 w 12239509"/>
              <a:gd name="connsiteY7" fmla="*/ 125802 h 1980219"/>
              <a:gd name="connsiteX8" fmla="*/ 2495268 w 12239509"/>
              <a:gd name="connsiteY8" fmla="*/ 107319 h 1980219"/>
              <a:gd name="connsiteX0" fmla="*/ 2495268 w 12253986"/>
              <a:gd name="connsiteY0" fmla="*/ 91391 h 1964291"/>
              <a:gd name="connsiteX1" fmla="*/ 7376360 w 12253986"/>
              <a:gd name="connsiteY1" fmla="*/ 573706 h 1964291"/>
              <a:gd name="connsiteX2" fmla="*/ 12253808 w 12253986"/>
              <a:gd name="connsiteY2" fmla="*/ 0 h 1964291"/>
              <a:gd name="connsiteX3" fmla="*/ 12220098 w 12253986"/>
              <a:gd name="connsiteY3" fmla="*/ 1964291 h 1964291"/>
              <a:gd name="connsiteX4" fmla="*/ 0 w 12253986"/>
              <a:gd name="connsiteY4" fmla="*/ 1964291 h 1964291"/>
              <a:gd name="connsiteX5" fmla="*/ 0 w 12253986"/>
              <a:gd name="connsiteY5" fmla="*/ 714184 h 1964291"/>
              <a:gd name="connsiteX6" fmla="*/ 27775 w 12253986"/>
              <a:gd name="connsiteY6" fmla="*/ 705387 h 1964291"/>
              <a:gd name="connsiteX7" fmla="*/ 2027052 w 12253986"/>
              <a:gd name="connsiteY7" fmla="*/ 109874 h 1964291"/>
              <a:gd name="connsiteX8" fmla="*/ 2495268 w 12253986"/>
              <a:gd name="connsiteY8" fmla="*/ 91391 h 1964291"/>
              <a:gd name="connsiteX0" fmla="*/ 2495268 w 12254391"/>
              <a:gd name="connsiteY0" fmla="*/ 91391 h 1964291"/>
              <a:gd name="connsiteX1" fmla="*/ 7376360 w 12254391"/>
              <a:gd name="connsiteY1" fmla="*/ 573706 h 1964291"/>
              <a:gd name="connsiteX2" fmla="*/ 12253808 w 12254391"/>
              <a:gd name="connsiteY2" fmla="*/ 0 h 1964291"/>
              <a:gd name="connsiteX3" fmla="*/ 12249228 w 12254391"/>
              <a:gd name="connsiteY3" fmla="*/ 1956308 h 1964291"/>
              <a:gd name="connsiteX4" fmla="*/ 0 w 12254391"/>
              <a:gd name="connsiteY4" fmla="*/ 1964291 h 1964291"/>
              <a:gd name="connsiteX5" fmla="*/ 0 w 12254391"/>
              <a:gd name="connsiteY5" fmla="*/ 714184 h 1964291"/>
              <a:gd name="connsiteX6" fmla="*/ 27775 w 12254391"/>
              <a:gd name="connsiteY6" fmla="*/ 705387 h 1964291"/>
              <a:gd name="connsiteX7" fmla="*/ 2027052 w 12254391"/>
              <a:gd name="connsiteY7" fmla="*/ 109874 h 1964291"/>
              <a:gd name="connsiteX8" fmla="*/ 2495268 w 12254391"/>
              <a:gd name="connsiteY8" fmla="*/ 91391 h 1964291"/>
              <a:gd name="connsiteX0" fmla="*/ 2495268 w 12254081"/>
              <a:gd name="connsiteY0" fmla="*/ 91391 h 1980256"/>
              <a:gd name="connsiteX1" fmla="*/ 7376360 w 12254081"/>
              <a:gd name="connsiteY1" fmla="*/ 573706 h 1980256"/>
              <a:gd name="connsiteX2" fmla="*/ 12253808 w 12254081"/>
              <a:gd name="connsiteY2" fmla="*/ 0 h 1980256"/>
              <a:gd name="connsiteX3" fmla="*/ 12234663 w 12254081"/>
              <a:gd name="connsiteY3" fmla="*/ 1980256 h 1980256"/>
              <a:gd name="connsiteX4" fmla="*/ 0 w 12254081"/>
              <a:gd name="connsiteY4" fmla="*/ 1964291 h 1980256"/>
              <a:gd name="connsiteX5" fmla="*/ 0 w 12254081"/>
              <a:gd name="connsiteY5" fmla="*/ 714184 h 1980256"/>
              <a:gd name="connsiteX6" fmla="*/ 27775 w 12254081"/>
              <a:gd name="connsiteY6" fmla="*/ 705387 h 1980256"/>
              <a:gd name="connsiteX7" fmla="*/ 2027052 w 12254081"/>
              <a:gd name="connsiteY7" fmla="*/ 109874 h 1980256"/>
              <a:gd name="connsiteX8" fmla="*/ 2495268 w 12254081"/>
              <a:gd name="connsiteY8" fmla="*/ 91391 h 1980256"/>
              <a:gd name="connsiteX0" fmla="*/ 2495268 w 12263794"/>
              <a:gd name="connsiteY0" fmla="*/ 91391 h 1988239"/>
              <a:gd name="connsiteX1" fmla="*/ 7376360 w 12263794"/>
              <a:gd name="connsiteY1" fmla="*/ 573706 h 1988239"/>
              <a:gd name="connsiteX2" fmla="*/ 12253808 w 12263794"/>
              <a:gd name="connsiteY2" fmla="*/ 0 h 1988239"/>
              <a:gd name="connsiteX3" fmla="*/ 12263794 w 12263794"/>
              <a:gd name="connsiteY3" fmla="*/ 1988239 h 1988239"/>
              <a:gd name="connsiteX4" fmla="*/ 0 w 12263794"/>
              <a:gd name="connsiteY4" fmla="*/ 1964291 h 1988239"/>
              <a:gd name="connsiteX5" fmla="*/ 0 w 12263794"/>
              <a:gd name="connsiteY5" fmla="*/ 714184 h 1988239"/>
              <a:gd name="connsiteX6" fmla="*/ 27775 w 12263794"/>
              <a:gd name="connsiteY6" fmla="*/ 705387 h 1988239"/>
              <a:gd name="connsiteX7" fmla="*/ 2027052 w 12263794"/>
              <a:gd name="connsiteY7" fmla="*/ 109874 h 1988239"/>
              <a:gd name="connsiteX8" fmla="*/ 2495268 w 12263794"/>
              <a:gd name="connsiteY8" fmla="*/ 91391 h 1988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63794" h="1988239">
                <a:moveTo>
                  <a:pt x="2495268" y="91391"/>
                </a:moveTo>
                <a:cubicBezTo>
                  <a:pt x="3632722" y="106068"/>
                  <a:pt x="5749937" y="588938"/>
                  <a:pt x="7376360" y="573706"/>
                </a:cubicBezTo>
                <a:cubicBezTo>
                  <a:pt x="9002783" y="558474"/>
                  <a:pt x="11577278" y="494061"/>
                  <a:pt x="12253808" y="0"/>
                </a:cubicBezTo>
                <a:cubicBezTo>
                  <a:pt x="12256976" y="660073"/>
                  <a:pt x="12260626" y="1328166"/>
                  <a:pt x="12263794" y="1988239"/>
                </a:cubicBezTo>
                <a:lnTo>
                  <a:pt x="0" y="1964291"/>
                </a:lnTo>
                <a:lnTo>
                  <a:pt x="0" y="714184"/>
                </a:lnTo>
                <a:lnTo>
                  <a:pt x="27775" y="705387"/>
                </a:lnTo>
                <a:cubicBezTo>
                  <a:pt x="386492" y="579235"/>
                  <a:pt x="981136" y="216080"/>
                  <a:pt x="2027052" y="109874"/>
                </a:cubicBezTo>
                <a:cubicBezTo>
                  <a:pt x="2176469" y="94702"/>
                  <a:pt x="2332775" y="89294"/>
                  <a:pt x="2495268" y="91391"/>
                </a:cubicBezTo>
                <a:close/>
              </a:path>
            </a:pathLst>
          </a:cu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D89800C7-569D-A158-F1FB-375847331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196" y="386555"/>
            <a:ext cx="11037095" cy="553998"/>
          </a:xfrm>
        </p:spPr>
        <p:txBody>
          <a:bodyPr vert="horz"/>
          <a:lstStyle/>
          <a:p>
            <a:r>
              <a:rPr lang="nb-NO" sz="3200" dirty="0"/>
              <a:t>Norges største undersøkelse om bærekraft</a:t>
            </a:r>
          </a:p>
        </p:txBody>
      </p:sp>
      <p:pic>
        <p:nvPicPr>
          <p:cNvPr id="4" name="Graphic 8" descr="Daily calendar outline">
            <a:extLst>
              <a:ext uri="{FF2B5EF4-FFF2-40B4-BE49-F238E27FC236}">
                <a16:creationId xmlns:a16="http://schemas.microsoft.com/office/drawing/2014/main" id="{67240683-0804-0315-3ABC-D141C85A98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6747" y="1636879"/>
            <a:ext cx="540000" cy="540000"/>
          </a:xfrm>
          <a:prstGeom prst="rect">
            <a:avLst/>
          </a:prstGeom>
        </p:spPr>
      </p:pic>
      <p:sp>
        <p:nvSpPr>
          <p:cNvPr id="7" name="TextBox 10">
            <a:extLst>
              <a:ext uri="{FF2B5EF4-FFF2-40B4-BE49-F238E27FC236}">
                <a16:creationId xmlns:a16="http://schemas.microsoft.com/office/drawing/2014/main" id="{EB2DC77B-1C39-D333-7E1F-EA728F01118C}"/>
              </a:ext>
            </a:extLst>
          </p:cNvPr>
          <p:cNvSpPr txBox="1"/>
          <p:nvPr/>
        </p:nvSpPr>
        <p:spPr>
          <a:xfrm>
            <a:off x="907523" y="1675705"/>
            <a:ext cx="3059508" cy="1200329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171450" lvl="0" indent="-171450" fontAlgn="base">
              <a:buFont typeface="Arial" panose="020B0604020202020204" pitchFamily="34" charset="0"/>
              <a:buChar char="•"/>
            </a:pPr>
            <a:r>
              <a:rPr lang="nb-NO" sz="1200" u="none" spc="0" dirty="0"/>
              <a:t>Antall intervju: 6.089 privatpersoner</a:t>
            </a:r>
          </a:p>
          <a:p>
            <a:pPr marL="171450" lvl="0" indent="-171450" fontAlgn="base">
              <a:buFont typeface="Arial" panose="020B0604020202020204" pitchFamily="34" charset="0"/>
              <a:buChar char="•"/>
            </a:pPr>
            <a:r>
              <a:rPr lang="nb-NO" sz="1200" dirty="0"/>
              <a:t>Webpanel</a:t>
            </a:r>
            <a:r>
              <a:rPr lang="nb-NO" sz="1200" dirty="0">
                <a:solidFill>
                  <a:srgbClr val="000000">
                    <a:alpha val="100000"/>
                  </a:srgbClr>
                </a:solidFill>
              </a:rPr>
              <a:t> hvor respondentene kunne velge tidspunkt og valgte selv å gå inn på undersøkelsen</a:t>
            </a:r>
            <a:endParaRPr lang="nb-NO" sz="1200" u="none" spc="0" dirty="0"/>
          </a:p>
          <a:p>
            <a:pPr marL="171450" lvl="0" indent="-171450" fontAlgn="base">
              <a:buFont typeface="Arial" panose="020B0604020202020204" pitchFamily="34" charset="0"/>
              <a:buChar char="•"/>
            </a:pPr>
            <a:r>
              <a:rPr lang="nb-NO" sz="1200" u="none" spc="0" dirty="0"/>
              <a:t>Intervjuene ble gjennomført i perioden 31.01</a:t>
            </a:r>
            <a:r>
              <a:rPr lang="nb-NO" sz="1200" dirty="0"/>
              <a:t>–08.03.2024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A4EA8341-5CA4-8609-2375-B1F16D71FC4E}"/>
              </a:ext>
            </a:extLst>
          </p:cNvPr>
          <p:cNvSpPr txBox="1"/>
          <p:nvPr/>
        </p:nvSpPr>
        <p:spPr>
          <a:xfrm>
            <a:off x="415196" y="1177958"/>
            <a:ext cx="36537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accent2"/>
                </a:solidFill>
              </a:rPr>
              <a:t>Befolkningsundersøkelse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D3ED5A8B-EE35-6197-A5F8-9E2D4E8E7843}"/>
              </a:ext>
            </a:extLst>
          </p:cNvPr>
          <p:cNvSpPr txBox="1"/>
          <p:nvPr/>
        </p:nvSpPr>
        <p:spPr>
          <a:xfrm>
            <a:off x="4469365" y="1177958"/>
            <a:ext cx="281100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accent2"/>
                </a:solidFill>
              </a:rPr>
              <a:t>Bedriftsundersøkelse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B082DE98-A9AF-532D-76D3-47FB54733B08}"/>
              </a:ext>
            </a:extLst>
          </p:cNvPr>
          <p:cNvSpPr txBox="1"/>
          <p:nvPr/>
        </p:nvSpPr>
        <p:spPr>
          <a:xfrm>
            <a:off x="7887478" y="1177958"/>
            <a:ext cx="34772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accent2"/>
                </a:solidFill>
              </a:rPr>
              <a:t>Kommuneundersøkelse</a:t>
            </a:r>
          </a:p>
        </p:txBody>
      </p:sp>
      <p:sp>
        <p:nvSpPr>
          <p:cNvPr id="12" name="TextBox 10">
            <a:extLst>
              <a:ext uri="{FF2B5EF4-FFF2-40B4-BE49-F238E27FC236}">
                <a16:creationId xmlns:a16="http://schemas.microsoft.com/office/drawing/2014/main" id="{130670FD-DDD4-78CB-6EFC-F1A33E2A88A8}"/>
              </a:ext>
            </a:extLst>
          </p:cNvPr>
          <p:cNvSpPr txBox="1"/>
          <p:nvPr/>
        </p:nvSpPr>
        <p:spPr>
          <a:xfrm>
            <a:off x="4982684" y="1675705"/>
            <a:ext cx="2904793" cy="1200329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171450" lvl="0" indent="-171450" fontAlgn="base">
              <a:buFont typeface="Arial" panose="020B0604020202020204" pitchFamily="34" charset="0"/>
              <a:buChar char="•"/>
            </a:pPr>
            <a:r>
              <a:rPr lang="nb-NO" sz="1200" dirty="0"/>
              <a:t>Antall intervju: 1.718 bedriftsledere</a:t>
            </a:r>
            <a:endParaRPr lang="nb-NO" sz="1200" u="none" spc="0" dirty="0"/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rgbClr val="000000">
                    <a:alpha val="100000"/>
                  </a:srgbClr>
                </a:solidFill>
              </a:rPr>
              <a:t>Undersøkelsen ble gjennomført på telefon</a:t>
            </a:r>
            <a:endParaRPr lang="nb-NO" sz="1200" u="none" spc="0" dirty="0"/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nb-NO" sz="1200" u="none" spc="0" dirty="0"/>
              <a:t>Intervjuene ble gjennomført på telefon i perioden 17.0</a:t>
            </a:r>
            <a:r>
              <a:rPr lang="nb-NO" sz="1200" dirty="0"/>
              <a:t>1–08.03.24</a:t>
            </a:r>
          </a:p>
          <a:p>
            <a:pPr marL="171450" lvl="0" indent="-171450" fontAlgn="base">
              <a:buFont typeface="Arial" panose="020B0604020202020204" pitchFamily="34" charset="0"/>
              <a:buChar char="•"/>
            </a:pPr>
            <a:endParaRPr lang="nb-NO" sz="1200" dirty="0"/>
          </a:p>
        </p:txBody>
      </p:sp>
      <p:sp>
        <p:nvSpPr>
          <p:cNvPr id="16" name="TextBox 10">
            <a:extLst>
              <a:ext uri="{FF2B5EF4-FFF2-40B4-BE49-F238E27FC236}">
                <a16:creationId xmlns:a16="http://schemas.microsoft.com/office/drawing/2014/main" id="{FBAB4A65-3D1F-3FFF-277B-E0184B183584}"/>
              </a:ext>
            </a:extLst>
          </p:cNvPr>
          <p:cNvSpPr txBox="1"/>
          <p:nvPr/>
        </p:nvSpPr>
        <p:spPr>
          <a:xfrm>
            <a:off x="8645155" y="1635126"/>
            <a:ext cx="2884886" cy="1015663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171450" lvl="0" indent="-171450" fontAlgn="base">
              <a:buFont typeface="Arial" panose="020B0604020202020204" pitchFamily="34" charset="0"/>
              <a:buChar char="•"/>
            </a:pPr>
            <a:r>
              <a:rPr lang="nb-NO" sz="1200" dirty="0"/>
              <a:t>Antall intervju: 253/356 kommuner</a:t>
            </a:r>
            <a:endParaRPr lang="nb-NO" sz="1200" u="none" spc="0" dirty="0"/>
          </a:p>
          <a:p>
            <a:pPr marL="171450" lvl="0" indent="-171450" fontAlgn="base">
              <a:buFont typeface="Arial" panose="020B0604020202020204" pitchFamily="34" charset="0"/>
              <a:buChar char="•"/>
            </a:pPr>
            <a:r>
              <a:rPr lang="nb-NO" sz="1200" u="none" spc="0" dirty="0"/>
              <a:t>Undersøkelsen ble gjennomført </a:t>
            </a:r>
            <a:r>
              <a:rPr lang="nb-NO" sz="1200" dirty="0"/>
              <a:t>digitalt etter invitasjon på e-post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nb-NO" sz="1200" u="none" spc="0" dirty="0"/>
              <a:t>Intervjuene ble gjennomført i perioden </a:t>
            </a:r>
            <a:r>
              <a:rPr lang="nb-NO" sz="1200" dirty="0"/>
              <a:t>31.01-11.03.2024</a:t>
            </a:r>
          </a:p>
        </p:txBody>
      </p:sp>
      <p:pic>
        <p:nvPicPr>
          <p:cNvPr id="17" name="Graphic 8" descr="Daily calendar outline">
            <a:extLst>
              <a:ext uri="{FF2B5EF4-FFF2-40B4-BE49-F238E27FC236}">
                <a16:creationId xmlns:a16="http://schemas.microsoft.com/office/drawing/2014/main" id="{1607FBA1-B337-32D1-CF02-B3D0FC16948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69365" y="1602958"/>
            <a:ext cx="540000" cy="540000"/>
          </a:xfrm>
          <a:prstGeom prst="rect">
            <a:avLst/>
          </a:prstGeom>
        </p:spPr>
      </p:pic>
      <p:pic>
        <p:nvPicPr>
          <p:cNvPr id="18" name="Graphic 8" descr="Daily calendar outline">
            <a:extLst>
              <a:ext uri="{FF2B5EF4-FFF2-40B4-BE49-F238E27FC236}">
                <a16:creationId xmlns:a16="http://schemas.microsoft.com/office/drawing/2014/main" id="{739C37A1-AE91-4BB8-B715-1652B157187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49649" y="1602958"/>
            <a:ext cx="540000" cy="540000"/>
          </a:xfrm>
          <a:prstGeom prst="rect">
            <a:avLst/>
          </a:prstGeom>
        </p:spPr>
      </p:pic>
      <p:sp>
        <p:nvSpPr>
          <p:cNvPr id="19" name="Plassholder for bunntekst 3">
            <a:extLst>
              <a:ext uri="{FF2B5EF4-FFF2-40B4-BE49-F238E27FC236}">
                <a16:creationId xmlns:a16="http://schemas.microsoft.com/office/drawing/2014/main" id="{E07A94C4-7AFD-8901-45AF-921BD366E94F}"/>
              </a:ext>
            </a:extLst>
          </p:cNvPr>
          <p:cNvSpPr txBox="1">
            <a:spLocks/>
          </p:cNvSpPr>
          <p:nvPr/>
        </p:nvSpPr>
        <p:spPr>
          <a:xfrm>
            <a:off x="682207" y="6443941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bg1"/>
                </a:solidFill>
              </a:rPr>
              <a:t>Kilde: Sentio Research Norge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EA44ECB1-7E08-935B-D97F-99D24548F43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05120" y="6164125"/>
            <a:ext cx="2670279" cy="560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15708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_blaa">
            <a:extLst>
              <a:ext uri="{FF2B5EF4-FFF2-40B4-BE49-F238E27FC236}">
                <a16:creationId xmlns:a16="http://schemas.microsoft.com/office/drawing/2014/main" id="{0AD297ED-6B8D-73B6-D239-BC3C23B9D88E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14" name="TekstSylinder 13">
            <a:extLst>
              <a:ext uri="{FF2B5EF4-FFF2-40B4-BE49-F238E27FC236}">
                <a16:creationId xmlns:a16="http://schemas.microsoft.com/office/drawing/2014/main" id="{914848EE-A78B-A911-5782-8B5C4935FA02}"/>
              </a:ext>
            </a:extLst>
          </p:cNvPr>
          <p:cNvSpPr txBox="1"/>
          <p:nvPr/>
        </p:nvSpPr>
        <p:spPr>
          <a:xfrm>
            <a:off x="469240" y="1511442"/>
            <a:ext cx="937709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>
                <a:solidFill>
                  <a:schemeClr val="accent2"/>
                </a:solidFill>
                <a:latin typeface="+mj-lt"/>
              </a:rPr>
              <a:t>I hvilken grad tror du bruk av KI kan støtte bedriften med bærekraftig omstilling?</a:t>
            </a:r>
          </a:p>
          <a:p>
            <a:r>
              <a:rPr lang="nb-NO" b="1" dirty="0">
                <a:solidFill>
                  <a:schemeClr val="accent2"/>
                </a:solidFill>
                <a:latin typeface="+mj-lt"/>
              </a:rPr>
              <a:t>Andel bedrifter som svarer : I stor/svært stor grad (%)</a:t>
            </a:r>
          </a:p>
        </p:txBody>
      </p:sp>
      <p:sp>
        <p:nvSpPr>
          <p:cNvPr id="15" name="Tittel 1">
            <a:extLst>
              <a:ext uri="{FF2B5EF4-FFF2-40B4-BE49-F238E27FC236}">
                <a16:creationId xmlns:a16="http://schemas.microsoft.com/office/drawing/2014/main" id="{A9F2AF02-94DD-9B4F-E0B7-1C36C9B39F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240" y="420727"/>
            <a:ext cx="11253520" cy="553998"/>
          </a:xfrm>
        </p:spPr>
        <p:txBody>
          <a:bodyPr vert="horz"/>
          <a:lstStyle/>
          <a:p>
            <a:r>
              <a:rPr lang="nb-NO" sz="3200" dirty="0">
                <a:solidFill>
                  <a:schemeClr val="accent2"/>
                </a:solidFill>
              </a:rPr>
              <a:t>29% av bedriftene tror i stor grad at bruk av kunstig intelligens kan støtte arbeidet med bærekraftig omstilling</a:t>
            </a:r>
          </a:p>
        </p:txBody>
      </p:sp>
      <p:sp>
        <p:nvSpPr>
          <p:cNvPr id="17" name="Grunt object 64f1cad5abe09871df06330e7449c378-svg">
            <a:extLst>
              <a:ext uri="{FF2B5EF4-FFF2-40B4-BE49-F238E27FC236}">
                <a16:creationId xmlns:a16="http://schemas.microsoft.com/office/drawing/2014/main" id="{2A7505B7-6A4A-3AB0-07A3-D2A31F30195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46624" y="2663712"/>
            <a:ext cx="5936107" cy="3219563"/>
          </a:xfrm>
          <a:prstGeom prst="rect">
            <a:avLst/>
          </a:prstGeom>
          <a:blipFill dpi="0" rotWithShape="1"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Grunt object 922d584962b114e9da3b316042945dcc-svg">
            <a:extLst>
              <a:ext uri="{FF2B5EF4-FFF2-40B4-BE49-F238E27FC236}">
                <a16:creationId xmlns:a16="http://schemas.microsoft.com/office/drawing/2014/main" id="{86937471-62F4-4655-72D0-B713B290024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0910" y="2540445"/>
            <a:ext cx="3441019" cy="3177095"/>
          </a:xfrm>
          <a:prstGeom prst="rect">
            <a:avLst/>
          </a:prstGeom>
          <a:blipFill dpi="0"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7A51D15D-303B-84CB-F80E-0F919837B484}"/>
              </a:ext>
            </a:extLst>
          </p:cNvPr>
          <p:cNvSpPr txBox="1"/>
          <p:nvPr/>
        </p:nvSpPr>
        <p:spPr>
          <a:xfrm>
            <a:off x="1626008" y="5781040"/>
            <a:ext cx="20565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Omsetningsstørrelse</a:t>
            </a:r>
          </a:p>
        </p:txBody>
      </p:sp>
      <p:sp>
        <p:nvSpPr>
          <p:cNvPr id="8" name="Rektangel: avrundede hjørner 7">
            <a:extLst>
              <a:ext uri="{FF2B5EF4-FFF2-40B4-BE49-F238E27FC236}">
                <a16:creationId xmlns:a16="http://schemas.microsoft.com/office/drawing/2014/main" id="{D3A0E2E4-0377-324E-E012-5394DEAF376D}"/>
              </a:ext>
            </a:extLst>
          </p:cNvPr>
          <p:cNvSpPr/>
          <p:nvPr/>
        </p:nvSpPr>
        <p:spPr>
          <a:xfrm>
            <a:off x="970910" y="4128992"/>
            <a:ext cx="2800991" cy="965200"/>
          </a:xfrm>
          <a:prstGeom prst="roundRect">
            <a:avLst/>
          </a:prstGeom>
          <a:solidFill>
            <a:schemeClr val="accent6">
              <a:alpha val="2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Plassholder for bunntekst 3">
            <a:extLst>
              <a:ext uri="{FF2B5EF4-FFF2-40B4-BE49-F238E27FC236}">
                <a16:creationId xmlns:a16="http://schemas.microsoft.com/office/drawing/2014/main" id="{74BB3D5A-F862-21F1-BFB3-67661F94AF0F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5246631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_blaa">
            <a:extLst>
              <a:ext uri="{FF2B5EF4-FFF2-40B4-BE49-F238E27FC236}">
                <a16:creationId xmlns:a16="http://schemas.microsoft.com/office/drawing/2014/main" id="{0AD297ED-6B8D-73B6-D239-BC3C23B9D88E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7" name="Grunt object cf8b425e824a7e9b89fa0ee2ee8eab1e-svg">
            <a:extLst>
              <a:ext uri="{FF2B5EF4-FFF2-40B4-BE49-F238E27FC236}">
                <a16:creationId xmlns:a16="http://schemas.microsoft.com/office/drawing/2014/main" id="{CBD146DA-1D45-6331-9989-585B2A80F4D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37293" y="2311287"/>
            <a:ext cx="3441019" cy="3469753"/>
          </a:xfrm>
          <a:prstGeom prst="rect">
            <a:avLst/>
          </a:prstGeom>
          <a:blipFill dpi="0" rotWithShape="1"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914848EE-A78B-A911-5782-8B5C4935FA02}"/>
              </a:ext>
            </a:extLst>
          </p:cNvPr>
          <p:cNvSpPr txBox="1"/>
          <p:nvPr/>
        </p:nvSpPr>
        <p:spPr>
          <a:xfrm>
            <a:off x="469240" y="1182701"/>
            <a:ext cx="937709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>
                <a:solidFill>
                  <a:schemeClr val="accent2"/>
                </a:solidFill>
                <a:latin typeface="+mj-lt"/>
              </a:rPr>
              <a:t>Har din bedrift konkrete mål for likestilling, inkludering og mangfold?</a:t>
            </a:r>
            <a:endParaRPr lang="nb-NO" sz="16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5" name="Tittel 1">
            <a:extLst>
              <a:ext uri="{FF2B5EF4-FFF2-40B4-BE49-F238E27FC236}">
                <a16:creationId xmlns:a16="http://schemas.microsoft.com/office/drawing/2014/main" id="{A9F2AF02-94DD-9B4F-E0B7-1C36C9B39F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240" y="280089"/>
            <a:ext cx="11253520" cy="553998"/>
          </a:xfrm>
        </p:spPr>
        <p:txBody>
          <a:bodyPr vert="horz"/>
          <a:lstStyle/>
          <a:p>
            <a:r>
              <a:rPr lang="nb-NO" sz="3200" dirty="0">
                <a:solidFill>
                  <a:schemeClr val="accent2"/>
                </a:solidFill>
              </a:rPr>
              <a:t>58% av bedriftene har konkrete mål for likestilling, inkludering og mangfold</a:t>
            </a:r>
            <a:endParaRPr lang="nb-NO" dirty="0">
              <a:solidFill>
                <a:schemeClr val="accent2"/>
              </a:solidFill>
            </a:endParaRPr>
          </a:p>
        </p:txBody>
      </p:sp>
      <p:sp>
        <p:nvSpPr>
          <p:cNvPr id="17" name="Grunt object ef2658bdbdeaee7d542ded4e2f267879-svg">
            <a:extLst>
              <a:ext uri="{FF2B5EF4-FFF2-40B4-BE49-F238E27FC236}">
                <a16:creationId xmlns:a16="http://schemas.microsoft.com/office/drawing/2014/main" id="{2A7505B7-6A4A-3AB0-07A3-D2A31F30195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679899" y="2346212"/>
            <a:ext cx="6436823" cy="3537064"/>
          </a:xfrm>
          <a:prstGeom prst="rect">
            <a:avLst/>
          </a:prstGeom>
          <a:blipFill dpi="0" rotWithShape="1"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Grunt object c4e733e52bbe8b104bca854ab78e6844-svg">
            <a:extLst>
              <a:ext uri="{FF2B5EF4-FFF2-40B4-BE49-F238E27FC236}">
                <a16:creationId xmlns:a16="http://schemas.microsoft.com/office/drawing/2014/main" id="{0092887D-A60E-60C6-D15B-55D1469FB13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759700" y="2044587"/>
            <a:ext cx="2978149" cy="304800"/>
          </a:xfrm>
          <a:prstGeom prst="rect">
            <a:avLst/>
          </a:prstGeom>
          <a:blipFill dpi="0" rotWithShape="1"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287A73E4-1FA4-3207-0F8E-EB3574BF366F}"/>
              </a:ext>
            </a:extLst>
          </p:cNvPr>
          <p:cNvSpPr txBox="1"/>
          <p:nvPr/>
        </p:nvSpPr>
        <p:spPr>
          <a:xfrm>
            <a:off x="1626008" y="5781040"/>
            <a:ext cx="20565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Omsetningsstørrelse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142184C9-D925-D6BF-E439-8BD4A299243F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2C905925-8C6D-F2DA-DA75-B503C0632247}"/>
              </a:ext>
            </a:extLst>
          </p:cNvPr>
          <p:cNvSpPr txBox="1"/>
          <p:nvPr/>
        </p:nvSpPr>
        <p:spPr>
          <a:xfrm>
            <a:off x="469240" y="1483712"/>
            <a:ext cx="937709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  <a:latin typeface="+mj-lt"/>
              </a:rPr>
              <a:t>Svar: JA (%)</a:t>
            </a:r>
            <a:endParaRPr lang="nb-NO" sz="1600" b="1" dirty="0">
              <a:solidFill>
                <a:schemeClr val="accent2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4796412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54A37C32-67CD-4791-9D3A-9B87E1B006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54A37C32-67CD-4791-9D3A-9B87E1B00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ktangel 37" hidden="1">
            <a:extLst>
              <a:ext uri="{FF2B5EF4-FFF2-40B4-BE49-F238E27FC236}">
                <a16:creationId xmlns:a16="http://schemas.microsoft.com/office/drawing/2014/main" id="{B1B10DC0-9317-4EAD-BAD9-6B9F3A3AF91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pareBank 1 Light" panose="020B0500030000000000" pitchFamily="34" charset="0"/>
              <a:ea typeface="+mn-ea"/>
              <a:cs typeface="+mn-cs"/>
              <a:sym typeface="SpareBank 1 Light" panose="020B0500030000000000" pitchFamily="34" charset="0"/>
            </a:endParaRPr>
          </a:p>
        </p:txBody>
      </p:sp>
      <p:pic>
        <p:nvPicPr>
          <p:cNvPr id="22" name="Plassholder for bilde 21">
            <a:extLst>
              <a:ext uri="{FF2B5EF4-FFF2-40B4-BE49-F238E27FC236}">
                <a16:creationId xmlns:a16="http://schemas.microsoft.com/office/drawing/2014/main" id="{BF032E20-7335-4CCC-B22C-C06195C923DA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36" name="Plassholder for tekst 35">
            <a:extLst>
              <a:ext uri="{FF2B5EF4-FFF2-40B4-BE49-F238E27FC236}">
                <a16:creationId xmlns:a16="http://schemas.microsoft.com/office/drawing/2014/main" id="{02034AB9-80CC-4C66-A590-B81902E9304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 flipH="1">
            <a:off x="4197531" y="3746500"/>
            <a:ext cx="7994469" cy="3111500"/>
          </a:xfrm>
          <a:solidFill>
            <a:srgbClr val="005AA4"/>
          </a:solidFill>
        </p:spPr>
        <p:txBody>
          <a:bodyPr/>
          <a:lstStyle/>
          <a:p>
            <a:endParaRPr lang="nb-NO" dirty="0"/>
          </a:p>
        </p:txBody>
      </p:sp>
      <p:sp>
        <p:nvSpPr>
          <p:cNvPr id="33" name="Tittel 32">
            <a:extLst>
              <a:ext uri="{FF2B5EF4-FFF2-40B4-BE49-F238E27FC236}">
                <a16:creationId xmlns:a16="http://schemas.microsoft.com/office/drawing/2014/main" id="{AD1B64CB-419A-4045-9E64-C562D25B36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7135" y="5471822"/>
            <a:ext cx="7631653" cy="235793"/>
          </a:xfrm>
        </p:spPr>
        <p:txBody>
          <a:bodyPr/>
          <a:lstStyle/>
          <a:p>
            <a:r>
              <a:rPr lang="nb-NO" sz="4000" dirty="0">
                <a:solidFill>
                  <a:srgbClr val="FFFFFF"/>
                </a:solidFill>
                <a:latin typeface="SpareBank 1 Light" panose="020B0500030000000000" pitchFamily="34" charset="0"/>
                <a:ea typeface="+mn-ea"/>
                <a:cs typeface="+mn-cs"/>
              </a:rPr>
              <a:t>Sammen får vi ting til å skje!</a:t>
            </a:r>
            <a:br>
              <a:rPr lang="nb-NO" sz="4000" dirty="0">
                <a:solidFill>
                  <a:srgbClr val="FFFFFF"/>
                </a:solidFill>
                <a:latin typeface="SpareBank 1 Light" panose="020B0500030000000000" pitchFamily="34" charset="0"/>
                <a:ea typeface="+mn-ea"/>
                <a:cs typeface="+mn-cs"/>
              </a:rPr>
            </a:br>
            <a:r>
              <a:rPr lang="nb-NO" sz="1600" dirty="0">
                <a:solidFill>
                  <a:srgbClr val="FFFFFF"/>
                </a:solidFill>
                <a:latin typeface="SpareBank 1 Light" panose="020B0500030000000000" pitchFamily="34" charset="0"/>
                <a:ea typeface="+mn-ea"/>
                <a:cs typeface="+mn-cs"/>
              </a:rPr>
              <a:t>- Les mer om konsernets arbeid med bærekraft på smn.no/bærekraft </a:t>
            </a:r>
          </a:p>
        </p:txBody>
      </p:sp>
      <p:pic>
        <p:nvPicPr>
          <p:cNvPr id="4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662DE954-E33E-AA7B-B8BF-2562E6417A5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966" y="6398341"/>
            <a:ext cx="1735008" cy="396000"/>
          </a:xfrm>
          <a:prstGeom prst="rect">
            <a:avLst/>
          </a:prstGeom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1C2D0A60-F1A3-A23A-01A7-A04911C2E69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91612" y="6085747"/>
            <a:ext cx="2670279" cy="560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782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Bilde 21">
            <a:extLst>
              <a:ext uri="{FF2B5EF4-FFF2-40B4-BE49-F238E27FC236}">
                <a16:creationId xmlns:a16="http://schemas.microsoft.com/office/drawing/2014/main" id="{39848809-78B7-4A6D-D668-9D2BD58F73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2824" y="1"/>
            <a:ext cx="4989176" cy="2849587"/>
          </a:xfrm>
          <a:prstGeom prst="rect">
            <a:avLst/>
          </a:prstGeom>
        </p:spPr>
      </p:pic>
      <p:sp>
        <p:nvSpPr>
          <p:cNvPr id="62" name="Rektangel: avrundede hjørner 61">
            <a:extLst>
              <a:ext uri="{FF2B5EF4-FFF2-40B4-BE49-F238E27FC236}">
                <a16:creationId xmlns:a16="http://schemas.microsoft.com/office/drawing/2014/main" id="{5AB5C759-B13B-6717-665A-4800725F469F}"/>
              </a:ext>
            </a:extLst>
          </p:cNvPr>
          <p:cNvSpPr/>
          <p:nvPr/>
        </p:nvSpPr>
        <p:spPr>
          <a:xfrm>
            <a:off x="4075093" y="2733612"/>
            <a:ext cx="5556660" cy="400111"/>
          </a:xfrm>
          <a:prstGeom prst="roundRect">
            <a:avLst>
              <a:gd name="adj" fmla="val 19904"/>
            </a:avLst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06906B-9C5D-6C9F-E0FF-976F37C17E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406906B-9C5D-6C9F-E0FF-976F37C17E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D89800C7-569D-A158-F1FB-375847331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196" y="386555"/>
            <a:ext cx="11037095" cy="553998"/>
          </a:xfrm>
        </p:spPr>
        <p:txBody>
          <a:bodyPr vert="horz"/>
          <a:lstStyle/>
          <a:p>
            <a:r>
              <a:rPr lang="nb-NO" sz="3200" dirty="0">
                <a:solidFill>
                  <a:schemeClr val="bg1"/>
                </a:solidFill>
              </a:rPr>
              <a:t>Årets bærekraftbarometer viser at… 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F53CDD9E-1BB0-77B1-88A7-9529F5175A2D}"/>
              </a:ext>
            </a:extLst>
          </p:cNvPr>
          <p:cNvSpPr txBox="1"/>
          <p:nvPr/>
        </p:nvSpPr>
        <p:spPr>
          <a:xfrm>
            <a:off x="4091978" y="2805299"/>
            <a:ext cx="59329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>
                <a:latin typeface="+mj-lt"/>
              </a:rPr>
              <a:t>Hovedfunn 2023: Små og mellomstore bedrifter sakker akter ut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D3929640-8DE8-9D7E-99FF-BA55889F8B75}"/>
              </a:ext>
            </a:extLst>
          </p:cNvPr>
          <p:cNvSpPr txBox="1"/>
          <p:nvPr/>
        </p:nvSpPr>
        <p:spPr>
          <a:xfrm>
            <a:off x="3437011" y="5330106"/>
            <a:ext cx="1030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bg1"/>
                </a:solidFill>
                <a:latin typeface="SpareBank 1 Medium" panose="020B0500030000000000" pitchFamily="34" charset="0"/>
              </a:rPr>
              <a:t>2023</a:t>
            </a:r>
          </a:p>
        </p:txBody>
      </p:sp>
      <p:sp>
        <p:nvSpPr>
          <p:cNvPr id="20" name="TekstSylinder 19">
            <a:extLst>
              <a:ext uri="{FF2B5EF4-FFF2-40B4-BE49-F238E27FC236}">
                <a16:creationId xmlns:a16="http://schemas.microsoft.com/office/drawing/2014/main" id="{6E4C56A0-2ABB-9F14-1478-AF7FF540AFAC}"/>
              </a:ext>
            </a:extLst>
          </p:cNvPr>
          <p:cNvSpPr txBox="1"/>
          <p:nvPr/>
        </p:nvSpPr>
        <p:spPr>
          <a:xfrm>
            <a:off x="4489726" y="5330106"/>
            <a:ext cx="1030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bg1"/>
                </a:solidFill>
                <a:latin typeface="SpareBank 1 Medium" panose="020B0500030000000000" pitchFamily="34" charset="0"/>
              </a:rPr>
              <a:t>2024</a:t>
            </a:r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9CC88BB1-6F58-3E03-64BC-FE33FB0C78EB}"/>
              </a:ext>
            </a:extLst>
          </p:cNvPr>
          <p:cNvSpPr txBox="1"/>
          <p:nvPr/>
        </p:nvSpPr>
        <p:spPr>
          <a:xfrm>
            <a:off x="5542441" y="5330106"/>
            <a:ext cx="1030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rgbClr val="9E9E9E"/>
                </a:solidFill>
                <a:latin typeface="SpareBank 1 Medium" panose="020B0500030000000000" pitchFamily="34" charset="0"/>
              </a:rPr>
              <a:t>2025</a:t>
            </a:r>
          </a:p>
        </p:txBody>
      </p:sp>
      <p:sp>
        <p:nvSpPr>
          <p:cNvPr id="24" name="TekstSylinder 23">
            <a:extLst>
              <a:ext uri="{FF2B5EF4-FFF2-40B4-BE49-F238E27FC236}">
                <a16:creationId xmlns:a16="http://schemas.microsoft.com/office/drawing/2014/main" id="{ECCABFC0-A652-9B9B-0CB5-17412B34B785}"/>
              </a:ext>
            </a:extLst>
          </p:cNvPr>
          <p:cNvSpPr txBox="1"/>
          <p:nvPr/>
        </p:nvSpPr>
        <p:spPr>
          <a:xfrm>
            <a:off x="6595156" y="5330106"/>
            <a:ext cx="1030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rgbClr val="9E9E9E"/>
                </a:solidFill>
                <a:latin typeface="SpareBank 1 Medium" panose="020B0500030000000000" pitchFamily="34" charset="0"/>
              </a:rPr>
              <a:t>2026</a:t>
            </a: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FF684E4B-5173-55D0-034A-FB5BA77F8962}"/>
              </a:ext>
            </a:extLst>
          </p:cNvPr>
          <p:cNvSpPr txBox="1"/>
          <p:nvPr/>
        </p:nvSpPr>
        <p:spPr>
          <a:xfrm>
            <a:off x="7647871" y="5330106"/>
            <a:ext cx="1030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rgbClr val="9E9E9E"/>
                </a:solidFill>
                <a:latin typeface="SpareBank 1 Medium" panose="020B0500030000000000" pitchFamily="34" charset="0"/>
              </a:rPr>
              <a:t>2027</a:t>
            </a:r>
          </a:p>
        </p:txBody>
      </p:sp>
      <p:sp>
        <p:nvSpPr>
          <p:cNvPr id="26" name="TekstSylinder 25">
            <a:extLst>
              <a:ext uri="{FF2B5EF4-FFF2-40B4-BE49-F238E27FC236}">
                <a16:creationId xmlns:a16="http://schemas.microsoft.com/office/drawing/2014/main" id="{2CFD62F9-A562-B2CF-5E0C-72A0A8DE94AB}"/>
              </a:ext>
            </a:extLst>
          </p:cNvPr>
          <p:cNvSpPr txBox="1"/>
          <p:nvPr/>
        </p:nvSpPr>
        <p:spPr>
          <a:xfrm>
            <a:off x="8700586" y="5330106"/>
            <a:ext cx="1030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rgbClr val="9E9E9E"/>
                </a:solidFill>
                <a:latin typeface="SpareBank 1 Medium" panose="020B0500030000000000" pitchFamily="34" charset="0"/>
              </a:rPr>
              <a:t>2028</a:t>
            </a:r>
          </a:p>
        </p:txBody>
      </p: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946B5CF1-48C3-683C-D27B-22830454BAD7}"/>
              </a:ext>
            </a:extLst>
          </p:cNvPr>
          <p:cNvSpPr txBox="1"/>
          <p:nvPr/>
        </p:nvSpPr>
        <p:spPr>
          <a:xfrm>
            <a:off x="9753301" y="5330106"/>
            <a:ext cx="1030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rgbClr val="9E9E9E"/>
                </a:solidFill>
                <a:latin typeface="SpareBank 1 Medium" panose="020B0500030000000000" pitchFamily="34" charset="0"/>
              </a:rPr>
              <a:t>2029</a:t>
            </a:r>
          </a:p>
        </p:txBody>
      </p:sp>
      <p:sp>
        <p:nvSpPr>
          <p:cNvPr id="28" name="TekstSylinder 27">
            <a:extLst>
              <a:ext uri="{FF2B5EF4-FFF2-40B4-BE49-F238E27FC236}">
                <a16:creationId xmlns:a16="http://schemas.microsoft.com/office/drawing/2014/main" id="{2EFEF36E-2013-0A57-11E6-984EC1E47522}"/>
              </a:ext>
            </a:extLst>
          </p:cNvPr>
          <p:cNvSpPr txBox="1"/>
          <p:nvPr/>
        </p:nvSpPr>
        <p:spPr>
          <a:xfrm>
            <a:off x="10806013" y="5330106"/>
            <a:ext cx="1030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rgbClr val="9E9E9E"/>
                </a:solidFill>
                <a:latin typeface="SpareBank 1 Medium" panose="020B0500030000000000" pitchFamily="34" charset="0"/>
              </a:rPr>
              <a:t>2030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BC2BCAA8-5A7D-3842-73B6-B27767B41B5D}"/>
              </a:ext>
            </a:extLst>
          </p:cNvPr>
          <p:cNvSpPr/>
          <p:nvPr/>
        </p:nvSpPr>
        <p:spPr>
          <a:xfrm>
            <a:off x="3850885" y="5213457"/>
            <a:ext cx="98864" cy="9340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9DB14A98-3591-BA0F-A208-A94FCDCFE6BD}"/>
              </a:ext>
            </a:extLst>
          </p:cNvPr>
          <p:cNvSpPr/>
          <p:nvPr/>
        </p:nvSpPr>
        <p:spPr>
          <a:xfrm>
            <a:off x="4902841" y="5213457"/>
            <a:ext cx="98864" cy="9340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48" name="Kobling: vinkel 47">
            <a:extLst>
              <a:ext uri="{FF2B5EF4-FFF2-40B4-BE49-F238E27FC236}">
                <a16:creationId xmlns:a16="http://schemas.microsoft.com/office/drawing/2014/main" id="{926207D4-15C5-2E4E-8EA7-2EE790DF35EB}"/>
              </a:ext>
            </a:extLst>
          </p:cNvPr>
          <p:cNvCxnSpPr>
            <a:cxnSpLocks/>
            <a:stCxn id="62" idx="1"/>
            <a:endCxn id="30" idx="0"/>
          </p:cNvCxnSpPr>
          <p:nvPr/>
        </p:nvCxnSpPr>
        <p:spPr>
          <a:xfrm rot="10800000" flipV="1">
            <a:off x="3900317" y="2933667"/>
            <a:ext cx="174776" cy="2279789"/>
          </a:xfrm>
          <a:prstGeom prst="bentConnector2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Kobling: vinkel 53">
            <a:extLst>
              <a:ext uri="{FF2B5EF4-FFF2-40B4-BE49-F238E27FC236}">
                <a16:creationId xmlns:a16="http://schemas.microsoft.com/office/drawing/2014/main" id="{1C781344-AA14-0168-FB9C-F827978B9555}"/>
              </a:ext>
            </a:extLst>
          </p:cNvPr>
          <p:cNvCxnSpPr>
            <a:cxnSpLocks/>
            <a:stCxn id="71" idx="1"/>
            <a:endCxn id="32" idx="0"/>
          </p:cNvCxnSpPr>
          <p:nvPr/>
        </p:nvCxnSpPr>
        <p:spPr>
          <a:xfrm rot="10800000" flipV="1">
            <a:off x="4952274" y="3470085"/>
            <a:ext cx="204109" cy="1743372"/>
          </a:xfrm>
          <a:prstGeom prst="bentConnector2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Bilde 58">
            <a:extLst>
              <a:ext uri="{FF2B5EF4-FFF2-40B4-BE49-F238E27FC236}">
                <a16:creationId xmlns:a16="http://schemas.microsoft.com/office/drawing/2014/main" id="{1F40B700-9779-F616-1353-A26A6FC4C4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23596" y="6024425"/>
            <a:ext cx="2670279" cy="560881"/>
          </a:xfrm>
          <a:prstGeom prst="rect">
            <a:avLst/>
          </a:prstGeom>
        </p:spPr>
      </p:pic>
      <p:sp>
        <p:nvSpPr>
          <p:cNvPr id="70" name="Rektangel: avrundede hjørner 69">
            <a:extLst>
              <a:ext uri="{FF2B5EF4-FFF2-40B4-BE49-F238E27FC236}">
                <a16:creationId xmlns:a16="http://schemas.microsoft.com/office/drawing/2014/main" id="{223E251C-B339-FEDA-B863-6F7A1A1C9AED}"/>
              </a:ext>
            </a:extLst>
          </p:cNvPr>
          <p:cNvSpPr/>
          <p:nvPr/>
        </p:nvSpPr>
        <p:spPr>
          <a:xfrm>
            <a:off x="5139496" y="3259898"/>
            <a:ext cx="5349828" cy="400111"/>
          </a:xfrm>
          <a:prstGeom prst="roundRect">
            <a:avLst>
              <a:gd name="adj" fmla="val 19904"/>
            </a:avLst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00"/>
          </a:p>
        </p:txBody>
      </p:sp>
      <p:sp>
        <p:nvSpPr>
          <p:cNvPr id="71" name="TekstSylinder 70">
            <a:extLst>
              <a:ext uri="{FF2B5EF4-FFF2-40B4-BE49-F238E27FC236}">
                <a16:creationId xmlns:a16="http://schemas.microsoft.com/office/drawing/2014/main" id="{BF8157F1-9168-AD14-297F-475068134F67}"/>
              </a:ext>
            </a:extLst>
          </p:cNvPr>
          <p:cNvSpPr txBox="1"/>
          <p:nvPr/>
        </p:nvSpPr>
        <p:spPr>
          <a:xfrm>
            <a:off x="5156382" y="3331585"/>
            <a:ext cx="55431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>
                <a:latin typeface="+mj-lt"/>
              </a:rPr>
              <a:t>Hovedfunn 2024: Lønnsomhet er den viktigste barrieren for grønn omstilling</a:t>
            </a: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80949136-EE0C-CDF1-B94E-74A78B6C2E22}"/>
              </a:ext>
            </a:extLst>
          </p:cNvPr>
          <p:cNvSpPr/>
          <p:nvPr/>
        </p:nvSpPr>
        <p:spPr>
          <a:xfrm>
            <a:off x="5954797" y="5213457"/>
            <a:ext cx="98864" cy="93409"/>
          </a:xfrm>
          <a:prstGeom prst="ellipse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640AD4F3-5F59-1647-6D2D-1B664BE62F7D}"/>
              </a:ext>
            </a:extLst>
          </p:cNvPr>
          <p:cNvSpPr/>
          <p:nvPr/>
        </p:nvSpPr>
        <p:spPr>
          <a:xfrm>
            <a:off x="7006753" y="5213457"/>
            <a:ext cx="98864" cy="93409"/>
          </a:xfrm>
          <a:prstGeom prst="ellipse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75" name="Ellipse 74">
            <a:extLst>
              <a:ext uri="{FF2B5EF4-FFF2-40B4-BE49-F238E27FC236}">
                <a16:creationId xmlns:a16="http://schemas.microsoft.com/office/drawing/2014/main" id="{6BA43BE7-41B9-DC70-4FFA-99CA5DD31056}"/>
              </a:ext>
            </a:extLst>
          </p:cNvPr>
          <p:cNvSpPr/>
          <p:nvPr/>
        </p:nvSpPr>
        <p:spPr>
          <a:xfrm>
            <a:off x="8058709" y="5213457"/>
            <a:ext cx="98864" cy="93409"/>
          </a:xfrm>
          <a:prstGeom prst="ellipse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6" name="Ellipse 75">
            <a:extLst>
              <a:ext uri="{FF2B5EF4-FFF2-40B4-BE49-F238E27FC236}">
                <a16:creationId xmlns:a16="http://schemas.microsoft.com/office/drawing/2014/main" id="{C14C501C-2048-5058-B2E8-006CD7BB4551}"/>
              </a:ext>
            </a:extLst>
          </p:cNvPr>
          <p:cNvSpPr/>
          <p:nvPr/>
        </p:nvSpPr>
        <p:spPr>
          <a:xfrm>
            <a:off x="9110665" y="5213457"/>
            <a:ext cx="98864" cy="93409"/>
          </a:xfrm>
          <a:prstGeom prst="ellipse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94AFC5F3-D368-9A10-77AF-9575BC07CDA7}"/>
              </a:ext>
            </a:extLst>
          </p:cNvPr>
          <p:cNvSpPr/>
          <p:nvPr/>
        </p:nvSpPr>
        <p:spPr>
          <a:xfrm>
            <a:off x="10162621" y="5213457"/>
            <a:ext cx="98864" cy="93409"/>
          </a:xfrm>
          <a:prstGeom prst="ellipse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6D51F486-35E7-4312-71A8-5CE20E2B7572}"/>
              </a:ext>
            </a:extLst>
          </p:cNvPr>
          <p:cNvSpPr/>
          <p:nvPr/>
        </p:nvSpPr>
        <p:spPr>
          <a:xfrm>
            <a:off x="11214581" y="5213457"/>
            <a:ext cx="98864" cy="93409"/>
          </a:xfrm>
          <a:prstGeom prst="ellipse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3" name="Rektangel: avrundede hjørner 82">
            <a:extLst>
              <a:ext uri="{FF2B5EF4-FFF2-40B4-BE49-F238E27FC236}">
                <a16:creationId xmlns:a16="http://schemas.microsoft.com/office/drawing/2014/main" id="{EF75F574-9602-24CA-A11D-BC05A6562DAE}"/>
              </a:ext>
            </a:extLst>
          </p:cNvPr>
          <p:cNvSpPr/>
          <p:nvPr/>
        </p:nvSpPr>
        <p:spPr>
          <a:xfrm>
            <a:off x="923397" y="1164160"/>
            <a:ext cx="6370781" cy="400111"/>
          </a:xfrm>
          <a:prstGeom prst="roundRect">
            <a:avLst>
              <a:gd name="adj" fmla="val 19904"/>
            </a:avLst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4" name="TekstSylinder 83">
            <a:extLst>
              <a:ext uri="{FF2B5EF4-FFF2-40B4-BE49-F238E27FC236}">
                <a16:creationId xmlns:a16="http://schemas.microsoft.com/office/drawing/2014/main" id="{FF5E2C2E-D3F6-965E-BE75-F66F64E2D22E}"/>
              </a:ext>
            </a:extLst>
          </p:cNvPr>
          <p:cNvSpPr txBox="1"/>
          <p:nvPr/>
        </p:nvSpPr>
        <p:spPr>
          <a:xfrm>
            <a:off x="278866" y="5330106"/>
            <a:ext cx="1030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bg1"/>
                </a:solidFill>
                <a:latin typeface="SpareBank 1 Medium" panose="020B0500030000000000" pitchFamily="34" charset="0"/>
              </a:rPr>
              <a:t>2019</a:t>
            </a: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5783DD1C-159E-04D3-434C-1C0A669C3449}"/>
              </a:ext>
            </a:extLst>
          </p:cNvPr>
          <p:cNvSpPr/>
          <p:nvPr/>
        </p:nvSpPr>
        <p:spPr>
          <a:xfrm>
            <a:off x="695017" y="5213457"/>
            <a:ext cx="98864" cy="9340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86" name="Kobling: vinkel 85">
            <a:extLst>
              <a:ext uri="{FF2B5EF4-FFF2-40B4-BE49-F238E27FC236}">
                <a16:creationId xmlns:a16="http://schemas.microsoft.com/office/drawing/2014/main" id="{A666A095-0C63-1C3A-CE49-24AA19A72ECF}"/>
              </a:ext>
            </a:extLst>
          </p:cNvPr>
          <p:cNvCxnSpPr>
            <a:cxnSpLocks/>
            <a:stCxn id="83" idx="1"/>
            <a:endCxn id="85" idx="0"/>
          </p:cNvCxnSpPr>
          <p:nvPr/>
        </p:nvCxnSpPr>
        <p:spPr>
          <a:xfrm rot="10800000" flipV="1">
            <a:off x="744449" y="1364215"/>
            <a:ext cx="178948" cy="3849241"/>
          </a:xfrm>
          <a:prstGeom prst="bentConnector2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kstSylinder 87">
            <a:extLst>
              <a:ext uri="{FF2B5EF4-FFF2-40B4-BE49-F238E27FC236}">
                <a16:creationId xmlns:a16="http://schemas.microsoft.com/office/drawing/2014/main" id="{2E3BD76D-BDE9-2657-8502-453649E9DD22}"/>
              </a:ext>
            </a:extLst>
          </p:cNvPr>
          <p:cNvSpPr txBox="1"/>
          <p:nvPr/>
        </p:nvSpPr>
        <p:spPr>
          <a:xfrm>
            <a:off x="988383" y="1224035"/>
            <a:ext cx="64739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>
                <a:latin typeface="+mj-lt"/>
              </a:rPr>
              <a:t>Hovedfunn 2019: Avventende holdning til forretningsmessig risiko knyttet til bærekraft</a:t>
            </a:r>
            <a:endParaRPr lang="nb-NO" sz="1600" b="1" dirty="0">
              <a:latin typeface="+mj-lt"/>
            </a:endParaRPr>
          </a:p>
        </p:txBody>
      </p:sp>
      <p:sp>
        <p:nvSpPr>
          <p:cNvPr id="96" name="Rektangel: avrundede hjørner 95">
            <a:extLst>
              <a:ext uri="{FF2B5EF4-FFF2-40B4-BE49-F238E27FC236}">
                <a16:creationId xmlns:a16="http://schemas.microsoft.com/office/drawing/2014/main" id="{A8CCE9A3-8462-4705-92CA-7E1485EDDED9}"/>
              </a:ext>
            </a:extLst>
          </p:cNvPr>
          <p:cNvSpPr/>
          <p:nvPr/>
        </p:nvSpPr>
        <p:spPr>
          <a:xfrm>
            <a:off x="1970700" y="1694902"/>
            <a:ext cx="6088009" cy="400111"/>
          </a:xfrm>
          <a:prstGeom prst="roundRect">
            <a:avLst>
              <a:gd name="adj" fmla="val 19904"/>
            </a:avLst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7" name="TekstSylinder 96">
            <a:extLst>
              <a:ext uri="{FF2B5EF4-FFF2-40B4-BE49-F238E27FC236}">
                <a16:creationId xmlns:a16="http://schemas.microsoft.com/office/drawing/2014/main" id="{668E9C9A-2F77-4271-210F-A6F645CEE8BC}"/>
              </a:ext>
            </a:extLst>
          </p:cNvPr>
          <p:cNvSpPr txBox="1"/>
          <p:nvPr/>
        </p:nvSpPr>
        <p:spPr>
          <a:xfrm>
            <a:off x="2029624" y="1763280"/>
            <a:ext cx="59329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>
                <a:latin typeface="+mj-lt"/>
              </a:rPr>
              <a:t>Hovedfunn 2020: Arbeidet med langsiktig grønn omstilling bør intensiveres</a:t>
            </a:r>
          </a:p>
        </p:txBody>
      </p:sp>
      <p:sp>
        <p:nvSpPr>
          <p:cNvPr id="98" name="TekstSylinder 97">
            <a:extLst>
              <a:ext uri="{FF2B5EF4-FFF2-40B4-BE49-F238E27FC236}">
                <a16:creationId xmlns:a16="http://schemas.microsoft.com/office/drawing/2014/main" id="{218EBF32-4147-4012-53E4-46CEEC41CC78}"/>
              </a:ext>
            </a:extLst>
          </p:cNvPr>
          <p:cNvSpPr txBox="1"/>
          <p:nvPr/>
        </p:nvSpPr>
        <p:spPr>
          <a:xfrm>
            <a:off x="1331581" y="5330106"/>
            <a:ext cx="1030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bg1"/>
                </a:solidFill>
                <a:latin typeface="SpareBank 1 Medium" panose="020B0500030000000000" pitchFamily="34" charset="0"/>
              </a:rPr>
              <a:t>2020</a:t>
            </a:r>
          </a:p>
        </p:txBody>
      </p:sp>
      <p:sp>
        <p:nvSpPr>
          <p:cNvPr id="99" name="Ellipse 98">
            <a:extLst>
              <a:ext uri="{FF2B5EF4-FFF2-40B4-BE49-F238E27FC236}">
                <a16:creationId xmlns:a16="http://schemas.microsoft.com/office/drawing/2014/main" id="{1246DDCE-13EF-7C2F-C694-84329B1C0CB5}"/>
              </a:ext>
            </a:extLst>
          </p:cNvPr>
          <p:cNvSpPr/>
          <p:nvPr/>
        </p:nvSpPr>
        <p:spPr>
          <a:xfrm>
            <a:off x="1746973" y="5213457"/>
            <a:ext cx="98864" cy="9340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00" name="Kobling: vinkel 99">
            <a:extLst>
              <a:ext uri="{FF2B5EF4-FFF2-40B4-BE49-F238E27FC236}">
                <a16:creationId xmlns:a16="http://schemas.microsoft.com/office/drawing/2014/main" id="{89C59EB7-7B9A-DD59-42FA-799F0B9A191A}"/>
              </a:ext>
            </a:extLst>
          </p:cNvPr>
          <p:cNvCxnSpPr>
            <a:cxnSpLocks/>
            <a:stCxn id="96" idx="1"/>
            <a:endCxn id="99" idx="0"/>
          </p:cNvCxnSpPr>
          <p:nvPr/>
        </p:nvCxnSpPr>
        <p:spPr>
          <a:xfrm rot="10800000" flipV="1">
            <a:off x="1796406" y="1894957"/>
            <a:ext cx="174295" cy="3318499"/>
          </a:xfrm>
          <a:prstGeom prst="bentConnector2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kstSylinder 101">
            <a:extLst>
              <a:ext uri="{FF2B5EF4-FFF2-40B4-BE49-F238E27FC236}">
                <a16:creationId xmlns:a16="http://schemas.microsoft.com/office/drawing/2014/main" id="{915D90A3-5102-D2CE-8099-FA30E1600B79}"/>
              </a:ext>
            </a:extLst>
          </p:cNvPr>
          <p:cNvSpPr txBox="1"/>
          <p:nvPr/>
        </p:nvSpPr>
        <p:spPr>
          <a:xfrm>
            <a:off x="2384296" y="5330106"/>
            <a:ext cx="1030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bg1"/>
                </a:solidFill>
                <a:latin typeface="SpareBank 1 Medium" panose="020B0500030000000000" pitchFamily="34" charset="0"/>
              </a:rPr>
              <a:t>2021</a:t>
            </a:r>
          </a:p>
        </p:txBody>
      </p:sp>
      <p:sp>
        <p:nvSpPr>
          <p:cNvPr id="106" name="Rektangel: avrundede hjørner 105">
            <a:extLst>
              <a:ext uri="{FF2B5EF4-FFF2-40B4-BE49-F238E27FC236}">
                <a16:creationId xmlns:a16="http://schemas.microsoft.com/office/drawing/2014/main" id="{1CDAA055-79A7-F3DF-75D4-E680BE870ACA}"/>
              </a:ext>
            </a:extLst>
          </p:cNvPr>
          <p:cNvSpPr/>
          <p:nvPr/>
        </p:nvSpPr>
        <p:spPr>
          <a:xfrm>
            <a:off x="3038292" y="2216717"/>
            <a:ext cx="5832442" cy="400111"/>
          </a:xfrm>
          <a:prstGeom prst="roundRect">
            <a:avLst>
              <a:gd name="adj" fmla="val 19904"/>
            </a:avLst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7" name="TekstSylinder 106">
            <a:extLst>
              <a:ext uri="{FF2B5EF4-FFF2-40B4-BE49-F238E27FC236}">
                <a16:creationId xmlns:a16="http://schemas.microsoft.com/office/drawing/2014/main" id="{C521F7B7-EF14-FE4D-348E-99D040D69426}"/>
              </a:ext>
            </a:extLst>
          </p:cNvPr>
          <p:cNvSpPr txBox="1"/>
          <p:nvPr/>
        </p:nvSpPr>
        <p:spPr>
          <a:xfrm>
            <a:off x="3086706" y="2285095"/>
            <a:ext cx="59329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>
                <a:latin typeface="+mj-lt"/>
              </a:rPr>
              <a:t>Hovedfunn 2021: Klimakrisen er større enn kriseforståelsen blant bedrifter i regionen</a:t>
            </a:r>
          </a:p>
        </p:txBody>
      </p:sp>
      <p:sp>
        <p:nvSpPr>
          <p:cNvPr id="108" name="Ellipse 107">
            <a:extLst>
              <a:ext uri="{FF2B5EF4-FFF2-40B4-BE49-F238E27FC236}">
                <a16:creationId xmlns:a16="http://schemas.microsoft.com/office/drawing/2014/main" id="{5BD71D9D-FA10-A641-9FE6-1899FCEC00CC}"/>
              </a:ext>
            </a:extLst>
          </p:cNvPr>
          <p:cNvSpPr/>
          <p:nvPr/>
        </p:nvSpPr>
        <p:spPr>
          <a:xfrm>
            <a:off x="2798929" y="5213457"/>
            <a:ext cx="98864" cy="9340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09" name="Kobling: vinkel 108">
            <a:extLst>
              <a:ext uri="{FF2B5EF4-FFF2-40B4-BE49-F238E27FC236}">
                <a16:creationId xmlns:a16="http://schemas.microsoft.com/office/drawing/2014/main" id="{0A6337B8-EABA-0F91-03EC-FBA044FF0A80}"/>
              </a:ext>
            </a:extLst>
          </p:cNvPr>
          <p:cNvCxnSpPr>
            <a:cxnSpLocks/>
            <a:stCxn id="106" idx="1"/>
            <a:endCxn id="108" idx="0"/>
          </p:cNvCxnSpPr>
          <p:nvPr/>
        </p:nvCxnSpPr>
        <p:spPr>
          <a:xfrm rot="10800000" flipV="1">
            <a:off x="2848362" y="2416773"/>
            <a:ext cx="189931" cy="2796684"/>
          </a:xfrm>
          <a:prstGeom prst="bentConnector2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Rett pilkobling 117">
            <a:extLst>
              <a:ext uri="{FF2B5EF4-FFF2-40B4-BE49-F238E27FC236}">
                <a16:creationId xmlns:a16="http://schemas.microsoft.com/office/drawing/2014/main" id="{06511DAD-8426-1210-F330-6B465E637268}"/>
              </a:ext>
            </a:extLst>
          </p:cNvPr>
          <p:cNvCxnSpPr>
            <a:cxnSpLocks/>
          </p:cNvCxnSpPr>
          <p:nvPr/>
        </p:nvCxnSpPr>
        <p:spPr>
          <a:xfrm>
            <a:off x="702680" y="5255169"/>
            <a:ext cx="4731168" cy="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Ellipse 128">
            <a:extLst>
              <a:ext uri="{FF2B5EF4-FFF2-40B4-BE49-F238E27FC236}">
                <a16:creationId xmlns:a16="http://schemas.microsoft.com/office/drawing/2014/main" id="{78D6A2AC-5F2A-91C2-AB32-5EDBF64BD52B}"/>
              </a:ext>
            </a:extLst>
          </p:cNvPr>
          <p:cNvSpPr/>
          <p:nvPr/>
        </p:nvSpPr>
        <p:spPr>
          <a:xfrm>
            <a:off x="4929413" y="5238366"/>
            <a:ext cx="45719" cy="4571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130" name="Ellipse 129">
            <a:extLst>
              <a:ext uri="{FF2B5EF4-FFF2-40B4-BE49-F238E27FC236}">
                <a16:creationId xmlns:a16="http://schemas.microsoft.com/office/drawing/2014/main" id="{BFCB8F2D-DA11-EB97-CE18-4D2549564C11}"/>
              </a:ext>
            </a:extLst>
          </p:cNvPr>
          <p:cNvSpPr/>
          <p:nvPr/>
        </p:nvSpPr>
        <p:spPr>
          <a:xfrm>
            <a:off x="3877837" y="5238366"/>
            <a:ext cx="45719" cy="4571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1" name="Ellipse 130">
            <a:extLst>
              <a:ext uri="{FF2B5EF4-FFF2-40B4-BE49-F238E27FC236}">
                <a16:creationId xmlns:a16="http://schemas.microsoft.com/office/drawing/2014/main" id="{08DDF353-E48C-7F5E-C01F-7E2B1FA791CC}"/>
              </a:ext>
            </a:extLst>
          </p:cNvPr>
          <p:cNvSpPr/>
          <p:nvPr/>
        </p:nvSpPr>
        <p:spPr>
          <a:xfrm>
            <a:off x="2823120" y="5238366"/>
            <a:ext cx="45719" cy="4571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2" name="Ellipse 131">
            <a:extLst>
              <a:ext uri="{FF2B5EF4-FFF2-40B4-BE49-F238E27FC236}">
                <a16:creationId xmlns:a16="http://schemas.microsoft.com/office/drawing/2014/main" id="{CC44F2BD-5D78-E5E3-875B-F4BFD94F81E8}"/>
              </a:ext>
            </a:extLst>
          </p:cNvPr>
          <p:cNvSpPr/>
          <p:nvPr/>
        </p:nvSpPr>
        <p:spPr>
          <a:xfrm>
            <a:off x="1774877" y="5238366"/>
            <a:ext cx="45719" cy="4571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3" name="Ellipse 132">
            <a:extLst>
              <a:ext uri="{FF2B5EF4-FFF2-40B4-BE49-F238E27FC236}">
                <a16:creationId xmlns:a16="http://schemas.microsoft.com/office/drawing/2014/main" id="{49CDDE42-E9C9-F30A-93D4-EFC4E30A7B4B}"/>
              </a:ext>
            </a:extLst>
          </p:cNvPr>
          <p:cNvSpPr/>
          <p:nvPr/>
        </p:nvSpPr>
        <p:spPr>
          <a:xfrm>
            <a:off x="721590" y="5238366"/>
            <a:ext cx="45719" cy="4571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217226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: avrundede hjørner diagonalt 15">
            <a:extLst>
              <a:ext uri="{FF2B5EF4-FFF2-40B4-BE49-F238E27FC236}">
                <a16:creationId xmlns:a16="http://schemas.microsoft.com/office/drawing/2014/main" id="{4863B0D7-0DCE-F6BA-8C00-45CC5804699C}"/>
              </a:ext>
            </a:extLst>
          </p:cNvPr>
          <p:cNvSpPr/>
          <p:nvPr/>
        </p:nvSpPr>
        <p:spPr>
          <a:xfrm>
            <a:off x="626287" y="1712476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chemeClr val="accent2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Strategi</a:t>
            </a:r>
          </a:p>
        </p:txBody>
      </p:sp>
      <p:sp>
        <p:nvSpPr>
          <p:cNvPr id="18" name="Rektangel: avrundede hjørner diagonalt 17">
            <a:extLst>
              <a:ext uri="{FF2B5EF4-FFF2-40B4-BE49-F238E27FC236}">
                <a16:creationId xmlns:a16="http://schemas.microsoft.com/office/drawing/2014/main" id="{EDDFE4F8-336D-47E3-6D24-516DEAB3FEB9}"/>
              </a:ext>
            </a:extLst>
          </p:cNvPr>
          <p:cNvSpPr/>
          <p:nvPr/>
        </p:nvSpPr>
        <p:spPr>
          <a:xfrm>
            <a:off x="626287" y="2685387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rgbClr val="005AA4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Innovasjon, kunder og marked</a:t>
            </a:r>
          </a:p>
        </p:txBody>
      </p:sp>
      <p:sp>
        <p:nvSpPr>
          <p:cNvPr id="19" name="Rektangel: avrundede hjørner diagonalt 18">
            <a:extLst>
              <a:ext uri="{FF2B5EF4-FFF2-40B4-BE49-F238E27FC236}">
                <a16:creationId xmlns:a16="http://schemas.microsoft.com/office/drawing/2014/main" id="{C912209D-AC8B-C81D-FABD-7AB5C9EF0892}"/>
              </a:ext>
            </a:extLst>
          </p:cNvPr>
          <p:cNvSpPr/>
          <p:nvPr/>
        </p:nvSpPr>
        <p:spPr>
          <a:xfrm>
            <a:off x="626287" y="3658298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rgbClr val="005AA4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Vekst og lønnsomhet</a:t>
            </a:r>
          </a:p>
        </p:txBody>
      </p:sp>
      <p:sp>
        <p:nvSpPr>
          <p:cNvPr id="20" name="Rektangel: avrundede hjørner diagonalt 19">
            <a:extLst>
              <a:ext uri="{FF2B5EF4-FFF2-40B4-BE49-F238E27FC236}">
                <a16:creationId xmlns:a16="http://schemas.microsoft.com/office/drawing/2014/main" id="{17D22BF5-A214-1915-566E-B058C54CB6AE}"/>
              </a:ext>
            </a:extLst>
          </p:cNvPr>
          <p:cNvSpPr/>
          <p:nvPr/>
        </p:nvSpPr>
        <p:spPr>
          <a:xfrm>
            <a:off x="626287" y="4631209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rgbClr val="005AA4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Kompetanse</a:t>
            </a:r>
          </a:p>
        </p:txBody>
      </p:sp>
      <p:pic>
        <p:nvPicPr>
          <p:cNvPr id="2" name="logo_blaa">
            <a:extLst>
              <a:ext uri="{FF2B5EF4-FFF2-40B4-BE49-F238E27FC236}">
                <a16:creationId xmlns:a16="http://schemas.microsoft.com/office/drawing/2014/main" id="{AA3A8E0B-918B-1492-6F8B-7C2E89B3BD98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25" name="Frihåndsform: figur 24">
            <a:extLst>
              <a:ext uri="{FF2B5EF4-FFF2-40B4-BE49-F238E27FC236}">
                <a16:creationId xmlns:a16="http://schemas.microsoft.com/office/drawing/2014/main" id="{F95DA45A-5A5F-456B-9665-FABDEBAFE2DA}"/>
              </a:ext>
            </a:extLst>
          </p:cNvPr>
          <p:cNvSpPr/>
          <p:nvPr/>
        </p:nvSpPr>
        <p:spPr>
          <a:xfrm>
            <a:off x="7536546" y="0"/>
            <a:ext cx="4655454" cy="4354951"/>
          </a:xfrm>
          <a:custGeom>
            <a:avLst/>
            <a:gdLst>
              <a:gd name="connsiteX0" fmla="*/ 941343 w 6096000"/>
              <a:gd name="connsiteY0" fmla="*/ 0 h 5717750"/>
              <a:gd name="connsiteX1" fmla="*/ 6096000 w 6096000"/>
              <a:gd name="connsiteY1" fmla="*/ 0 h 5717750"/>
              <a:gd name="connsiteX2" fmla="*/ 6096000 w 6096000"/>
              <a:gd name="connsiteY2" fmla="*/ 4691651 h 5717750"/>
              <a:gd name="connsiteX3" fmla="*/ 6070472 w 6096000"/>
              <a:gd name="connsiteY3" fmla="*/ 4718596 h 5717750"/>
              <a:gd name="connsiteX4" fmla="*/ 3556000 w 6096000"/>
              <a:gd name="connsiteY4" fmla="*/ 5717750 h 5717750"/>
              <a:gd name="connsiteX5" fmla="*/ 0 w 6096000"/>
              <a:gd name="connsiteY5" fmla="*/ 2306425 h 5717750"/>
              <a:gd name="connsiteX6" fmla="*/ 812017 w 6096000"/>
              <a:gd name="connsiteY6" fmla="*/ 136505 h 5717750"/>
              <a:gd name="connsiteX7" fmla="*/ 941343 w 6096000"/>
              <a:gd name="connsiteY7" fmla="*/ 0 h 571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5717750">
                <a:moveTo>
                  <a:pt x="941343" y="0"/>
                </a:moveTo>
                <a:lnTo>
                  <a:pt x="6096000" y="0"/>
                </a:lnTo>
                <a:lnTo>
                  <a:pt x="6096000" y="4691651"/>
                </a:lnTo>
                <a:lnTo>
                  <a:pt x="6070472" y="4718596"/>
                </a:lnTo>
                <a:cubicBezTo>
                  <a:pt x="5426962" y="5335925"/>
                  <a:pt x="4537962" y="5717750"/>
                  <a:pt x="3556000" y="5717750"/>
                </a:cubicBezTo>
                <a:cubicBezTo>
                  <a:pt x="1592075" y="5717750"/>
                  <a:pt x="0" y="4190448"/>
                  <a:pt x="0" y="2306425"/>
                </a:cubicBezTo>
                <a:cubicBezTo>
                  <a:pt x="0" y="1482165"/>
                  <a:pt x="304733" y="726184"/>
                  <a:pt x="812017" y="136505"/>
                </a:cubicBezTo>
                <a:lnTo>
                  <a:pt x="941343" y="0"/>
                </a:lnTo>
                <a:close/>
              </a:path>
            </a:pathLst>
          </a:custGeom>
          <a:blipFill dpi="0" rotWithShape="1">
            <a:blip r:embed="rId3">
              <a:grayscl/>
            </a:blip>
            <a:srcRect/>
            <a:stretch>
              <a:fillRect l="-11000" t="-1000"/>
            </a:stretch>
          </a:blip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875282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ktangel 46">
            <a:extLst>
              <a:ext uri="{FF2B5EF4-FFF2-40B4-BE49-F238E27FC236}">
                <a16:creationId xmlns:a16="http://schemas.microsoft.com/office/drawing/2014/main" id="{71B92B7A-4F33-438D-333F-D09CE64B0587}"/>
              </a:ext>
            </a:extLst>
          </p:cNvPr>
          <p:cNvSpPr/>
          <p:nvPr/>
        </p:nvSpPr>
        <p:spPr>
          <a:xfrm>
            <a:off x="6096000" y="1160774"/>
            <a:ext cx="5485039" cy="4877169"/>
          </a:xfrm>
          <a:prstGeom prst="rect">
            <a:avLst/>
          </a:prstGeom>
          <a:solidFill>
            <a:schemeClr val="bg1"/>
          </a:solidFill>
          <a:ln w="76200">
            <a:solidFill>
              <a:schemeClr val="tx2"/>
            </a:solidFill>
            <a:prstDash val="sysDash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18831" y="194101"/>
            <a:ext cx="11134725" cy="554038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nb-NO" sz="3200" dirty="0">
                <a:solidFill>
                  <a:srgbClr val="002060"/>
                </a:solidFill>
              </a:rPr>
              <a:t>2 av 5 bedrifter har konkrete mål for å kutte utslipp. 1 </a:t>
            </a:r>
            <a:r>
              <a:rPr lang="nb-NO" sz="3200">
                <a:solidFill>
                  <a:srgbClr val="002060"/>
                </a:solidFill>
              </a:rPr>
              <a:t>av 4 </a:t>
            </a:r>
            <a:r>
              <a:rPr lang="nb-NO" sz="3200" dirty="0">
                <a:solidFill>
                  <a:srgbClr val="002060"/>
                </a:solidFill>
              </a:rPr>
              <a:t>har også en overgangsplan</a:t>
            </a:r>
          </a:p>
        </p:txBody>
      </p:sp>
      <p:sp>
        <p:nvSpPr>
          <p:cNvPr id="12" name="Grunt object 45ea4c45fd169079d23ebd96eb944da8-svg">
            <a:extLst>
              <a:ext uri="{FF2B5EF4-FFF2-40B4-BE49-F238E27FC236}">
                <a16:creationId xmlns:a16="http://schemas.microsoft.com/office/drawing/2014/main" id="{C7D6E2B7-F909-208A-88A7-4B1A5B4324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305807" y="1487088"/>
            <a:ext cx="4486489" cy="4422797"/>
          </a:xfrm>
          <a:prstGeom prst="rect">
            <a:avLst/>
          </a:prstGeom>
          <a:blipFill dpi="0" rotWithShape="1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3F8CF218-1B97-CE8D-DDC0-330179F0B2B3}"/>
              </a:ext>
            </a:extLst>
          </p:cNvPr>
          <p:cNvSpPr txBox="1"/>
          <p:nvPr/>
        </p:nvSpPr>
        <p:spPr>
          <a:xfrm>
            <a:off x="6066972" y="976108"/>
            <a:ext cx="1575450" cy="369332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</a:rPr>
              <a:t>Svar: nei (%)</a:t>
            </a:r>
          </a:p>
        </p:txBody>
      </p:sp>
      <p:sp>
        <p:nvSpPr>
          <p:cNvPr id="10" name="Grunt object 207d4d9b38f893cbd1fd31f399e97b7f-svg">
            <a:extLst>
              <a:ext uri="{FF2B5EF4-FFF2-40B4-BE49-F238E27FC236}">
                <a16:creationId xmlns:a16="http://schemas.microsoft.com/office/drawing/2014/main" id="{85AA0980-8973-CA56-1E33-D1721889CE5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47819" y="2408164"/>
            <a:ext cx="4629833" cy="3403304"/>
          </a:xfrm>
          <a:prstGeom prst="rect">
            <a:avLst/>
          </a:prstGeom>
          <a:blipFill dpi="0" rotWithShape="1"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Grunt object 95911654a65eeedea9515ee0bdd40bb5-svg">
            <a:extLst>
              <a:ext uri="{FF2B5EF4-FFF2-40B4-BE49-F238E27FC236}">
                <a16:creationId xmlns:a16="http://schemas.microsoft.com/office/drawing/2014/main" id="{B8E2FFFA-627F-8E0A-3F67-8E359CCC3F0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348015" y="2136931"/>
            <a:ext cx="1879599" cy="334074"/>
          </a:xfrm>
          <a:prstGeom prst="rect">
            <a:avLst/>
          </a:prstGeom>
          <a:blipFill dpi="0" rotWithShape="1"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49" name="logo_blaa">
            <a:extLst>
              <a:ext uri="{FF2B5EF4-FFF2-40B4-BE49-F238E27FC236}">
                <a16:creationId xmlns:a16="http://schemas.microsoft.com/office/drawing/2014/main" id="{9B74B623-3811-6168-BD71-A0921C1E3F07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cxnSp>
        <p:nvCxnSpPr>
          <p:cNvPr id="34" name="Kobling: vinkel 33">
            <a:extLst>
              <a:ext uri="{FF2B5EF4-FFF2-40B4-BE49-F238E27FC236}">
                <a16:creationId xmlns:a16="http://schemas.microsoft.com/office/drawing/2014/main" id="{A8A682E9-2A84-4408-84BE-BF7B05498296}"/>
              </a:ext>
            </a:extLst>
          </p:cNvPr>
          <p:cNvCxnSpPr>
            <a:cxnSpLocks/>
          </p:cNvCxnSpPr>
          <p:nvPr/>
        </p:nvCxnSpPr>
        <p:spPr>
          <a:xfrm flipV="1">
            <a:off x="3456309" y="1160774"/>
            <a:ext cx="2429885" cy="1535563"/>
          </a:xfrm>
          <a:prstGeom prst="bentConnector3">
            <a:avLst>
              <a:gd name="adj1" fmla="val 4603"/>
            </a:avLst>
          </a:prstGeom>
          <a:solidFill>
            <a:schemeClr val="bg1"/>
          </a:solidFill>
          <a:ln w="76200">
            <a:solidFill>
              <a:schemeClr val="tx2"/>
            </a:solidFill>
            <a:prstDash val="sysDash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7" name="Rett pilkobling 56">
            <a:extLst>
              <a:ext uri="{FF2B5EF4-FFF2-40B4-BE49-F238E27FC236}">
                <a16:creationId xmlns:a16="http://schemas.microsoft.com/office/drawing/2014/main" id="{FFE67BA0-DB42-5198-0AA7-63CFAE2004E5}"/>
              </a:ext>
            </a:extLst>
          </p:cNvPr>
          <p:cNvCxnSpPr>
            <a:cxnSpLocks/>
          </p:cNvCxnSpPr>
          <p:nvPr/>
        </p:nvCxnSpPr>
        <p:spPr>
          <a:xfrm>
            <a:off x="5573487" y="1160774"/>
            <a:ext cx="493485" cy="0"/>
          </a:xfrm>
          <a:prstGeom prst="straightConnector1">
            <a:avLst/>
          </a:prstGeom>
          <a:ln w="1111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Rett pilkobling 58">
            <a:extLst>
              <a:ext uri="{FF2B5EF4-FFF2-40B4-BE49-F238E27FC236}">
                <a16:creationId xmlns:a16="http://schemas.microsoft.com/office/drawing/2014/main" id="{B95BB63F-DA95-AA21-63E3-151488F48042}"/>
              </a:ext>
            </a:extLst>
          </p:cNvPr>
          <p:cNvCxnSpPr>
            <a:cxnSpLocks/>
          </p:cNvCxnSpPr>
          <p:nvPr/>
        </p:nvCxnSpPr>
        <p:spPr>
          <a:xfrm flipV="1">
            <a:off x="3563258" y="1718863"/>
            <a:ext cx="0" cy="485464"/>
          </a:xfrm>
          <a:prstGeom prst="straightConnector1">
            <a:avLst/>
          </a:prstGeom>
          <a:ln w="1111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Plassholder for bunntekst 3">
            <a:extLst>
              <a:ext uri="{FF2B5EF4-FFF2-40B4-BE49-F238E27FC236}">
                <a16:creationId xmlns:a16="http://schemas.microsoft.com/office/drawing/2014/main" id="{14A3709F-4542-3131-61F5-0871C7D9104C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</p:spTree>
    <p:custDataLst>
      <p:tags r:id="rId1"/>
    </p:custData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665" y="855676"/>
            <a:ext cx="7379495" cy="553998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nb-NO" sz="1800" dirty="0"/>
              <a:t>Spørsmål: Hvem har størst innflytelse på om bedriften vurderer</a:t>
            </a:r>
            <a:br>
              <a:rPr lang="nb-NO" sz="1800" dirty="0"/>
            </a:br>
            <a:r>
              <a:rPr lang="nb-NO" sz="1800" dirty="0"/>
              <a:t>bærekraft som strategisk viktig?</a:t>
            </a:r>
          </a:p>
        </p:txBody>
      </p:sp>
      <p:sp>
        <p:nvSpPr>
          <p:cNvPr id="14" name="Plassholder for tekst 13">
            <a:extLst>
              <a:ext uri="{FF2B5EF4-FFF2-40B4-BE49-F238E27FC236}">
                <a16:creationId xmlns:a16="http://schemas.microsoft.com/office/drawing/2014/main" id="{A9E940C5-D697-DAA7-B82A-AB69F57B18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Grunt object 6a9f48a16fceaaec4dead42826cf5c2e-svg">
            <a:extLst>
              <a:ext uri="{FF2B5EF4-FFF2-40B4-BE49-F238E27FC236}">
                <a16:creationId xmlns:a16="http://schemas.microsoft.com/office/drawing/2014/main" id="{4ABCD0F7-5D20-56AE-8B3E-7063AC2E645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19283" y="1894542"/>
            <a:ext cx="6358191" cy="4482203"/>
          </a:xfrm>
          <a:prstGeom prst="rect">
            <a:avLst/>
          </a:prstGeo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Grunt object 729289ae66439f52e9aee4d78b194db3-svg">
            <a:extLst>
              <a:ext uri="{FF2B5EF4-FFF2-40B4-BE49-F238E27FC236}">
                <a16:creationId xmlns:a16="http://schemas.microsoft.com/office/drawing/2014/main" id="{24CC2C59-BB55-11E8-1D11-33C0DCA5E2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856465" y="1409674"/>
            <a:ext cx="3111045" cy="272143"/>
          </a:xfrm>
          <a:prstGeom prst="rect">
            <a:avLst/>
          </a:prstGeom>
          <a:blipFill dpi="0" rotWithShape="1"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Dokument 11">
            <a:extLst>
              <a:ext uri="{FF2B5EF4-FFF2-40B4-BE49-F238E27FC236}">
                <a16:creationId xmlns:a16="http://schemas.microsoft.com/office/drawing/2014/main" id="{BE89F684-C0C0-5137-C5FE-249B9D78A912}"/>
              </a:ext>
            </a:extLst>
          </p:cNvPr>
          <p:cNvSpPr/>
          <p:nvPr/>
        </p:nvSpPr>
        <p:spPr>
          <a:xfrm rot="5400000">
            <a:off x="6358729" y="1024732"/>
            <a:ext cx="6858002" cy="4808537"/>
          </a:xfrm>
          <a:prstGeom prst="flowChartDocument">
            <a:avLst/>
          </a:prstGeom>
          <a:blipFill dpi="0" rotWithShape="0">
            <a:blip r:embed="rId9"/>
            <a:srcRect/>
            <a:stretch>
              <a:fillRect l="-11000" r="-24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>
              <a:solidFill>
                <a:prstClr val="white"/>
              </a:solidFill>
            </a:endParaRP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A3432786-D753-A98E-7484-7187DCED932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305120" y="6164125"/>
            <a:ext cx="2670279" cy="560881"/>
          </a:xfrm>
          <a:prstGeom prst="rect">
            <a:avLst/>
          </a:prstGeom>
        </p:spPr>
      </p:pic>
      <p:sp>
        <p:nvSpPr>
          <p:cNvPr id="15" name="Plassholder for bunntekst 3">
            <a:extLst>
              <a:ext uri="{FF2B5EF4-FFF2-40B4-BE49-F238E27FC236}">
                <a16:creationId xmlns:a16="http://schemas.microsoft.com/office/drawing/2014/main" id="{220EC50D-7487-C0FC-C5F2-1683D38CD024}"/>
              </a:ext>
            </a:extLst>
          </p:cNvPr>
          <p:cNvSpPr txBox="1">
            <a:spLocks/>
          </p:cNvSpPr>
          <p:nvPr/>
        </p:nvSpPr>
        <p:spPr>
          <a:xfrm>
            <a:off x="215900" y="659486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D081613-140A-2420-5B3A-E5530D9989DE}"/>
              </a:ext>
            </a:extLst>
          </p:cNvPr>
          <p:cNvSpPr txBox="1">
            <a:spLocks/>
          </p:cNvSpPr>
          <p:nvPr/>
        </p:nvSpPr>
        <p:spPr>
          <a:xfrm>
            <a:off x="422911" y="301618"/>
            <a:ext cx="8155032" cy="5540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200" dirty="0">
                <a:solidFill>
                  <a:srgbClr val="002060"/>
                </a:solidFill>
              </a:rPr>
              <a:t>Bærekraftsarbeidet i bedriftene er lederstyrt</a:t>
            </a:r>
          </a:p>
        </p:txBody>
      </p:sp>
    </p:spTree>
    <p:custDataLst>
      <p:tags r:id="rId1"/>
    </p:custData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36109EF-7E07-4A6A-9F84-4312921252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36109EF-7E07-4A6A-9F84-4312921252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Dokument 35">
            <a:extLst>
              <a:ext uri="{FF2B5EF4-FFF2-40B4-BE49-F238E27FC236}">
                <a16:creationId xmlns:a16="http://schemas.microsoft.com/office/drawing/2014/main" id="{CBA7815A-B0BF-4D71-BAC8-C98DF96072A3}"/>
              </a:ext>
            </a:extLst>
          </p:cNvPr>
          <p:cNvSpPr/>
          <p:nvPr/>
        </p:nvSpPr>
        <p:spPr>
          <a:xfrm rot="5400000">
            <a:off x="6358729" y="1024732"/>
            <a:ext cx="6858002" cy="4808537"/>
          </a:xfrm>
          <a:prstGeom prst="flowChartDocument">
            <a:avLst/>
          </a:prstGeom>
          <a:blipFill>
            <a:blip r:embed="rId8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16BEF5A-A0F8-4213-AFAF-34F372AEAF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236" y="234440"/>
            <a:ext cx="7214396" cy="553998"/>
          </a:xfrm>
        </p:spPr>
        <p:txBody>
          <a:bodyPr vert="horz"/>
          <a:lstStyle/>
          <a:p>
            <a:r>
              <a:rPr lang="nb-NO" sz="3200" dirty="0"/>
              <a:t>Færre bedrifter vurderer arbeid med bærekraft som strategisk viktig</a:t>
            </a:r>
          </a:p>
        </p:txBody>
      </p:sp>
      <p:sp>
        <p:nvSpPr>
          <p:cNvPr id="89" name="Rektangel 88" hidden="1">
            <a:extLst>
              <a:ext uri="{FF2B5EF4-FFF2-40B4-BE49-F238E27FC236}">
                <a16:creationId xmlns:a16="http://schemas.microsoft.com/office/drawing/2014/main" id="{26DC1627-20C4-44C1-AF99-9962A1A88332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1400" dirty="0"/>
          </a:p>
        </p:txBody>
      </p:sp>
      <p:sp>
        <p:nvSpPr>
          <p:cNvPr id="176" name="Tittel 1">
            <a:extLst>
              <a:ext uri="{FF2B5EF4-FFF2-40B4-BE49-F238E27FC236}">
                <a16:creationId xmlns:a16="http://schemas.microsoft.com/office/drawing/2014/main" id="{08727B53-B070-44DA-9FE8-F24FDA5586C2}"/>
              </a:ext>
            </a:extLst>
          </p:cNvPr>
          <p:cNvSpPr txBox="1">
            <a:spLocks/>
          </p:cNvSpPr>
          <p:nvPr/>
        </p:nvSpPr>
        <p:spPr>
          <a:xfrm>
            <a:off x="355411" y="1290464"/>
            <a:ext cx="5437188" cy="5540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1800" dirty="0"/>
              <a:t>Spørsmål: I hvilken grad vurderer du bedriftens arbeid med bærekraft som strategisk viktig?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16D7031B-8C5E-068A-6959-FEF5377733A3}"/>
              </a:ext>
            </a:extLst>
          </p:cNvPr>
          <p:cNvSpPr txBox="1"/>
          <p:nvPr/>
        </p:nvSpPr>
        <p:spPr>
          <a:xfrm>
            <a:off x="352236" y="1943951"/>
            <a:ext cx="6280727" cy="3139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b="1" dirty="0"/>
              <a:t>Svar: I svært stor grad eller stor grad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34519467-C258-533C-4634-969E150C9F6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19476" y="6149239"/>
            <a:ext cx="2670279" cy="560881"/>
          </a:xfrm>
          <a:prstGeom prst="rect">
            <a:avLst/>
          </a:prstGeom>
        </p:spPr>
      </p:pic>
      <p:sp>
        <p:nvSpPr>
          <p:cNvPr id="8" name="Grunt object 2d3dc1aee178c9fc4d6398c0469dce0e-svg">
            <a:extLst>
              <a:ext uri="{FF2B5EF4-FFF2-40B4-BE49-F238E27FC236}">
                <a16:creationId xmlns:a16="http://schemas.microsoft.com/office/drawing/2014/main" id="{50D10CC9-7463-054C-A4DC-5879FF8F34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52236" y="2745604"/>
            <a:ext cx="6912845" cy="3147173"/>
          </a:xfrm>
          <a:prstGeom prst="rect">
            <a:avLst/>
          </a:prstGeom>
          <a:blipFill dpi="0" rotWithShape="1"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Grunt object f504b6d7b08b0477d36c6f7bbd6e4f3d-svg">
            <a:extLst>
              <a:ext uri="{FF2B5EF4-FFF2-40B4-BE49-F238E27FC236}">
                <a16:creationId xmlns:a16="http://schemas.microsoft.com/office/drawing/2014/main" id="{487ABF99-CCF1-2B61-EBF0-B3CB339DB40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93486" y="2630093"/>
            <a:ext cx="2939142" cy="323793"/>
          </a:xfrm>
          <a:prstGeom prst="rect">
            <a:avLst/>
          </a:prstGeom>
          <a:blipFill dpi="0" rotWithShape="1"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Plassholder for bunntekst 3">
            <a:extLst>
              <a:ext uri="{FF2B5EF4-FFF2-40B4-BE49-F238E27FC236}">
                <a16:creationId xmlns:a16="http://schemas.microsoft.com/office/drawing/2014/main" id="{D391001F-B17F-599A-DB13-B9E3B098CBEC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01400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_blaa">
            <a:extLst>
              <a:ext uri="{FF2B5EF4-FFF2-40B4-BE49-F238E27FC236}">
                <a16:creationId xmlns:a16="http://schemas.microsoft.com/office/drawing/2014/main" id="{0E0967EA-D400-EF23-DABA-9B7036651475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4" name="Grunt object 8f74205e810ce72e426a85eeccfeb247-svg">
            <a:extLst>
              <a:ext uri="{FF2B5EF4-FFF2-40B4-BE49-F238E27FC236}">
                <a16:creationId xmlns:a16="http://schemas.microsoft.com/office/drawing/2014/main" id="{3536FD6E-A4B3-D574-73B9-22685CC5C3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11176" y="2350770"/>
            <a:ext cx="11464925" cy="3228340"/>
          </a:xfrm>
          <a:prstGeom prst="rect">
            <a:avLst/>
          </a:prstGeom>
          <a:blipFill dpi="0" rotWithShape="1"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Grunt object 67a47045af86dad0cf7842191fa68cef-svg">
            <a:extLst>
              <a:ext uri="{FF2B5EF4-FFF2-40B4-BE49-F238E27FC236}">
                <a16:creationId xmlns:a16="http://schemas.microsoft.com/office/drawing/2014/main" id="{4E627454-1290-C199-3921-2BD8D9AC22A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355975" y="2216150"/>
            <a:ext cx="1409700" cy="342900"/>
          </a:xfrm>
          <a:prstGeom prst="rect">
            <a:avLst/>
          </a:prstGeom>
          <a:blipFill dpi="0"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9745F3D9-BA37-E928-9DC1-70496559D703}"/>
              </a:ext>
            </a:extLst>
          </p:cNvPr>
          <p:cNvSpPr txBox="1"/>
          <p:nvPr/>
        </p:nvSpPr>
        <p:spPr>
          <a:xfrm>
            <a:off x="447676" y="1414070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  <a:latin typeface="+mj-lt"/>
              </a:rPr>
              <a:t>Svar: I stor/svært stor grad</a:t>
            </a:r>
          </a:p>
        </p:txBody>
      </p:sp>
      <p:sp>
        <p:nvSpPr>
          <p:cNvPr id="11" name="Plassholder for bunntekst 3">
            <a:extLst>
              <a:ext uri="{FF2B5EF4-FFF2-40B4-BE49-F238E27FC236}">
                <a16:creationId xmlns:a16="http://schemas.microsoft.com/office/drawing/2014/main" id="{F165718C-7E01-1118-7EED-95779D9C8D44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  <p:sp>
        <p:nvSpPr>
          <p:cNvPr id="3" name="Tittel 1">
            <a:extLst>
              <a:ext uri="{FF2B5EF4-FFF2-40B4-BE49-F238E27FC236}">
                <a16:creationId xmlns:a16="http://schemas.microsoft.com/office/drawing/2014/main" id="{8A2B5457-8536-F4A3-1FA7-320AF0027A5A}"/>
              </a:ext>
            </a:extLst>
          </p:cNvPr>
          <p:cNvSpPr txBox="1">
            <a:spLocks/>
          </p:cNvSpPr>
          <p:nvPr/>
        </p:nvSpPr>
        <p:spPr>
          <a:xfrm>
            <a:off x="425089" y="292704"/>
            <a:ext cx="10963274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200" dirty="0"/>
              <a:t>36% (29%) av bedriftene stiller i stor grad krav om bærekraft til sine leverandører eller samarbeidspartn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24042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HP-6ZFH4K" val="yAgAAA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0a4c10ed-de53-40f8-8825-398a3fc3db6b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SHAPEBOUNDS" val="ASIBBAAAACAvRDFAAAAAQKalYkAAAADAUUp/QAAAAKDeDnZAAA=="/>
  <p:tag name="GRUNT-X-PAGEOBJECT" val="AQUCrTIKOEFsdHVhLk9hay5Db3JlLkRvY3VtZW50TW9kZWwuQ2hhcnRPYmplY3QsIEFsdHVhLk9hay5Db3JlBQI1BBIEELRe5eTwbopIs8krQ+jgLj0MEgQQ/ODT7yOt7kamFWFG58CR2xUNBCUUNRg9HFUgZSQSUEFsdHVhLk9hay5Db3JlLkRvY3VtZW50TW9kZWwuVGVtcGxhdGluZy5DdXN0b21Qb3NpdGlvbkRlZmluaXRpb24sIEFsdHVhLk9hay5Db3JlDQQkBCIBBPz///+0hWRAeHf/NaatYkACAADAJAh1QEZEAKXeBnZAFBMVKB0sNTA4AEU1DkwCBTxVQF1EGAQEAgVIHAIFTCALBVAMBW5iLU5PFVQkDgEBCQERARkBIQEpATEBKBYEEgQQAAAAAAAAAAAAAAAAAAAAAAgBLBYEEgQQAAAAAAAAAAAAAAAAAAAAAAgBMAA6R0FsdHVhLk9hay5Db3JlLkNoYXJ0LkNsdXN0ZXJlZEJhcldpdGhMaW5lUGxvdERlZmluaXRpb24sIEFsdHVhLk9hay5Db3JlNQ41BBIEEGuN61kkZudLqaJl1rpNY/0cAgVYJVw1YDwCBWRJAG1ojQFspQFwtQF1HrkBAMUBfSA8CAEDhAGIAYwBQAUFkAENAEQCAQBIAgEATABQCgQBLAwBIBQCa3JUCQQFbmItTk8IAVgEAQGUAVwNAAAIARQDBZgBHAAlAGAmBCIBBAAAAAAAABBAAAAAAAAAEEAAAAAAAAAQQAAAAAAAABBACARkAgEAaAsDAAAAAACATUAIIGwLAwAAAAAAABRACCBwSjWcAT2gAUWkAVWoAV2sAXWwAY0BtAGdAbgBpQG8Aa0BwAHNAcQB1QHIAd0BzAHlAdAB7QHUAfUB2AH9AdwBhQLgAY0C5AGVAugBekVBbHR1YS5PYWsuQ29yZS5QbG90dGluZy5BdXRvbWF0aWNDYXRlZ29yeUF4aXNTZXR0aW5ncywgQWx0dWEuT2FrLkNvcmV1HhMBAQ3sARAAGQEwAD3wAUX0AUgBggE9QWx0dWEuT2FrLkNvcmUuVGhlbWluZy5QYWdlQ29sb3JTY2hlbWVQb2ludGVyLCBBbHR1YS5PYWsuQ29yZX0gAIQBSAQSBBDo3BoVsgn8R5B6Qsv8cWBbJBIEEDmuoUtj5ytRr/eHmSY96agsEgQQjf9LGakVUUCyeAOGY+bFVD35AT9FgAJJAV2EAogBSAQSBBD5LFn+/d9vRbn+Z9Mj0qsjJBIEEN4S/6C345lRjYGuRrrTzVUsEgQQjf9LGakVUUCyeAOGY+bFVD35AT9FiAJJAV2MAowBSAQSBBAX99T7+uRLQqMwRB7qCt7DJBIEEJ9TuLlDsuZNiqOeCkCiatIsEgQQjf9LGakVUUCyeAOGY+bFVD35AT9FkAJJAV2UApABFpgCnAKgAqQCqAKsArACtAK4ArwCwAKUAUIBABgDJcQCKQAxAEADSAJVyAJdzAJkEgQQjf9LGakVUUCyeAOGY+bFVG3QAnXUAo0B2AKRAQGdAdwCpQHgArUB5AKYAQIBAJwBBQQDBegCoAEFBAMF7AKkAQUEAwXwAqgBBQQDBfQCrAEFBAMF6AKwAQUEAwXoArQBBQQDBfgCuAEFBAMF/AK8AQUEAwWAA8ABBQQDBYQDxAEFBAMFiAPIAQUEAwWMA8wBBQQDBZAD0AEFBAMFlAPUAQUEAwWYA9gBBQQDBZwD3AEFBAMFoAPgAQUEAwWkA+QBBQQDBagD6AEFBAMFrAPsAQIBAPABBgWxA20IBPQBBgW5A20IBP4BPkFsdHVhLk9hay5Db3JlLkNoYXJ0LkRlZmF1bHRQbG90U2VyaWVzU2V0dGluZ3MsIEFsdHVhLk9hay5Db3Jl+QE/AIACBAUACAGEAgUFvAMIAYgCBAUACAGMAgUFwAMIAZACBAUACAGUAgUFxAMIAZgCKgQSBBC2eXxy0EHyUKp5dbmyumSbDBIEEB/rjDimIctLiTIXQgTfWDQRAZwCKgQSBBCt8ZGjGoJ1X7h1pm/wB+aNDBIEEHWemJFcQytHgI2gyx3vlOMRAaACKgQSBBAUgTfa/GNkVrpdQgis1b/wDBIEEDN2LlbKrM9DuJ/41/dD8iIRAaQCKgQSBBB3YzC6NspAVLPfKOdMpzKXDBIEEFmfYeZYkT9IhCqevPceZUYRAagCKgQSBBA9Q2X2Z9nXVp6T9p/QE4JCDBIEEOTyJ7HO8XpDmTV6priHw1IRAawCKgQSBBCD+4py9nD8QKBTKFF6ohauDBIEEJvzN8z2MBhPpn+BGWPNv6oRAbACKgQSBBBSncd3Y1B/RoqunDrlDS1YDBIEEL8E3OUbTVpLrclPlXwJRNURAbQCKgQSBBCXBXBs8dn6TZscWXqvLYT1DBIEEB0FhTEc+05EorWU70TPC84RAbgCKgQSBBBrSd+3cy9oT6p3sNZBUA3rDBIEEPvRt2941KNPtNbA4wnNe0kRAbwCKgQSBBDiKR+ydorgS4lT9+amyLG5DBIEEOgCaYiSxWlHhZyZ2nlSP34RAcACKgQSBBBAKt5JkMCcSpwfD5RuyLHTDBIEENpeO/tHEz5MtJeNjXDMtwgRAcQCCwMAAAAAAAAAAAgCyAILAwAAAAAAAAAACAHMAgsDAAAAAAAAAAAIAdACFQXIAw3MAxXQAx3UAyXYAy3cAzXgA9QCBw3kAxXpA23YAgsDAAAAAAAAAAAIBNwCBgXtA20IBOACBgXtA20IBOQCBQQDBfAD6AICAQDsAg4BBvQD+AP8A4AEhASIBPACBAEBjAT0AgIBAPgCAgEA/AICAQCAAxIBCJAElASYBJwEoASkBKgErASEAwIBAIgDDgEGsAS0BLgEvATABMQEjAMQAQfIBMwE0ATUBNgE3ATgBJADAgEAlAMEAQHkBJgDCgEE6ATsBPAE9AScAwIBAKADAgEApAMCAQCoAwIBAKwDAgEAtgMzQWx0dWEuT2FrLkNvcmUuVGhlbWluZy5Db2xvclBvaW50ZXIsIEFsdHVhLk9hay5Db3JlsQNtUFBQ/7kDbVBQUP+8AwUEAwX4BMADBQQDBfwExAMFBAMFgAXIAwcEAwQBAAgEzAMFBAEuCATQAwQAAQgE1AMEAAAIBNgDBAQACATcAwQEAAgE4AMEAAAIBOQDBQQDBYQF6QNtPj7l/+0DbVBQUP/wAwIBAPQDDgWJBaMBCwAAAAAAAAAA+AMOBZEFpQELAAAAAAAAAAD8Aw4FmQWnAQsAAAAAAADgP4AEDgWhBakBCwAAAAAAAOA/hAQOBakFqwELAAAAAAAA4D+IBA4FsQWtAQsAAAAAAAD4P4wECAW5BasBDbwFkAQKBcEFsQENyQWzAZQECgXRBaMBDdUFtgGYBAoF3QWnAQ3hBbYBnAQKBeUFqQEN6QW2AaAECQXtBbwBDfUFbaQECgX5Bb8BDYEGtgGoBAoFhQa/AQ2JBrYBrAQKBY0GvwENkQa2AbAEBwWVBsYBCQG0BAcFnQbIAQkAuAQHBaUGxgEJAbwEBwWpBssBCQHABAcFsQbNAQkBxAQHBbkGzwEJAcgECgXBBtEBDckG0wHMBAoF0QbVAQ3ZBtcB0AQKBeEG2QEN6QbbAdQECgXxBtkBDekG2wHYBAoF9QbIAQ35Bt8B3AQKBYEHzQEN+QbfAeAECgWFB88BDYkH4wHkBAoFkQflAQ2ZB+cB6AQKBaEHyAENpQfqAewECgWtB9UBDbEH6gHwBAoFtQfNAQ25B+oB9AQKBb0H0QENwQfqAfgEBgEBxQfyAfwEBgEBzQfyAYAFBgEB0QfyAYQFBAECAQSOBVNBbHR1YS5PYWsuQ29yZS5Nb2RpZmljYXRpb24uU3R5bGluZy5BbGxWYWx1ZUF4aXNDdXN0b21pemF0aW9uVGFyZ2V0LCBBbHR1YS5PYWsuQ29yZYkFowEAlgVZQWx0dWEuT2FrLkNvcmUuTW9kaWZpY2F0aW9uLlN0eWxpbmcuVmFsdWVBeGlzR3JpZGxpbmVzQ3VzdG9taXphdGlvblRhcmdldCwgQWx0dWEuT2FrLkNvcmWRBaUBAJ4FU0FsdHVhLk9hay5Db3JlLk1vZGlmaWNhdGlvbi5TdHlsaW5nLkNhdGVnb3J5QXhpc0N1c3RvbWl6YXRpb25UYXJnZXQsIEFsdHVhLk9hay5Db3JlmQWnAQCmBVBBbHR1YS5PYWsuQ29yZS5Nb2RpZmljYXRpb24uU3R5bGluZy5Pcmlnb0xpbmVDdXN0b21pemF0aW9uVGFyZ2V0LCBBbHR1YS5PYWsuQ29yZaEFqQEArgVdQWx0dWEuT2FrLkNvcmUuTW9kaWZpY2F0aW9uLlN0eWxpbmcuQWxsQ29ubmVjdG9yc0F1eGlsaWFyeUN1c3RvbWl6YXRpb25UYXJnZXQsIEFsdHVhLk9hay5Db3JlqQWrAQC2BVlBbHR1YS5PYWsuQ29yZS5Nb2RpZmljYXRpb24uU3R5bGluZy5TZXJpZXNXaXRoUGxvdEtpbmRDdXN0b21pemF0aW9uVGFyZ2V0LCBBbHR1YS5PYWsuQ29yZbEFrQEDBdQHuQWrAQC8BQUMAwXYB8YFVkFsdHVhLk9hay5Db3JlLk1vZGlmaWNhdGlvbi5TdHlsaW5nLkFsbFNlcmllc01hcmtlckN1c3RvbWl6YXRpb25UYXJnZXQsIEFsdHVhLk9hay5Db3JlwQWxAQDOBTpBbHR1YS5PYWsuQ29yZS5UaGVtaW5nLkJpbmRpbmdDb2xvclBvaW50ZXIsIEFsdHVhLk9hay5Db3JlyQWzAQUF3Qf4AdEFowEA2gU3QWx0dWEuT2FrLkNvcmUuVGhlbWluZy5QYWdlQ29sb3JQb2ludGVyLCBBbHR1YS5PYWsuQ29yZdUFtgEEAAAIAN0FpwEA4QW2AQQAAAgA5QWpAQDpBbYBBAAACADyBVNBbHR1YS5PYWsuQ29yZS5Nb2RpZmljYXRpb24uU3R5bGluZy5BbGxHcmlkbGluZXNDdXN0b21pemF0aW9uVGFyZ2V0LCBBbHR1YS5PYWsuQ29yZe0FvAEA9QVtgICA//4FTUFsdHVhLk9hay5Db3JlLk1vZGlmaWNhdGlvbi5TdHlsaW5nLlNlcmllc0N1c3RvbWl6YXRpb25UYXJnZXQsIEFsdHVhLk9hay5Db3Jl+QW/ARQEEgQQn1O4uUOy5k2Ko54KQKJq0oEGtgEEAAkIAIUGvwEUBBIEEDmuoUtj5ytRr/eHmSY96aiJBrYBBAAFCACNBr8BFAQSBBDeEv+gt+OZUY2Brka6081VkQa2AQQAAggAmgZYQWx0dWEuT2FrLkNvcmUuTW9kaWZpY2F0aW9uLlN0eWxpbmcuU2VyaWVzTGFiZWxPZlR5cGVDdXN0b21pemF0aW9uVGFyZ2V0LCBBbHR1YS5PYWsuQ29yZZUGxgECAAKiBlhBbHR1YS5PYWsuQ29yZS5Nb2RpZmljYXRpb24uU3R5bGluZy5BbGxWYWx1ZUF4aXNMYWJlbEN1c3RvbWl6YXRpb25UYXJnZXQsIEFsdHVhLk9hay5Db3JlnQbIAQClBsYBAgAArgZVQWx0dWEuT2FrLkNvcmUuTW9kaWZpY2F0aW9uLlN0eWxpbmcuQWxsVG90YWxMYWJlbHNDdXN0b21pemF0aW9uVGFyZ2V0LCBBbHR1YS5PYWsuQ29yZakGywEAtgZXQWx0dWEuT2FrLkNvcmUuTW9kaWZpY2F0aW9uLlN0eWxpbmcuQWxsQ2F0ZWdvcnlMYWJlbEN1c3RvbWl6YXRpb25UYXJnZXQsIEFsdHVhLk9hay5Db3JlsQbNAQC+BlhBbHR1YS5PYWsuQ29yZS5Nb2RpZmljYXRpb24uU3R5bGluZy5BbGxBdXhpbGlhcnlMYWJlbEN1c3RvbWl6YXRpb25UYXJnZXQsIEFsdHVhLk9hay5Db3JluQbPAQDGBlhBbHR1YS5PYWsuQ29yZS5Nb2RpZmljYXRpb24uU3R5bGluZy5DYXRlZ29yeUF4aXNUaXRsZUN1c3RvbWl6YXRpb25UYXJnZXQsIEFsdHVhLk9hay5Db3JlwQbRAQDOBkJBbHR1YS5PYWsuQ29yZS5QbG90dGluZy5BeGlzVGl0bGVMYWJlbFBsYWNlbWVudEZhciwgQWx0dWEuT2FrLkNvcmXJBtMBAgAA1gZdQWx0dWEuT2FrLkNvcmUuTW9kaWZpY2F0aW9uLlN0eWxpbmcuQWxsVmFsdWVBeGlzVGl0bGVMYWJlbEN1c3RvbWl6YXRpb25UYXJnZXQsIEFsdHVhLk9hay5Db3Jl0QbVAQDeBkZBbHR1YS5PYWsuQ29yZS5QbG90dGluZy5BeGlzVGl0bGVMYWJlbFBsYWNlbWVudE91dHNpZGUsIEFsdHVhLk9hay5Db3Jl2QbXAQIAAeYGX0FsdHVhLk9hay5Db3JlLk1vZGlmaWNhdGlvbi5TdHlsaW5nLlNlcmllc0xhYmVsc1dpdGhQbG90S2luZEN1c3RvbWl6YXRpb25UYXJnZXQsIEFsdHVhLk9hay5Db3Jl4QbZAQUF5AcIAO4GPUFsdHVhLk9hay5Db3JlLlBsb3R0aW5nLkxhYmVsUGxhY2VtZW50T3V0c2lkZSwgQWx0dWEuT2FrLkNvcmXpBtsBAPEG2QEFBegHCAD1BsgBAP4GQUFsdHVhLk9hay5Db3JlLlBsb3R0aW5nLkF4aXNMYWJlbFBsYWNlbWVudE91dHNpZGUsIEFsdHVhLk9hay5Db3Jl+QbfAQIBAIEHzQEAhQfPAQCOB0ZBbHR1YS5PYWsuQ29yZS5QbG90dGluZy5BdXhpbGlhcnlMYWJlbFBsYWNlbWVudERlZmF1bHQsIEFsdHVhLk9hay5Db3JliQfjAQCWB1BBbHR1YS5PYWsuQ29yZS5Nb2RpZmljYXRpb24uU3R5bGluZy5BbGxMYWJlbHNDdXN0b21pemF0aW9uVGFyZ2V0LCBBbHR1YS5PYWsuQ29yZZEH5QEAngdCQWx0dWEuT2FrLkNvcmUuU3ludGF4U3RydWN0dXJlLkFjdHVhbEZvbnRTaXplVmFsdWUsIEFsdHVhLk9hay5Db3JlmQfnAQkDAAAAAAAAKEChB8gBAKoHQ0FsdHVhLk9hay5Db3JlLlN5bnRheFN0cnVjdHVyZS5BY3R1YWxGb250Q29sb3JWYWx1ZSwgQWx0dWEuT2FrLkNvcmWlB+oBBQXtB7YBrQfVAQCxB+oBBQXxB7YBtQfNAQC5B+oBBQX1B7YBvQfRAQDBB+oBBQX5B7YBygcvQWx0dWEuRGF0YS5JbmZyYXN0cnVjdHVyZS5QYXJhZ3JhcGgsIEFsdHVhLkRhdGHFB/IBBQwDBfwHzQfyAQUMAwWACNEH8gEFDAMFhAjUBwEF2AcKAQIAAIBAAABAQOIHSEFsdHVhLk9hay5Db3JlLlN5bnRheFN0cnVjdHVyZS5QbG90U2VyaWVzQmluZGluZ1N0cmF0ZWd5LCBBbHR1YS5PYWsuQ29yZd0H+AEA5AcCCQroBwEF7Qe2AQQAAAgA8Qe2AQQAAAgA9Qe2AQQAAAgA+Qe2AQQAAAgA/AcGAQGJCIMCgAgGAQGRCIMChAgGAQGVCIYCjggvQWx0dWEuRGF0YS5JbmZyYXN0cnVjdHVyZS5OdW1iZXJSdW4sIEFsdHVhLkRhdGGJCIMCEwQOAwAAAAAAoJ9AHZ0IiAINpAiRCIMCEwQOAwAAAAAAnJ9AHakIiAINrAiaCC1BbHR1YS5EYXRhLkluZnJhc3RydWN0dXJlLlRleHRSdW4sIEFsdHVhLkRhdGGVCIYCCgQFTm9yZ2UNsAiiCD1BbHR1YS5EYXRhLk51bWJlckZvcm1hdHRpbmcuQ29tcG9zaXRlTnVtYmVyRm9ybWF0LCBBbHR1YS5EYXRhnQiIAgsdtAgluAg1vAg9AKQIEgQAHAAkACwANAA8AEwAVABdAKkIiAILHcAIJcQINcgIPQCsCBIEABwAJAAsADQAPABMAFQAXQCwCBIEABwAJAAsADQAPABMAFQAXQC0CAkAAAwDBcwIEQC4CAkAAAwDBdAIEQC8CAoEASwMAS4UAmtywAgJAAAMAwXUCBEAxAgJAAAMAwXYCBEAyAgKBAEsDAEuFAJrcswIBgEB3QiYAtAICgEC5QiaAt0ImALUCAYBAe0ImALYCAoBAvEImgLtCJgC4ghAQWx0dWEuRGF0YS5OdW1iZXJGb3JtYXR0aW5nLk51bWJlckZvcm1hdFZhbHVlU2VnbWVudCwgQWx0dWEuRGF0Yd0ImAIFBAMF9AjqCD9BbHR1YS5EYXRhLk51bWJlckZvcm1hdHRpbmcuTnVtYmVyRm9ybWF0VGV4dFNlZ21lbnQsIEFsdHVhLkRhdGHlCJoCBQQBLQkB7QiYAgUEAwX4CPEImgIFBAEtCQH0CAYBAf0IoAL4CAYBAf0IoAKCCTlBbHR1YS5EYXRhLk51bWJlckZvcm1hdHRpbmcuTnVtYmVyUGxhY2Vob2xkZXIsIEFsdHVhLkRhdGH9CKACBQIwAAAA"/>
  <p:tag name="GRUNT-RENDERHASH" val="6a9f48a16fceaaec4dead42826cf5c2e-svg"/>
  <p:tag name="GRUNT-X-DATASERVICE" val="AQUC8jQKN0FsdHVhLkRhdGEuRGF0YVNlcnZpY2VzLkVtYmVkZGVkRGF0YVNlcnZpY2UsIEFsdHVhLkRhdGEFAhkEEgQQ/ODT7yOt7kamFWFG58CR2w0MJREFDAYFGAgSEAcWQUFsdHVhLkRhdGEuRGF0YVNlcnZpY2VzLkVtYmVkZGVkRGF0YVNlcnZpY2VFZGl0b3JEYXRhLCBBbHR1YS5EYXRhEQUEBRwNIBgGBSQNKBUsHDwdBBIEENNz8cQb9wFOoDLwDWItJDkLAAAAAAAAHEAdBBIEEB/rjDimIctLiTIXQgTfWDQLAAAAAAAgYkAgPB0EEgQQBbe507cO9EmRZBhNRm5FrAsAAAAAAAAyQB0EEgQQhB+R4huFNUGwuFZrPUlJDwsAAAAAAAAyQCQMMDQ4PEBESExQVFhcKARgZGhsLJwRLAQoBBIEEFmfYeZYkT9IhCqevPceZUYMEgQQF/fU+/rkS0KjMEQe6greww1wLAQoBBIEENpeO/tHEz5MtJeNjXDMtwgMEgQQ6NwaFbIJ/EeQekLL/HFgWw10LAQoBBIEENpeO/tHEz5MtJeNjXDMtwgMEgQQF/fU+/rkS0KjMEQe6greww14LAQoBBIEEDN2LlbKrM9DuJ/41/dD8iIMEgQQF/fU+/rkS0KjMEQe6greww18LQQoBBIEENqNKxB7T5pMmUYr804v+BwMEgQQX5eQl8Rau0KbEDAGcU7FWQ2AAS0EKAQSBBDk8iexzvF6Q5k1eqa4h8NSDBIEEPksWf79329Fuf5n0yPSqyMNhAEtBCgEEgQQdZ6YkVxDK0eAjaDLHe+U4wwSBBBfl5CXxFq7QpsQMAZxTsVZDYgBLQQoBBIEEPvRt2941KNPtNbA4wnNe0kMEgQQX5eQl8Rau0KbEDAGcU7FWQ2MAS0EKAQSBBAf64w4piHLS4kyF0IE31g0DBIEEOjcGhWyCfxHkHpCy/xxYFsNkAEtBCgEEgQQM3YuVsqsz0O4n/jX90PyIgwSBBBfl5CXxFq7QpsQMAZxTsVZDZQBLQQoBBIEEB/rjDimIctLiTIXQgTfWDQMEgQQX5eQl8Rau0KbEDAGcU7FWQ2YAS0EKAQSBBAzdi5WyqzPQ7if+Nf3Q/IiDBIEEOjcGhWyCfxHkHpCy/xxYFsNnAEtBCgEEgQQWZ9h5liRP0iEKp689x5lRgwSBBBfl5CXxFq7QpsQMAZxTsVZDaABLQQoBBIEEL8E3OUbTVpLrclPlXwJRNUMEgQQF/fU+/rkS0KjMEQe6greww2kAS0EKAQSBBC/BNzlG01aS63JT5V8CUTVDBIEEPksWf79329Fuf5n0yPSqyMNqAEtBCgEEgQQ+9G3b3jUo0+01sDjCc17SQwSBBDo3BoVsgn8R5B6Qsv8cWBbDawBLQQoBBIEEPvRt2941KNPtNbA4wnNe0kMEgQQF/fU+/rkS0KjMEQe6greww2wAS0EKAQSBBAf64w4piHLS4kyF0IE31g0DBIEEBf31Pv65EtCozBEHuoK3sMNtAEtBCgEEgQQvwTc5RtNWkutyU+VfAlE1QwSBBBfl5CXxFq7QpsQMAZxTsVZDbgBLQQoBBIEENqNKxB7T5pMmUYr804v+BwMEgQQ+SxZ/v3fb0W5/mfTI9KrIw28AS0EKAQSBBAdBYUxHPtORKK1lO9EzwvODBIEEPksWf79329Fuf5n0yPSqyMNwAEtBCgEEgQQdZ6YkVxDK0eAjaDLHe+U4wwSBBD5LFn+/d9vRbn+Z9Mj0qsjDcQBLQQoBBIEEB0FhTEc+05EorWU70TPC84MEgQQX5eQl8Rau0KbEDAGcU7FWQ3IAS0EKAQSBBDk8iexzvF6Q5k1eqa4h8NSDBIEEBf31Pv65EtCozBEHuoK3sMNzAEtBCgEEgQQWZ9h5liRP0iEKp689x5lRgwSBBDo3BoVsgn8R5B6Qsv8cWBbDdABLQQoBBIEENqNKxB7T5pMmUYr804v+BwMEgQQF/fU+/rkS0KjMEQe6greww3UAS0EKAQSBBAdBYUxHPtORKK1lO9EzwvODBIEEOjcGhWyCfxHkHpCy/xxYFsN2AEtBCgEEgQQ+9G3b3jUo0+01sDjCc17SQwSBBD5LFn+/d9vRbn+Z9Mj0qsjDdwBLQQoBBIEEHWemJFcQytHgI2gyx3vlOMMEgQQF/fU+/rkS0KjMEQe6greww3gAS0EKAQSBBDaXjv7RxM+TLSXjY1wzLcIDBIEEPksWf79329Fuf5n0yPSqyMN5AEtBCgEEgQQHQWFMRz7TkSitZTvRM8LzgwSBBAX99T7+uRLQqMwRB7qCt7DDegBLQQoBBIEEOTyJ7HO8XpDmTV6priHw1IMEgQQ6NwaFbIJ/EeQekLL/HFgWw3sAS0EKAQSBBCb8zfM9jAYT6Z/gRljzb+qDBIEEOjcGhWyCfxHkHpCy/xxYFsN8AEtBCgEEgQQ2l47+0cTPky0l42NcMy3CAwSBBBfl5CXxFq7QpsQMAZxTsVZDfQBLQQoBBIEEOgCaYiSxWlHhZyZ2nlSP34MEgQQ6NwaFbIJ/EeQekLL/HFgWw34AS0EKAQSBBBZn2HmWJE/SIQqnrz3HmVGDBIEEPksWf79329Fuf5n0yPSqyMN/AEtBCgEEgQQ5PInsc7xekOZNXqmuIfDUgwSBBBfl5CXxFq7QpsQMAZxTsVZDYACLQQoBBIEEOgCaYiSxWlHhZyZ2nlSP34MEgQQ+SxZ/v3fb0W5/mfTI9KrIw2EAi0EKAQSBBDoAmmIksVpR4Wcmdp5Uj9+DBIEEF+XkJfEWrtCmxAwBnFOxVkNiAItBCgEEgQQ2o0rEHtPmkyZRivzTi/4HAwSBBDo3BoVsgn8R5B6Qsv8cWBbDYwCLQQoBBIEEJvzN8z2MBhPpn+BGWPNv6oMEgQQX5eQl8Rau0KbEDAGcU7FWQ2QAi0EKAQSBBCb8zfM9jAYT6Z/gRljzb+qDBIEEPksWf79329Fuf5n0yPSqyMNlAItBCgEEgQQH+uMOKYhy0uJMhdCBN9YNAwSBBD5LFn+/d9vRbn+Z9Mj0qsjDZgCLQQoBBIEEDN2LlbKrM9DuJ/41/dD8iIMEgQQ+SxZ/v3fb0W5/mfTI9KrIw2cAi0EKAQSBBC/BNzlG01aS63JT5V8CUTVDBIEEOjcGhWyCfxHkHpCy/xxYFsNoAItBCgEEgQQdZ6YkVxDK0eAjaDLHe+U4wwSBBDo3BoVsgn8R5B6Qsv8cWBbDaQCLQQoBBIEEOgCaYiSxWlHhZyZ2nlSP34MEgQQF/fU+/rkS0KjMEQe6greww2oAi0EKAQSBBCb8zfM9jAYT6Z/gRljzb+qDBIEEBf31Pv65EtCozBEHuoK3sMNrAIwGgQSBBDajSsQe0+aTJlGK/NOL/gcDAJDMRAANBoEEgQQH+uMOKYhy0uJMhdCBN9YNAwCQzIQADgaBBIEEHWemJFcQytHgI2gyx3vlOMMAkMzEAA8GgQSBBAzdi5WyqzPQ7if+Nf3Q/IiDAJDNBAAQBoEEgQQWZ9h5liRP0iEKp689x5lRgwCQzUQAEQaBBIEEOTyJ7HO8XpDmTV6priHw1IMAkM2EABIGwQSBBCb8zfM9jAYT6Z/gRljzb+qDANDMTIQAEwbBBIEEL8E3OUbTVpLrclPlXwJRNUMA0MxMxAAUBsEEgQQHQWFMRz7TkSitZTvRM8LzgwDQzE0EABUGwQSBBD70bdveNSjT7TWwOMJzXtJDANDMTUQAFgbBBIEEOgCaYiSxWlHhZyZ2nlSP34MA0MxNhAAXBsEEgQQ2l47+0cTPky0l42NcMy3CAwDQzE3EABgGgQSBBBfl5CXxFq7QpsQMAZxTsVZDAJSMRAAZBoEEgQQ6NwaFbIJ/EeQekLL/HFgWwwCUjIQAGgaBBIEEPksWf79329Fuf5n0yPSqyMMAlIzEABsGgQSBBAX99T7+uRLQqMwRB7qCt7DDAJSNRAAcAYNsAIVtAJ0Bg24AhW8AngGDbgCFcACfAYNsAIVxAKAAQYNyAIVzAKEAQYNyAIV0AKIAQYNyAIV1AKMAQYNuAIV2AKQAQYNyAIV3AKUAQYNyAIV4AKYAQYNyAIV5AKcAQYNyAIV6AKgAQYNyAIV7AKkAQYNuAIV8AKoAQYNuAIV9AKsAQYNuAIV+AKwAQYNuAIV/AK0AQYNsAIVgAO4AQYNuAIVhAO8AQYNyAIViAPAAQYNuAIVjAPEAQYNyAIVkAPIAQYNuAIVlAPMAQYNsAIVmAPQAQYNnAMVoAPUAQYNsAIVpAPYAQYNuAIVqAPcAQYNuAIVrAPgAQYNsAIVsAPkAQYNuAIVtAPoAQYNuAIVuAPsAQYNnAMVvAPwAQYNuAIVwAP0AQYNuAIVxAP4AQYNuAIVyAP8AQYNyAIVzAOAAgYNyAIV0AOEAgYNuAIV1AOIAgYNuAIV2AOMAgYNyAIV3AOQAgYNuAIV4AOUAgYNuAIV5AOYAgYNyAIV6AOcAgYNyAIV7AOgAgYNuAIV8AOkAgYNyAIV9AOoAgYNuAIV+AOsAgYNuAIV/AOwAgIEALQCBQQDBYAEuAICBAC8AgUEAwWEBMACBQQDBYgExAIFBAMFjATIAgIEAMwCBQQDBZAE0AIFBAMFlATUAgUEAwWYBNgCBQQDBZwE3AIFBAMFoATgAgUEAwWkBOQCBQQDBagE6AIFBAMFrATsAgUEAwWwBPACBQQDBbQE9AIFBAMFuAT4AgUEAwW8BPwCBQQDBcAEgAMFBAMFxASEAwUEAwXIBIgDBQQDBcwEjAMFBAMF0ASQAwUEAwXUBJQDBQQDBdgEmAMFBAMF3AScAwIEAKADBQQDBeAEpAMFBAMF5ASoAwUEAwXoBKwDBQQDBewEsAMFBAMF8AS0AwUEAwX0BLgDBQQDBfgEvAMFBAMF/ATAAwUEAwWABcQDBQQDBYQFyAMFBAMFiAXMAwUEAwWMBdADBQQDBZAF1AMFBAMFlAXYAwUEAwWYBdwDBQQDBZwF4AMFBAMFoAXkAwUEAwWkBegDBQQDBagF7AMFBAMFrAXwAwUEAwWwBfQDBQQDBbQF+AMFBAMFuAX8AwUEAwW8BYAEBgEBwQWxAYQEBgEByQWxAYgEBgEBzQWxAYwEBgEB0QWxAZAEAgEAlAQGAQHVBbEBmAQGAQHZBbEBnAQGAQHdBbEBoAQGAQHhBbEBpAQGAQHlBbEBqAQGAQHpBbEBrAQGAQHtBbEBsAQGAQHxBbEBtAQGAQH1BbEBuAQGAQH5BbEBvAQGAQH9BbEBwAQGAQGBBrEBxAQGAQGFBrEByAQGAQGJBrEBzAQGAQGNBrEB0AQGAQGRBrEB1AQGAQGVBrEB2AQGAQGZBrEB3AQGAQGdBrEB4AQGAQGhBrEB5AQGAQGlBrEB6AQGAQGpBrEB7AQGAQGtBrEB8AQGAQGxBrEB9AQGAQG1BrEB+AQGAQG5BrEB/AQGAQG9BrEBgAUGAQHBBrEBhAUGAQHFBrEBiAUGAQHJBrEBjAUGAQHNBrEBkAUGAQHRBrEBlAUGAQHVBrEBmAUGAQHZBrEBnAUGAQHdBrEBoAUGAQHhBrEBpAUGAQHlBrEBqAUGAQHpBrEBrAUGAQHtBrEBsAUGAQHxBrEBtAUGAQH1BrEBuAUGAQH5BrEBvAUGAQH9BrEBxgUvQWx0dWEuRGF0YS5JbmZyYXN0cnVjdHVyZS5QYXJhZ3JhcGgsIEFsdHVhLkRhdGHBBbEBBQwDBYAHyQWxAQUMAwWEB80FsQEFDAMFiAfRBbEBBQwDBYwH1QWxAQUMAwWQB9kFsQEFDAMFlAfdBbEBBQwDBZgH4QWxAQUMAwWcB+UFsQEFDAMFoAfpBbEBBQwDBaQH7QWxAQUMAwWoB/EFsQEFDAMFrAf1BbEBBQwDBbAH+QWxAQUMAwW0B/0FsQEFDAMFuAeBBrEBBQwDBbwHhQaxAQUMAwXAB4kGsQEFDAMFxAeNBrEBBQwDBcgHkQaxAQUMAwXMB5UGsQEFDAMF0AeZBrEBBQwDBdQHnQaxAQUMAwXYB6EGsQEFDAMF3AelBrEBBQwDBeAHqQaxAQUMAwXkB60GsQEFDAMF6AexBrEBBQwDBewHtQaxAQUMAwXwB7kGsQEFDAMF9Ae9BrEBBQwDBfgHwQaxAQUMAwX8B8UGsQEFDAMFgAjJBrEBBQwDBYQIzQaxAQUMAwWICNEGsQEFDAMFjAjVBrEBBQwDBZAI2QaxAQUMAwWUCN0GsQEFDAMFmAjhBrEBBQwDBZwI5QaxAQUMAwWgCOkGsQEFDAMFpAjtBrEBBQwDBagI8QaxAQUMAwWsCPUGsQEFDAMFsAj5BrEBBQwDBbQI/QaxAQUMAwW4CIAHBgEBvQiQAoQHBgEBxQiQAogHBgEByQiQAowHBgEBzQiQApAHBgEB0QiQApQHBgEB1QiWApgHBgEB3QiWApwHBgEB4QiQAqAHBgEB5QiWAqQHBgEB6QiWAqgHBgEB7QiQAqwHBgEB8QiWArAHBgEB9QiQArQHBgEB+QiQArgHBgEB/QiQArwHBgEBgQmQAsAHBgEBhQmQAsQHBgEBiQmWAsgHBgEBjQmQAswHBgEBkQmQAtAHBgEBlQmQAtQHBgEBmQmWAtgHBgEBnQmQAtwHBgEBoQmQAuAHBgEBpQmWAuQHBgEBqQmQAugHBgEBrQmQAuwHBgEBsQmQAvAHBgEBtQmQAvQHBgEBuQmQAvgHBgEBvQmQAvwHBgEBwQmQAoAIBgEBxQmWAoQIBgEByQmQAogIBgEBzQmQAowIBgEB0QmWApAIBgEB1QmQApQIBgEB2QmWApgIBgEB3QmQApwIBgEB4QmWAqAIBgEB5QmQAqQIBgEB6QmQAqgIBgEB7QmQAqwIBgEB8QmQArAIBgEB9QmQArQIBgEB+QmQArgIBgEB/QmQAsIIL0FsdHVhLkRhdGEuSW5mcmFzdHJ1Y3R1cmUuTnVtYmVyUnVuLCBBbHR1YS5EYXRhvQiQAhMEDgMAAAAAAAA1QB2BCsECDYgKxQiQAhMEDgMAAAAAAAAIQB2BCsECDYgKyQiQAhMEDgMAAAAAAAAAQB2BCsECDYgKzQiQAhMEDgMAAAAAAAA2QB2BCsECDYgK0QiQAhMEDgMAAAAAAAAmQB2BCsECDYgK2ggtQWx0dWEuRGF0YS5JbmZyYXN0cnVjdHVyZS5UZXh0UnVuLCBBbHR1YS5EYXRh1QiWAgsEBkt1bmRlcg2MCt0IlgITBA5Mb2thbHNhbWZ1bm5ldA2QCuEIkAITBA4DAAAAAAAARkAdgQrBAg2ICuUIlgILBAZTdHlyZXQNlArpCJYCCgQFRWllcmUNmArtCJACEwQOAwAAAAAAADdAHYEKwQINiArxCJYCCgQFQW5kcmUNkAr1CJACEwQOAwAAAAAAABhAHYEKwQINiAr5CJACEwQOAwAAAAAAABhAHYEKwQINiAr9CJACEwQOAwAAAAAAABBAHYEKwQINiAqBCZACEwQOAwAAAAAAABBAHYEKwQINiAqFCZACEwQOAwAAAAAAgEZAHYEKwQINiAqJCZYCDQQIVmV0IGlra2UNkAqNCZACEwQOAwAAAAAAnJ9AHYEKwQINiAqRCZACEwQOAwAAAAAAABBAHYEKwQINiAqVCZACEwQOAwAAAAAAADdAHYEKwQINiAqZCZYCEgQNTGV2ZXJhbmTDuHJlcg2QCp0JkAITBA4DAAAAAAAAKEAdgQrBAg2ICqEJkAITBA4DAAAAAAAAMUAdgQrBAg2ICqUJlgIKBAVOb3JnZQ2cCqkJkAITBA4DAAAAAAAAFEAdgQrBAg2ICq0JkAITBA4DAAAAAAAAAEAdgQrBAg2ICrEJkAITBA4DAAAAAAAAOEAdgQrBAg2ICrUJkAITBA4DAAAAAAAA8D8dgQrBAg2ICrkJkAITBA4DAAAAAAAAFEAdgQrBAg2ICr0JkAITBA4DAAAAAAAALEAdgQrBAg2ICsEJkAITBA4DAAAAAAAALEAdgQrBAg2ICsUJlgIcBBdJbnRlcmVzc2VvcmdhbmlzYXNqb25lcg2QCskJkAITBA4DAAAAAAAACEAdgQrBAg2ICs0JkAITBA4DAAAAAAAAM0AdgQrBAg2ICtEJlgIQBAtNeW5kaWdoZXRlcg2QCtUJkAITBA4DAAAAAAAAAEAdgQrBAg2ICtkJlgILBAZCYW5rZW4NkArdCZACEwQOAwAAAAAAoJ9AHYEKwQINiArhCZYCDAQHQW5zYXR0ZQ2QCuUJkAITBA4DAAAAAAAALEAdgQrBAg2ICukJkAITBA4DAAAAAACAQ0AdgQrBAg2ICu0JkAITBA4DAAAAAAAAN0AdgQrBAg2ICvEJkAITBA4DAAAAAAAAGEAdgQrBAg2ICvUJkAITBA4DAAAAAAAAPEAdgQrBAg2ICvkJkAITBA4DAAAAAAAAAEAdgQrBAg2ICv0JkAITBA4DAAAAAAAAKEAdgQrBAg2ICoYKPUFsdHVhLkRhdGEuTnVtYmVyRm9ybWF0dGluZy5Db21wb3NpdGVOdW1iZXJGb3JtYXQsIEFsdHVhLkRhdGGBCsECCx2gCiWkCjWoCj0AiAoSBAAcACQALAA0ADwATABUAF0AjAoSBAAcACQALAA0ADwATABUAF0AkAoSBAAcACQALAA0ADwATABUAF0AlAoSBAAcACQALAA0ADwATABUAF0AmAoSBAAcACQALAA0ADwATABUAF0AnAoSBAAcACQALAA0ADwATABUAF0AoAoJAAAMAwWsChEApAoJAAAMAwWwChEAqAoKBAEsDAEuFAJrcqwKBgEBtQrOArAKCgECvQrQAsUKzgK6CkJBbHR1YS5EYXRhLk51bWJlckZvcm1hdHRpbmcuTnVtYmVyRm9ybWF0R2VuZXJhbFNlZ21lbnQsIEFsdHVhLkRhdGG1Cs4CAMIKP0FsdHVhLkRhdGEuTnVtYmVyRm9ybWF0dGluZy5OdW1iZXJGb3JtYXRUZXh0U2VnbWVudCwgQWx0dWEuRGF0Yb0K0AIFBAEtCQHFCs4CAA=="/>
  <p:tag name="GRUNT-SYNC" val="2309db5c21a7465fba6d4266e19c26e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b16fe469-ef1a-43c0-9f36-f784c8094543"/>
  <p:tag name="GRUNT-X-RESOURCES" val="AQIFBAQEAgEA"/>
  <p:tag name="GRUNT-VERSION" val="20.23.267.0"/>
  <p:tag name="GRUNT-X-SHAPEBOUNDS" val="ASIBBAAAAAC1RWJAAAAAAN+/W0AAAADA2p5uQAAAAOC1bTVAAA=="/>
  <p:tag name="GRUNT-X-PAGEOBJECT" val="AQUCswIKPkFsdHVhLk9hay5Db3JlLkRvY3VtZW50TW9kZWwuQ2hhcnRMZWdlbmRPYmplY3QsIEFsdHVhLk9hay5Db3JlBQI5BBIEEGnkb7Ea78BDnzb3hMgJRUMUEgQQa43rWSRm50upomXWuk1j/S0MNRBEAgUUSABVGQdlIG0kDAQEAgUoEAIFLBQCAQAeUEFsdHVhLk9hay5Db3JlLkRvY3VtZW50TW9kZWwuVGVtcGxhdGluZy5DdXN0b21Qb3NpdGlvbkRlZmluaXRpb24sIEFsdHVhLk9hay5Db3JlGQckBCIBBPz///+0RWJACO/+8d6/W0Dw/h+82p5uQKD//+e1bTVAIAsFMAwFbmItTk8VNCQEAQEJASgCAQAsADAKBAEsDAEgFAJrcjQJBAVuYi1OTwgB"/>
  <p:tag name="GRUNT-SYNC" val="7fb612d6a6bd41919e448e4f501dfe27"/>
  <p:tag name="GRUNT-RENDERHASH" val="729289ae66439f52e9aee4d78b194db3-sv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32761175-1f61-4aac-8946-8698897e15e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/TkKN0FsdHVhLkRhdGEuRGF0YVNlcnZpY2VzLkVtYmVkZGVkRGF0YVNlcnZpY2UsIEFsdHVhLkRhdGEFAhkEEgQQq6scxKbZC0qQ89lyrGhK+A0MJREFDAYFGAgMEAcWQUFsdHVhLkRhdGEuRGF0YVNlcnZpY2VzLkVtYmVkZGVkRGF0YVNlcnZpY2VFZGl0b3JEYXRhLCBBbHR1YS5EYXRhEQUEBRwNIBgGBSQNKBUsHDwdBBIEENNz8cQb9wFOoDLwDWItJDkLAAAAAAAAHEAdBBIEEB/rjDimIctLiTIXQgTfWDQLAAAAAAAgYkAgHh0EEgQQhB+R4huFNUGwuFZrPUlJDwsAAAAAAAAyQCQGMDQ4PEBEKAVITFBUWCzbCiwEKAQSBBBZn2HmWJE/SIQqnrz3HmVGDBIEEBf31Pv65EtCozBEHuoK3sMNXCwEKAQSBBAzdi5WyqzPQ7if+Nf3Q/IiDBIEEBf31Pv65EtCozBEHuoK3sMNYCwEKAQSBBDajSsQe0+aTJlGK/NOL/gcDBIEEF+XkJfEWrtCmxAwBnFOxVkNZCwEKAQSBBDk8iexzvF6Q5k1eqa4h8NSDBIEEPksWf79329Fuf5n0yPSqyMNaCwEKAQSBBAf64w4piHLS4kyF0IE31g0DBIEEAW3udO3DvRJkWQYTUZuRawNbCwEKAQSBBB1npiRXEMrR4CNoMsd75TjDBIEEF+XkJfEWrtCmxAwBnFOxVkNcCwEKAQSBBAf64w4piHLS4kyF0IE31g0DBIEEOjcGhWyCfxHkHpCy/xxYFsNdCwEKAQSBBAzdi5WyqzPQ7if+Nf3Q/IiDBIEEF+XkJfEWrtCmxAwBnFOxVkNeCwEKAQSBBAf64w4piHLS4kyF0IE31g0DBIEEF+XkJfEWrtCmxAwBnFOxVkNfC0EKAQSBBAzdi5WyqzPQ7if+Nf3Q/IiDBIEEOjcGhWyCfxHkHpCy/xxYFsNgAEtBCgEEgQQM3YuVsqsz0O4n/jX90PyIgwSBBAFt7nTtw70SZFkGE1GbkWsDYQBLQQoBBIEEFmfYeZYkT9IhCqevPceZUYMEgQQX5eQl8Rau0KbEDAGcU7FWQ2IAS0EKAQSBBAf64w4piHLS4kyF0IE31g0DBIEEBf31Pv65EtCozBEHuoK3sMNjAEtBCgEEgQQ2o0rEHtPmkyZRivzTi/4HAwSBBD5LFn+/d9vRbn+Z9Mj0qsjDZABLQQoBBIEEHWemJFcQytHgI2gyx3vlOMMEgQQ+SxZ/v3fb0W5/mfTI9KrIw2UAS0EKAQSBBDk8iexzvF6Q5k1eqa4h8NSDBIEEBf31Pv65EtCozBEHuoK3sMNmAEtBCgEEgQQWZ9h5liRP0iEKp689x5lRgwSBBDo3BoVsgn8R5B6Qsv8cWBbDZwBLQQoBBIEENqNKxB7T5pMmUYr804v+BwMEgQQF/fU+/rkS0KjMEQe6greww2gAS0EKAQSBBB1npiRXEMrR4CNoMsd75TjDBIEEBf31Pv65EtCozBEHuoK3sMNpAEtBCgEEgQQ2o0rEHtPmkyZRivzTi/4HAwSBBAFt7nTtw70SZFkGE1GbkWsDagBLQQoBBIEEOTyJ7HO8XpDmTV6priHw1IMEgQQ6NwaFbIJ/EeQekLL/HFgWw2sAS0EKAQSBBB1npiRXEMrR4CNoMsd75TjDBIEEAW3udO3DvRJkWQYTUZuRawNsAEtBCgEEgQQWZ9h5liRP0iEKp689x5lRgwSBBAFt7nTtw70SZFkGE1GbkWsDbQBLQQoBBIEEFmfYeZYkT9IhCqevPceZUYMEgQQ+SxZ/v3fb0W5/mfTI9KrIw24AS0EKAQSBBDk8iexzvF6Q5k1eqa4h8NSDBIEEAW3udO3DvRJkWQYTUZuRawNvAEtBCgEEgQQ5PInsc7xekOZNXqmuIfDUgwSBBBfl5CXxFq7QpsQMAZxTsVZDcABLQQoBBIEENqNKxB7T5pMmUYr804v+BwMEgQQ6NwaFbIJ/EeQekLL/HFgWw3EAS0EKAQSBBAf64w4piHLS4kyF0IE31g0DBIEEPksWf79329Fuf5n0yPSqyMNyAEtBCgEEgQQM3YuVsqsz0O4n/jX90PyIgwSBBD5LFn+/d9vRbn+Z9Mj0qsjDcwBLQQoBBIEEHWemJFcQytHgI2gyx3vlOMMEgQQ6NwaFbIJ/EeQekLL/HFgWw3QATAaBBIEENqNKxB7T5pMmUYr804v+BwMAkMxEAA0GgQSBBAf64w4piHLS4kyF0IE31g0DAJDMhAAOBoEEgQQdZ6YkVxDK0eAjaDLHe+U4wwCQzMQADwaBBIEEDN2LlbKrM9DuJ/41/dD8iIMAkM0EABAGgQSBBBZn2HmWJE/SIQqnrz3HmVGDAJDNRAARBoEEgQQ5PInsc7xekOZNXqmuIfDUgwCQzYQAEgaBBIEEF+XkJfEWrtCmxAwBnFOxVkMAlIxEABMGgQSBBDo3BoVsgn8R5B6Qsv8cWBbDAJSMhAAUBoEEgQQ+SxZ/v3fb0W5/mfTI9KrIwwCUjMQAFQaBBIEEBf31Pv65EtCozBEHuoK3sMMAlI1EABYGgQSBBAFt7nTtw70SZFkGE1GbkWsDAJSNhAAXAYN1AEV2AFgBg3UARXcAWQGDeABFeQBaAYN4AEV6AFsBg3UARXsAXAGDeABFfABdAYN4AEV9AF4Bg3gARX4AXwGDeABFfwBgAEGDeABFYAChAEGDdQBFYQCiAEGDeABFYgCjAEGDdQBFYwCkAEGDeABFZAClAEGDeABFZQCmAEGDdQBFZgCnAEGDZwCFaACoAEGDdQBFaQCpAEGDdQBFagCqAEGDdQBFawCrAEGDZwCFbACsAEGDdQBFbQCtAEGDdQBFbgCuAEGDeABFbwCvAEGDdQBFcACwAEGDeABFcQCxAEGDeABFcgCyAEGDeABFcwCzAEGDeABFdAC0AEGDeABFdQC1AECBADYAQUEAwXYAtwBBQQDBdwC4AECBADkAQUEAwXgAugBBQQDBeQC7AEFBAMF6ALwAQUEAwXsAvQBBQQDBfAC+AEFBAMF9AL8AQUEAwX4AoACBQQDBfwChAIFBAMFgAOIAgUEAwWEA4wCBQQDBYgDkAIFBAMFjAOUAgUEAwWQA5gCBQQDBZQDnAICBACgAgUEAwWYA6QCBQQDBZwDqAIFBAMFoAOsAgUEAwWkA7ACBQQDBagDtAIFBAMFrAO4AgUEAwWwA7wCBQQDBbQDwAIFBAMFuAPEAgUEAwW8A8gCBQQDBcADzAIFBAMFxAPQAgUEAwXIA9QCBQQDBcwD2AIFAQHRA3XcAgUBAdkDdeACAgEA5AIFAQHdA3XoAgUBAeEDdewCBQEB5QN18AIFAQHpA3X0AgUBAe0DdfgCBQEB8QN1/AIFAQH1A3WAAwUBAfkDdYQDBQEB/QN1iAMFAQGBBHWMAwUBAYUEdZADBQEBiQR1lAMFAQGNBHWYAwUBAZEEdZwDBQEBlQR1oAMFAQGZBHWkAwUBAZ0EdagDBQEBoQR1rAMFAQGlBHWwAwUBAakEdbQDBQEBrQR1uAMFAQGxBHW8AwUBAbUEdcADBQEBuQR1xAMFAQG9BHXIAwUBAcEEdcwDBQEBxQR11gMvQWx0dWEuRGF0YS5JbmZyYXN0cnVjdHVyZS5QYXJhZ3JhcGgsIEFsdHVhLkRhdGHRA3UFDAMFyATZA3UFDAMFzATdA3UFDAMF0AThA3UFDAMF1ATlA3UFDAMF2ATpA3UFDAMF3ATtA3UFDAMF4ATxA3UFDAMF5AT1A3UFDAMF6AT5A3UFDAMF7AT9A3UFDAMF8ASBBHUFDAMF9ASFBHUFDAMF+ASJBHUFDAMF/ASNBHUFDAMFgAWRBHUFDAMFhAWVBHUFDAMFiAWZBHUFDAMFjAWdBHUFDAMFkAWhBHUFDAMFlAWlBHUFDAMFmAWpBHUFDAMFnAWtBHUFDAMFoAWxBHUFDAMFpAW1BHUFDAMFqAW5BHUFDAMFrAW9BHUFDAMFsAXBBHUFDAMFtAXFBHUFDAMFuAXIBAYBAb0FsAHMBAYBAcUFsAHQBAYBAckFsAHUBAYBAc0FsAHYBAYBAdEFtQHcBAYBAdkFsAHgBAYBAd0FtQHkBAYBAeEFtQHoBAYBAeUFsAHsBAYBAekFsAHwBAYBAe0FtQH0BAYBAfEFsAH4BAYBAfUFsAH8BAYBAfkFsAGABQYBAf0FsAGEBQYBAYEGsAGIBQYBAYUGsAGMBQYBAYkGsAGQBQYBAY0GsAGUBQYBAZEGsAGYBQYBAZUGsAGcBQYBAZkGsAGgBQYBAZ0GsAGkBQYBAaEGsAGoBQYBAaUGtQGsBQYBAakGsAGwBQYBAa0GsAG0BQYBAbEGsAG4BQYBAbUGsAHCBS9BbHR1YS5EYXRhLkluZnJhc3RydWN0dXJlLk51bWJlclJ1biwgQWx0dWEuRGF0Yb0FsAETBA4DAAAAAACAUEAduQbPAQ3ABsUFsAETBA4DAAAAAAAASUAdxQbPAQ3IBskFsAETBA4DAAAAAADAUkAdzQbPAQ3QBs0FsAETBA4DAAAAAAAARUAd1QbPAQ3YBtYFLUFsdHVhLkRhdGEuSW5mcmFzdHJ1Y3R1cmUuVGV4dFJ1biwgQWx0dWEuRGF0YdEFtQEIBAM1LTkN3AbZBbABEwQOAwAAAAAAAERAHeEGzwEN5AbdBbUBCgQFMTAtMTkN6AbhBbUBDAQHVW5kZXIgNQ3sBuUFsAETBA4DAAAAAACARUAd8QbPAQ30BukFsAETBA4DAAAAAACARkAd+QbPAQ38Bu0FtQEKBAUyMC00OQ2AB/EFsAETBA4DAAAAAAAASEAdhQfPAQ2IB/UFsAETBA4DAAAAAACUn0AdjQfPAQ2QB/kFsAETBA4DAAAAAACARUAdlQfPAQ2YB/0FsAETBA4DAAAAAABAVkAdnQfPAQ2gB4EGsAETBA4DAAAAAAAAS0AdpQfPAQ2oB4UGsAETBA4DAAAAAACcn0AdrQfPAQ2wB4kGsAETBA4DAAAAAAAAR0AdtQfPAQ24B40GsAETBA4DAAAAAACgn0AdvQfPAQ3AB5EGsAETBA4DAAAAAACATUAdxQfPAQ3IB5UGsAETBA4DAAAAAACAR0AdzQfPAQ3QB5kGsAETBA4DAAAAAAAAUUAd1QfPAQ3YB50GsAETBA4DAAAAAACATUAd3QfPAQ3gB6EGsAETBA4DAAAAAAAAQ0Ad5QfPAQ3oB6UGtQETBA41MCBlbGxlciBmbGVyZQ3sB6kGsAETBA4DAAAAAACMn0Ad8QfPAQ30B60GsAETBA4DAAAAAACAQkAd+QfPAQ38B7EGsAETBA4DAAAAAACASkAdgQjPAQ2ECLUGsAETBA4DAAAAAACAQ0AdiQjPAQ2MCL4GPUFsdHVhLkRhdGEuTnVtYmVyRm9ybWF0dGluZy5Db21wb3NpdGVOdW1iZXJGb3JtYXQsIEFsdHVhLkRhdGG5Bs8BCx2QCCWUCDWYCD0AwAYSBAAcACQALAA0ADwATABUAF0AxQbPAQsdnAgloAg1pAg9AMgGEgQAHAAkACwANAA8AEwAVABdAM0GzwELHagIJawINbAIPQDQBhIEABwAJAAsADQAPABMAFQAXQDVBs8BCx20CCW4CDW8CD0A2AYSBAAcACQALAA0ADwATABUAF0A3AYSBAAcACQALAA0ADwATABUAF0A4QbPAQsdwAglxAg1yAg9AOQGEgQAHAAkACwANAA8AEwAVABdAOgGEgQAHAAkACwANAA8AEwAVABdAOwGEgQAHAAkACwANAA8AEwAVABdAPEGzwELHcwIJdAINdQIPQD0BhIEABwAJAAsADQAPABMAFQAXQD5Bs8BCx3YCCXcCDXgCD0A/AYSBAAcACQALAA0ADwATABUAF0AgAcSBAAcACQALAA0ADwATABUAF0AhQfPAQsd5Agl6Ag17Ag9AIgHEgQAHAAkACwANAA8AEwAVABdAI0HzwELHfAIJfQINfgIPQCQBxIEABwAJAAsADQAPABMAFQAXQCVB88BCx38CCWACTWECT0AmAcSBAAcACQALAA0ADwATABUAF0AnQfPAQsdiAkljAk1kAk9AKAHEgQAHAAkACwANAA8AEwAVABdAKUHzwELHZQJJZgJNZwJPQCoBxIEABwAJAAsADQAPABMAFQAXQCtB88BCx2gCSWkCTWoCT0AsAcSBAAcACQALAA0ADwATABUAF0AtQfPAQsdrAklsAk1tAk9ALgHEgQAHAAkACwANAA8AEwAVABdAL0HzwELHbgJJbwJNcAJPQDABxIEABwAJAAsADQAPABMAFQAXQDFB88BCx3ECSXICTXMCT0AyAcSBAAcACQALAA0ADwATABUAF0AzQfPAQsd0Akl1Ak12Ak9ANAHEgQAHAAkACwANAA8AEwAVABdANUHzwELHdwJJeAJNeQJPQDYBxIEABwAJAAsADQAPABMAFQAXQDdB88BCx3oCSXsCTXwCT0A4AcSBAAcACQALAA0ADwATABUAF0A5QfPAQsd9Akl+Ak1/Ak9AOgHEgQAHAAkACwANAA8AEwAVABdAOwHEgQAHAAkACwANAA8AEwAVABdAPEHzwELHYAKJYQKNYgKPQD0BxIEABwAJAAsADQAPABMAFQAXQD5B88BCx2MCiWQCjWUCj0A/AcSBAAcACQALAA0ADwATABUAF0AgQjPAQsdmAolnAo1oAo9AIQIEgQAHAAkACwANAA8AEwAVABdAIkIzwELHaQKJagKNawKPQCMCBIEABwAJAAsADQAPABMAFQAXQCQCAkAAAwDBbAKEQCUCAkAAAwDBbQKEQCYCAoEASwMAS4UAmtynAgJAAAMAwW4ChEAoAgJAAAMAwW8ChEApAgKBAEsDAEuFAJrcqgICQAADAMFwAoRAKwICQAADAMFxAoRALAICgQBLAwBLhQCa3K0CAkAAAwDBcgKEQC4CAkAAAwDBcwKEQC8CAoEASwMAS4UAmtywAgJAAAMAwXQChEAxAgJAAAMAwXUChEAyAgKBAEsDAEuFAJrcswICQAADAMF2AoRANAICQAADAMF3AoRANQICgQBLAwBLhQCa3LYCAkAAAwDBeAKEQDcCAkAAAwDBeQKEQDgCAoEASwMAS4UAmty5AgJAAAMAwXoChEA6AgJAAAMAwXsChEA7AgKBAEsDAEuFAJrcvAICQAADAMF8AoRAPQICQAADAMF9AoRAPgICgQBLAwBLhQCa3L8CAkAAAwDBfgKEQCACQkAAAwDBfwKEQCECQoEASwMAS4UAmtyiAkJAAAMAwWACxEAjAkJAAAMAwWECxEAkAkKBAEsDAEuFAJrcpQJCQAADAMFiAsRAJgJCQAADAMFjAsRAJwJCgQBLAwBLhQCa3KgCQkAAAwDBZALEQCkCQkAAAwDBZQLEQCoCQoEASwMAS4UAmtyrAkJAAAMAwWYCxEAsAkJAAAMAwWcCxEAtAkKBAEsDAEuFAJrcrgJCQAADAMFoAsRALwJCQAADAMFpAsRAMAJCgQBLAwBLhQCa3LECQkAAAwDBagLEQDICQkAAAwDBawLEQDMCQoEASwMAS4UAmty0AkJAAAMAwWwCxEA1AkJAAAMAwW0CxEA2AkKBAEsDAEuFAJrctwJCQAADAMFuAsRAOAJCQAADAMFvAsRAOQJCgQBLAwBLhQCa3LoCQkAAAwDBcALEQDsCQkAAAwDBcQLEQDwCQoEASwMAS4UAmty9AkJAAAMAwXICxEA+AkJAAAMAwXMCxEA/AkKBAEsDAEuFAJrcoAKCQAADAMF0AsRAIQKCQAADAMF1AsRAIgKCgQBLAwBLhQCa3KMCgkAAAwDBdgLEQCQCgkAAAwDBdwLEQCUCgoEASwMAS4UAmtymAoJAAAMAwXgCxEAnAoJAAAMAwXkCxEAoAoKBAEsDAEuFAJrcqQKCQAADAMF6AsRAKgKCQAADAMF7AsRAKwKCgQBLAwBLhQCa3KwCgYBAfEL/QK0CgoBAvkL/wLxC/0CuAoGAQGBDP0CvAoKAQKFDP8CgQz9AsAKBgEBiQz9AsQKCgECjQz/AokM/QLICgYBAZEM/QLMCgoBApUM/wKRDP0C0AoGAQGZDP0C1AoKAQKdDP8CmQz9AtgKBgEBoQz9AtwKCgECpQz/AqEM/QLgCgYBAakM/QLkCgoBAq0M/wKpDP0C6AoGAQGxDP0C7AoKAQK1DP8CsQz9AvAKBgEBuQz9AvQKCgECvQz/ArkM/QL4CgYBAcEM/QL8CgoBAsUM/wLBDP0CgAsGAQHJDP0ChAsKAQLNDP8CyQz9AogLBgEB0Qz9AowLCgEC1Qz/AtEM/QKQCwYBAdkM/QKUCwoBAt0M/wLZDP0CmAsGAQHhDP0CnAsKAQLlDP8C4Qz9AqALBgEB6Qz9AqQLCgEC7Qz/AukM/QKoCwYBAfEM/QKsCwoBAvUM/wLxDP0CsAsGAQH5DP0CtAsKAQL9DP8C+Qz9ArgLBgEBgQ39ArwLCgEChQ3/AoEN/QLACwYBAYkN/QLECwoBAo0N/wKJDf0CyAsGAQGRDf0CzAsKAQKVDf8CkQ39AtALBgEBmQ39AtQLCgECnQ3/ApkN/QLYCwYBAaEN/QLcCwoBAqUN/wKhDf0C4AsGAQGpDf0C5AsKAQKtDf8CqQ39AugLBgEBsQ39AuwLCgECtQ3/ArEN/QL2C0BBbHR1YS5EYXRhLk51bWJlckZvcm1hdHRpbmcuTnVtYmVyRm9ybWF0VmFsdWVTZWdtZW50LCBBbHR1YS5EYXRh8Qv9AgUEAwW4Df4LP0FsdHVhLkRhdGEuTnVtYmVyRm9ybWF0dGluZy5OdW1iZXJGb3JtYXRUZXh0U2VnbWVudCwgQWx0dWEuRGF0YfkL/wIFBAEtCQGBDP0CBQQDBbwNhQz/AgUEAS0JAYkM/QIFBAMFwA2NDP8CBQQBLQkBkQz9AgUEAwXEDZUM/wIFBAEtCQGZDP0CBQQDBcgNnQz/AgUEAS0JAaEM/QIFBAMFzA2lDP8CBQQBLQkBqQz9AgUEAwXQDa0M/wIFBAEtCQGxDP0CBQQDBdQNtQz/AgUEAS0JAbkM/QIFBAMF2A29DP8CBQQBLQkBwQz9AgUEAwXcDcUM/wIFBAEtCQHJDP0CBQQDBeANzQz/AgUEAS0JAdEM/QIFBAMF5A3VDP8CBQQBLQkB2Qz9AgUEAwXoDd0M/wIFBAEtCQHhDP0CBQQDBewN5Qz/AgUEAS0JAekM/QIFBAMF8A3tDP8CBQQBLQkB8Qz9AgUEAwX0DfUM/wIFBAEtCQH5DP0CBQQDBfgN/Qz/AgUEAS0JAYEN/QIFBAMF/A2FDf8CBQQBLQkBiQ39AgUEAwWADo0N/wIFBAEtCQGRDf0CBQQDBYQOlQ3/AgUEAS0JAZkN/QIFBAMFiA6dDf8CBQQBLQkBoQ39AgUEAwWMDqUN/wIFBAEtCQGpDf0CBQQDBZAOrQ3/AgUEAS0JAbEN/QIFBAMFlA61Df8CBQQBLQkBuA0GAQGZDscDvA0GAQGZDscDwA0GAQGZDscDxA0GAQGZDscDyA0GAQGZDscDzA0GAQGZDscD0A0GAQGZDscD1A0GAQGZDscD2A0GAQGZDscD3A0GAQGZDscD4A0GAQGZDscD5A0GAQGZDscD6A0GAQGZDscD7A0GAQGZDscD8A0GAQGZDscD9A0GAQGZDscD+A0GAQGZDscD/A0GAQGZDscDgA4GAQGZDscDhA4GAQGZDscDiA4GAQGZDscDjA4GAQGZDscDkA4GAQGZDscDlA4GAQGZDscDng45QWx0dWEuRGF0YS5OdW1iZXJGb3JtYXR0aW5nLk51bWJlclBsYWNlaG9sZGVyLCBBbHR1YS5EYXRhmQ7HAwUCMAAAAA=="/>
  <p:tag name="GRUNT-RENDERHASH" val="2d3dc1aee178c9fc4d6398c0469dce0e-svg"/>
  <p:tag name="GRUNT-X-SHAPEBOUNDS" val="ASIBBAAAAMAwvDtAAAAA4A4Ga0AAAABAjAKBQAAAAMDi+W5AAA=="/>
  <p:tag name="GRUNT-X-PAGEOBJECT" val="AQUC4jIKOEFsdHVhLk9hay5Db3JlLkRvY3VtZW50TW9kZWwuQ2hhcnRPYmplY3QsIEFsdHVhLk9hay5Db3JlBQI1BBIEEI4tHzW6fzRKo0x1nsYlbJoMEgQQq6scxKbZC0qQ89lyrGhK+BUNBCUUNRg9HFUgZSQSUEFsdHVhLk9hay5Db3JlLkRvY3VtZW50TW9kZWwuVGVtcGxhdGluZy5DdXN0b21Qb3NpdGlvbkRlZmluaXRpb24sIEFsdHVhLk9hay5Db3JlDQQkBCIBBAAAAMAw/DtAAAAAoNsSbUBu27Y2jP6AQPz//x9JoGpAFBMVKB0sNTA4AEU1DkwCBTxVQF1EGAQEAgVIHAIFTCALBVAMBW5iLU5PFVQkDgEBCQERARkBIQEpATEBKBYEEgQQAAAAAAAAAAAAAAAAAAAAAAgBLBYEEgQQAAAAAAAAAAAAAAAAAAAAAAgBMAA6R0FsdHVhLk9hay5Db3JlLkNoYXJ0LkNsdXN0ZXJlZEJhcldpdGhMaW5lUGxvdERlZmluaXRpb24sIEFsdHVhLk9hay5Db3JlNQ41BBIEEJaTmxBAx11Iso/NOcI0M6IcAgVYJVw1YDwCBWRJAW1ojQFspQFwtQF1HrkBAMUBfSA8CgEEhAGIAYwBkAFABQWUAQ0ARAIBAEgCAQBMAFAKBAEsDAEgFAJrclQJBAVuYi1OTwgBWAQBAZgBXA0AAAgBFAMFnAEcACUAYCYEIgEEAAAAAAAAEEAAAAAAAAAQQAAAAAAAABBAAAAAAAAAEEAIBGQCAQBoCwMAAAAAAIBNQAggbAsDAAAAAAAAFEAIIHBKNaABPaQBRagBVawBXbABdbQBjQG4AZ0BvAGlAcABrQHEAc0ByAHVAcwB3QHQAeUB1AHtAdgB9QHcAf0B4AGFAuQBjQLoAZUC7AF6RUFsdHVhLk9hay5Db3JlLlBsb3R0aW5nLkF1dG9tYXRpY0NhdGVnb3J5QXhpc1NldHRpbmdzLCBBbHR1YS5PYWsuQ29yZXUeEwEBDfABEAAZATAAPfQBRfgBSAGCAT1BbHR1YS5PYWsuQ29yZS5UaGVtaW5nLlBhZ2VDb2xvclNjaGVtZVBvaW50ZXIsIEFsdHVhLk9hay5Db3JlfSAAhAFIBBIEEOjcGhWyCfxHkHpCy/xxYFskEgQQOa6hS2PnK1Gv94eZJj3pqCwSBBC1j+1YQNWZSZezxlNCuNZWPf0BQEWEAkkBXYgCiAFIBBIEEPksWf79329Fuf5n0yPSqyMkEgQQ3hL/oLfjmVGNga5GutPNVSwSBBC1j+1YQNWZSZezxlNCuNZWPf0BQEWMAkkBXZACjAFIBBIEEBf31Pv65EtCozBEHuoK3sMkEgQQn1O4uUOy5k2Ko54KQKJq0iwSBBC1j+1YQNWZSZezxlNCuNZWPf0BQEWUAkkBXZgCkAFIBBIEEAW3udO3DvRJkWQYTUZuRawkEgQQfWkg3kl1N02TTDhNfRW6qywSBBC1j+1YQNWZSZezxlNCuNZWPf0BQEWcAkkBXaAClAEAmAFCAQAYAyWkAikAMQBAAEgCVagCXawCZBIEELWP7VhA1ZlJl7PGU0K41lZtsAJ1tAKNAbgCkQEBnQG8AqUBwAK1AcQCnAECAQCgAQUEAwXIAqQBBQQDBcwCqAEFBAMF0AKsAQUEAwXUArABBQQDBdgCtAEFBAMF2AK4AQUEAwXcArwBBQQDBeACwAEFBAMF5ALEAQUEAwXoAsgBBQQDBewCzAEFBAMF8ALQAQUEAwX0AtQBBQQDBfgC2AEFBAMF/ALcAQUEAwWAA+ABBQQDBYQD5AEFBAMFiAPoAQUEAwWMA+wBBQQDBZAD8AECAQD0AQYFlQNmCAT4AQYFnQNmCASCAj5BbHR1YS5PYWsuQ29yZS5DaGFydC5EZWZhdWx0UGxvdFNlcmllc1NldHRpbmdzLCBBbHR1YS5PYWsuQ29yZf0BQACEAgQFAAgBiAIFBaADCAGMAgQFAAgBkAIFBaQDCAGUAgQFAAgBmAIFBagDCAGcAgQFAAgBoAIEBQAIAaQCCwMAAAAAAAAAAAgCqAILAwAAAAAAAAAACAGsAgsDAAAAAAAAAAAIAbACFQWsAw2wAxW0Ax24AyW8Ay3AAzXEA7QCBw3IAxXNA2a4AgsDAAAAAAAAAAAIBLwCBgXRA2YIBMACBgXRA2YIBMQCBQQDBdQDyAIIAQPYA9wD4APMAg4BBuQD6APsA/AD9AP4A9ACBAEB/APUAgIBANgCAgEA3AICAQDgAgIBAOQCFAEJgASEBIgEjASQBJQEmAScBKAE6AICAQDsAg4BBqQEqASsBLAEtAS4BPACEAEHvATABMQEyATMBNAE1AT0AgIBAPgCBAEB2AT8AgoBBNwE4ATkBOgEgAMCAQCEAwIBAIgDAgEAjAMCAQCQAwIBAJoDM0FsdHVhLk9hay5Db3JlLlRoZW1pbmcuQ29sb3JQb2ludGVyLCBBbHR1YS5PYWsuQ29yZZUDZlBQUP+dA2ZQUFD/oAMFBAMF7ASkAwUEAwXwBKgDBQQDBfQErAMHBAMEAQAIBLADBQQBLggEtAMEAAEIBLgDBAAACAS8AwQEAAgEwAMEBAAIBMQDBAAACATIAwUEAwX4BM0DZj4+5f/RA2ZQUFD/1AMCAQDYAw4F/QSgAQsAAAAAAADQP9wDDgWFBaABCwAAAAAAAPA/4AMOBYkFowELAAAAAAAA8D/kAw4FkQWlAQsAAAAAAAAAAOgDDgWZBacBCwAAAAAAAAAA7AMOBaEFqQELAAAAAAAA4D/wAw4FqQWrAQsAAAAAAADgP/QDDgWxBa0BCwAAAAAAAOA/+AMOBbkFrwELAAAAAAAA+D/8AwgFwQWtAQ3EBYAECgXJBbMBDdEFtQGEBAoF2QWlAQ3dBbgBiAQKBeUFqQEN6QW4AYwECgXtBasBDfEFuAGQBAkF9QW+AQ39BWaUBAkFgQajAQ2FBmaYBAkFiQajAQ2NBmacBAkFkQajAQ2VBmagBAoFmQajAQ2dBrgBpAQHBaEGyQEJAagEBwWpBssBCQCsBAcFsQbJAQkBsAQHBbUGzgEJAbQEBwW9BtABCQG4BAcFxQbSAQkBvAQKBc0G1AEN1QbWAcAECgXdBtgBDeUG2gHEBAoF7QbcAQ31Bt4ByAQKBf0G3AEN9QbeAcwECgWBB8sBDYUH4gHQBAoFjQfQAQ2FB+IB1AQKBZEH0gENlQfmAdgECgWdB+gBDaUH6gHcBAoFrQfLAQ2xB+0B4AQKBbkH2AENvQftAeQECgXBB9ABDcUH7QHoBAoFyQfUAQ3NB+0B7AQGAQHRB/UB8AQGAQHZB/UB9AQGAQHdB/UB+AQEAQIBBIIFUEFsdHVhLk9hay5Db3JlLk1vZGlmaWNhdGlvbi5TdHlsaW5nLkNvbXBvc2l0ZUN1c3RvbWl6YXRpb25UYXJnZXQsIEFsdHVhLk9hay5Db3Jl/QSgAQUEAwXgB4UFoAEFBAMF5AeOBU1BbHR1YS5PYWsuQ29yZS5Nb2RpZmljYXRpb24uU3R5bGluZy5TZXJpZXNDdXN0b21pemF0aW9uVGFyZ2V0LCBBbHR1YS5PYWsuQ29yZYkFowEUBBIEEH1pIN5JdTdNk0w4TX0VuquWBVNBbHR1YS5PYWsuQ29yZS5Nb2RpZmljYXRpb24uU3R5bGluZy5BbGxWYWx1ZUF4aXNDdXN0b21pemF0aW9uVGFyZ2V0LCBBbHR1YS5PYWsuQ29yZZEFpQEAngVZQWx0dWEuT2FrLkNvcmUuTW9kaWZpY2F0aW9uLlN0eWxpbmcuVmFsdWVBeGlzR3JpZGxpbmVzQ3VzdG9taXphdGlvblRhcmdldCwgQWx0dWEuT2FrLkNvcmWZBacBAKYFU0FsdHVhLk9hay5Db3JlLk1vZGlmaWNhdGlvbi5TdHlsaW5nLkNhdGVnb3J5QXhpc0N1c3RvbWl6YXRpb25UYXJnZXQsIEFsdHVhLk9hay5Db3JloQWpAQCuBVBBbHR1YS5PYWsuQ29yZS5Nb2RpZmljYXRpb24uU3R5bGluZy5Pcmlnb0xpbmVDdXN0b21pemF0aW9uVGFyZ2V0LCBBbHR1YS5PYWsuQ29yZakFqwEAtgVdQWx0dWEuT2FrLkNvcmUuTW9kaWZpY2F0aW9uLlN0eWxpbmcuQWxsQ29ubmVjdG9yc0F1eGlsaWFyeUN1c3RvbWl6YXRpb25UYXJnZXQsIEFsdHVhLk9hay5Db3JlsQWtAQC+BVlBbHR1YS5PYWsuQ29yZS5Nb2RpZmljYXRpb24uU3R5bGluZy5TZXJpZXNXaXRoUGxvdEtpbmRDdXN0b21pemF0aW9uVGFyZ2V0LCBBbHR1YS5PYWsuQ29yZbkFrwEDBegHwQWtAQDEBQUMAwXsB84FVkFsdHVhLk9hay5Db3JlLk1vZGlmaWNhdGlvbi5TdHlsaW5nLkFsbFNlcmllc01hcmtlckN1c3RvbWl6YXRpb25UYXJnZXQsIEFsdHVhLk9hay5Db3JlyQWzAQDWBTpBbHR1YS5PYWsuQ29yZS5UaGVtaW5nLkJpbmRpbmdDb2xvclBvaW50ZXIsIEFsdHVhLk9hay5Db3Jl0QW1AQUF8Qf9AdkFpQEA4gU3QWx0dWEuT2FrLkNvcmUuVGhlbWluZy5QYWdlQ29sb3JQb2ludGVyLCBBbHR1YS5PYWsuQ29yZd0FuAEEAAAIAOUFqQEA6QW4AQQAAAgA7QWrAQDxBbgBBAAACAD6BVNBbHR1YS5PYWsuQ29yZS5Nb2RpZmljYXRpb24uU3R5bGluZy5BbGxHcmlkbGluZXNDdXN0b21pemF0aW9uVGFyZ2V0LCBBbHR1YS5PYWsuQ29yZfUFvgEA/QVmgICA/4EGowEUBBIEEDmuoUtj5ytRr/eHmSY96aiFBmakWgD/iQajARQEEgQQ3hL/oLfjmVGNga5GutPNVY0GZnYnAP+RBqMBFAQSBBCfU7i5Q7LmTYqjngpAomrSlQZm3en4/5kGowEUBBIEEH1pIN5JdTdNk0w4TX0VuqudBrgBBAAJCACmBlhBbHR1YS5PYWsuQ29yZS5Nb2RpZmljYXRpb24uU3R5bGluZy5TZXJpZXNMYWJlbE9mVHlwZUN1c3RvbWl6YXRpb25UYXJnZXQsIEFsdHVhLk9hay5Db3JloQbJAQIAAq4GWEFsdHVhLk9hay5Db3JlLk1vZGlmaWNhdGlvbi5TdHlsaW5nLkFsbFZhbHVlQXhpc0xhYmVsQ3VzdG9taXphdGlvblRhcmdldCwgQWx0dWEuT2FrLkNvcmWpBssBALEGyQECAAC6BlVBbHR1YS5PYWsuQ29yZS5Nb2RpZmljYXRpb24uU3R5bGluZy5BbGxUb3RhbExhYmVsc0N1c3RvbWl6YXRpb25UYXJnZXQsIEFsdHVhLk9hay5Db3JltQbOAQDCBldBbHR1YS5PYWsuQ29yZS5Nb2RpZmljYXRpb24uU3R5bGluZy5BbGxDYXRlZ29yeUxhYmVsQ3VzdG9taXphdGlvblRhcmdldCwgQWx0dWEuT2FrLkNvcmW9BtABAMoGWEFsdHVhLk9hay5Db3JlLk1vZGlmaWNhdGlvbi5TdHlsaW5nLkFsbEF1eGlsaWFyeUxhYmVsQ3VzdG9taXphdGlvblRhcmdldCwgQWx0dWEuT2FrLkNvcmXFBtIBANIGWEFsdHVhLk9hay5Db3JlLk1vZGlmaWNhdGlvbi5TdHlsaW5nLkNhdGVnb3J5QXhpc1RpdGxlQ3VzdG9taXphdGlvblRhcmdldCwgQWx0dWEuT2FrLkNvcmXNBtQBANoGRkFsdHVhLk9hay5Db3JlLlBsb3R0aW5nLkF4aXNUaXRsZUxhYmVsUGxhY2VtZW50T3V0c2lkZSwgQWx0dWEuT2FrLkNvcmXVBtYBAgAB4gZdQWx0dWEuT2FrLkNvcmUuTW9kaWZpY2F0aW9uLlN0eWxpbmcuQWxsVmFsdWVBeGlzVGl0bGVMYWJlbEN1c3RvbWl6YXRpb25UYXJnZXQsIEFsdHVhLk9hay5Db3Jl3QbYAQDqBkJBbHR1YS5PYWsuQ29yZS5QbG90dGluZy5BeGlzVGl0bGVMYWJlbFBsYWNlbWVudEZhciwgQWx0dWEuT2FrLkNvcmXlBtoBAgAA8gZfQWx0dWEuT2FrLkNvcmUuTW9kaWZpY2F0aW9uLlN0eWxpbmcuU2VyaWVzTGFiZWxzV2l0aFBsb3RLaW5kQ3VzdG9taXphdGlvblRhcmdldCwgQWx0dWEuT2FrLkNvcmXtBtwBBQX4BwgA+gY9QWx0dWEuT2FrLkNvcmUuUGxvdHRpbmcuTGFiZWxQbGFjZW1lbnRPdXRzaWRlLCBBbHR1YS5PYWsuQ29yZfUG3gEA/QbcAQUF/AcIAIEHywEAigdBQWx0dWEuT2FrLkNvcmUuUGxvdHRpbmcuQXhpc0xhYmVsUGxhY2VtZW50T3V0c2lkZSwgQWx0dWEuT2FrLkNvcmWFB+IBAgEAjQfQAQCRB9IBAJoHRkFsdHVhLk9hay5Db3JlLlBsb3R0aW5nLkF1eGlsaWFyeUxhYmVsUGxhY2VtZW50RGVmYXVsdCwgQWx0dWEuT2FrLkNvcmWVB+YBAKIHUEFsdHVhLk9hay5Db3JlLk1vZGlmaWNhdGlvbi5TdHlsaW5nLkFsbExhYmVsc0N1c3RvbWl6YXRpb25UYXJnZXQsIEFsdHVhLk9hay5Db3JlnQfoAQCqB0JBbHR1YS5PYWsuQ29yZS5TeW50YXhTdHJ1Y3R1cmUuQWN0dWFsRm9udFNpemVWYWx1ZSwgQWx0dWEuT2FrLkNvcmWlB+oBCQMAAAAAAAAoQK0HywEAtgdDQWx0dWEuT2FrLkNvcmUuU3ludGF4U3RydWN0dXJlLkFjdHVhbEZvbnRDb2xvclZhbHVlLCBBbHR1YS5PYWsuQ29yZbEH7QEFBYEIuAG5B9gBAL0H7QEFBYUIuAHBB9ABAMUH7QEFBYkIuAHJB9QBAM0H7QEFBY0IuAHWBy9BbHR1YS5EYXRhLkluZnJhc3RydWN0dXJlLlBhcmFncmFwaCwgQWx0dWEuRGF0YdEH9QEFDAMFkAjZB/UBBQwDBZQI3Qf1AQUMAwWYCOAHDgEDnQijAaEIowGlCKMB5AcOAQOpCKMBrQijAbEIowHoBwEF7AcKAQIAAIBAAABAQPYHSEFsdHVhLk9hay5Db3JlLlN5bnRheFN0cnVjdHVyZS5QbG90U2VyaWVzQmluZGluZ1N0cmF0ZWd5LCBBbHR1YS5PYWsuQ29yZfEH/QEA+AcCCQr8BwEFgQi4AQQAAAgAhQi4AQQAAAgAiQi4AQQAAAgAjQi4AQQAAAgAkAgGAQG1CI4ClAgGAQG9CI4CmAgGAQHBCI4CnQijARQEEgQQn1O4uUOy5k2Ko54KQKJq0qEIowEUBBIEEN4S/6C345lRjYGuRrrTzVWlCKMBFAQSBBA5rqFLY+crUa/3h5kmPemoqQijARQEEgQQn1O4uUOy5k2Ko54KQKJq0q0IowEUBBIEEN4S/6C345lRjYGuRrrTzVWxCKMBFAQSBBA5rqFLY+crUa/3h5kmPemouggvQWx0dWEuRGF0YS5JbmZyYXN0cnVjdHVyZS5OdW1iZXJSdW4sIEFsdHVhLkRhdGG1CI4CEwQOAwAAAAAAjJ9AHcUIkgINzAi9CI4CEwQOAwAAAAAAlJ9AHdEIkgIN1AjBCI4CEwQOAwAAAAAAnJ9AHdkIkgIN3AjKCD1BbHR1YS5EYXRhLk51bWJlckZvcm1hdHRpbmcuQ29tcG9zaXRlTnVtYmVyRm9ybWF0LCBBbHR1YS5EYXRhxQiSAgsd4Agl5Ag16Ag9AMwIEgQAHAAkACwANAA8AEwAVABdANEIkgILHewIJfAINfQIPQDUCBIEABwAJAAsADQAPABMAFQAXQDZCJICCx34CCX8CDWACT0A3AgSBAAcACQALAA0ADwATABUAF0A4AgJAAAMAwWECREA5AgJAAAMAwWICREA6AgKBAEsDAEuFAJrcuwICQAADAMFjAkRAPAICQAADAMFkAkRAPQICgQBLAwBLhQCa3L4CAkAAAwDBZQJEQD8CAkAAAwDBZgJEQCACQoEASwMAS4UAmtyhAkGAQGdCagCiAkKAQKlCaoCnQmoAowJBgEBrQmoApAJCgECsQmqAq0JqAKUCQYBAbUJqAKYCQoBArkJqgK1CagCoglAQWx0dWEuRGF0YS5OdW1iZXJGb3JtYXR0aW5nLk51bWJlckZvcm1hdFZhbHVlU2VnbWVudCwgQWx0dWEuRGF0YZ0JqAIFBAMFvAmqCT9BbHR1YS5EYXRhLk51bWJlckZvcm1hdHRpbmcuTnVtYmVyRm9ybWF0VGV4dFNlZ21lbnQsIEFsdHVhLkRhdGGlCaoCBQQBLQkBrQmoAgUEAwXACbEJqgIFBAEtCQG1CagCBQQDBcQJuQmqAgUEAS0JAbwJBgEByQmzAsAJBgEByQmzAsQJBgEByQmzAs4JOUFsdHVhLkRhdGEuTnVtYmVyRm9ybWF0dGluZy5OdW1iZXJQbGFjZWhvbGRlciwgQWx0dWEuRGF0YckJswIFAjAAAAA="/>
  <p:tag name="GRUNT-SYNC" val="e654ffe2b8d849be82b5500e91f50f0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5e8aeec8-d4b5-4b52-ae28-54f1504be687"/>
  <p:tag name="GRUNT-X-RESOURCES" val="AQIFBAQEAgEA"/>
  <p:tag name="GRUNT-VERSION" val="20.23.267.0"/>
  <p:tag name="GRUNT-X-PAGEOBJECT" val="AQUCswIKPkFsdHVhLk9hay5Db3JlLkRvY3VtZW50TW9kZWwuQ2hhcnRMZWdlbmRPYmplY3QsIEFsdHVhLk9hay5Db3JlBQI5BBIEEMjuil611FJLrihU8VBL5ocUEgQQlpObEEDHXUiyj805wjQzoi0MNRBEAgUUSABVGQdlIG0kDAQEAgUoEAIFLBQCAQAeUEFsdHVhLk9hay5Db3JlLkRvY3VtZW50TW9kZWwuVGVtcGxhdGluZy5DdXN0b21Qb3NpdGlvbkRlZmluaXRpb24sIEFsdHVhLk9hay5Db3JlGQckBCIBBOC2bdu2bUNA2rZtiwDjaUAAAACAtu1sQDBJkqTYfjlAIAsFMAwFbmItTk8VNCQEAQEJASgCAQAsADAKBAEsDAEgFAJrcjQJBAVuYi1OTwgB"/>
  <p:tag name="GRUNT-X-SHAPEBOUNDS" val="ASIBBAAAAOC2bUNAAAAAgADjaUAAAACAtu1sQAAAAKDYfjlAAA=="/>
  <p:tag name="GRUNT-SYNC" val="b12d03c0a1934bc59317ba679db36e20"/>
  <p:tag name="GRUNT-RENDERHASH" val="f504b6d7b08b0477d36c6f7bbd6e4f3d-sv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1035d0cf-69f2-446d-9e23-9278da18418b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iSMKN0FsdHVhLkRhdGEuRGF0YVNlcnZpY2VzLkVtYmVkZGVkRGF0YVNlcnZpY2UsIEFsdHVhLkRhdGEFAhkEEgQQCcjt30U800WM0uTDmBtyIA0MJREFDAYFGAgMEAUWQUFsdHVhLkRhdGEuRGF0YVNlcnZpY2VzLkVtYmVkZGVkRGF0YVNlcnZpY2VFZGl0b3JEYXRhLCBBbHR1YS5EYXRhEQUEBRwNIBgGBSQNKBUsHB4dBBIEEB/rjDimIctLiTIXQgTfWDQLAAAAAAAgYkAgHh0EEgQQhB+R4huFNUGwuFZrPUlJDwsAAAAAAAAyQCQKMDQ4PEBESExQVCgDWFxgLN0KLAQoBBIEED0igOf6Y31Hih5BWzKXX8cMEgQQ+SxZ/v3fb0W5/mfTI9KrIw1kLAQoBBIEENqNKxB7T5pMmUYr804v+BwMEgQQX5eQl8Rau0KbEDAGcU7FWQ1oLAQoBBIEEOTyJ7HO8XpDmTV6priHw1IMEgQQ+SxZ/v3fb0W5/mfTI9KrIw1sLAQoBBIEEHWemJFcQytHgI2gyx3vlOMMEgQQX5eQl8Rau0KbEDAGcU7FWQ1wLAQoBBIEEB/rjDimIctLiTIXQgTfWDQMEgQQ6NwaFbIJ/EeQekLL/HFgWw10LAQoBBIEEDN2LlbKrM9DuJ/41/dD8iIMEgQQX5eQl8Rau0KbEDAGcU7FWQ14LAQoBBIEEB/rjDimIctLiTIXQgTfWDQMEgQQX5eQl8Rau0KbEDAGcU7FWQ18LQQoBBIEEDN2LlbKrM9DuJ/41/dD8iIMEgQQ6NwaFbIJ/EeQekLL/HFgWw2AAS0EKAQSBBA9IoDn+mN9R4oeQVsyl1/HDBIEEOjcGhWyCfxHkHpCy/xxYFsNhAEtBCgEEgQQWZ9h5liRP0iEKp689x5lRgwSBBBfl5CXxFq7QpsQMAZxTsVZDYgBLQQoBBIEEAwkJFjMOpdPum+AuNtVqc4MEgQQ+SxZ/v3fb0W5/mfTI9KrIw2MAS0EKAQSBBCUBD3yDvZSRbakKi3Cnsv1DBIEEPksWf79329Fuf5n0yPSqyMNkAEtBCgEEgQQ2o0rEHtPmkyZRivzTi/4HAwSBBD5LFn+/d9vRbn+Z9Mj0qsjDZQBLQQoBBIEEJQEPfIO9lJFtqQqLcKey/UMEgQQX5eQl8Rau0KbEDAGcU7FWQ2YAS0EKAQSBBB1npiRXEMrR4CNoMsd75TjDBIEEPksWf79329Fuf5n0yPSqyMNnAEtBCgEEgQQ03PxxBv3AU6gMvANYi0kOQwSBBBfl5CXxFq7QpsQMAZxTsVZDaABLQQoBBIEEFmfYeZYkT9IhCqevPceZUYMEgQQ6NwaFbIJ/EeQekLL/HFgWw2kAS0EKAQSBBAMJCRYzDqXT7pvgLjbVanODBIEEOjcGhWyCfxHkHpCy/xxYFsNqAEtBCgEEgQQlAQ98g72UkW2pCotwp7L9QwSBBDo3BoVsgn8R5B6Qsv8cWBbDawBLQQoBBIEENNz8cQb9wFOoDLwDWItJDkMEgQQ+SxZ/v3fb0W5/mfTI9KrIw2wAS0EKAQSBBDk8iexzvF6Q5k1eqa4h8NSDBIEEOjcGhWyCfxHkHpCy/xxYFsNtAEtBCgEEgQQ03PxxBv3AU6gMvANYi0kOQwSBBDo3BoVsgn8R5B6Qsv8cWBbDbgBLQQoBBIEEFmfYeZYkT9IhCqevPceZUYMEgQQ+SxZ/v3fb0W5/mfTI9KrIw28AS0EKAQSBBDk8iexzvF6Q5k1eqa4h8NSDBIEEF+XkJfEWrtCmxAwBnFOxVkNwAEtBCgEEgQQ2o0rEHtPmkyZRivzTi/4HAwSBBDo3BoVsgn8R5B6Qsv8cWBbDcQBLQQoBBIEEAwkJFjMOpdPum+AuNtVqc4MEgQQX5eQl8Rau0KbEDAGcU7FWQ3IAS0EKAQSBBA9IoDn+mN9R4oeQVsyl1/HDBIEEF+XkJfEWrtCmxAwBnFOxVkNzAEtBCgEEgQQH+uMOKYhy0uJMhdCBN9YNAwSBBD5LFn+/d9vRbn+Z9Mj0qsjDdABLQQoBBIEEDN2LlbKrM9DuJ/41/dD8iIMEgQQ+SxZ/v3fb0W5/mfTI9KrIw3UAS0EKAQSBBB1npiRXEMrR4CNoMsd75TjDBIEEOjcGhWyCfxHkHpCy/xxYFsN2AEwGgQSBBDajSsQe0+aTJlGK/NOL/gcDAJDMRAANBoEEgQQH+uMOKYhy0uJMhdCBN9YNAwCQzIQADgaBBIEEHWemJFcQytHgI2gyx3vlOMMAkMzEAA8GgQSBBAzdi5WyqzPQ7if+Nf3Q/IiDAJDNBAAQBoEEgQQWZ9h5liRP0iEKp689x5lRgwCQzUQAEQaBBIEEOTyJ7HO8XpDmTV6priHw1IMAkM2EABIGgQSBBDTc/HEG/cBTqAy8A1iLSQ5DAJDNxAATBoEEgQQPSKA5/pjfUeKHkFbMpdfxwwCQzgQAFAaBBIEEAwkJFjMOpdPum+AuNtVqc4MAkM5EABUGwQSBBCUBD3yDvZSRbakKi3Cnsv1DANDMTAQAFgaBBIEEF+XkJfEWrtCmxAwBnFOxVkMAlIxEABcGgQSBBDo3BoVsgn8R5B6Qsv8cWBbDAJSMhAAYBoEEgQQ+SxZ/v3fb0W5/mfTI9KrIwwCUjMQAGQGDdwBFeABaAYN3AEV5AFsBg3cARXoAXAGDdwBFewBdAYN3AEV8AF4Bg3cARX0AXwGDdwBFfgBgAEGDdwBFfwBhAEGDYACFYQCiAEGDdwBFYgCjAEGDdwBFYwCkAEGDdwBFZAClAEGDdwBFZQCmAEGDdwBFZgCnAEGDdwBFZwCoAEGDdwBFaACpAEGDYACFaQCqAEGDYACFagCrAEGDYACFawCsAEGDdwBFbACtAEGDYACFbQCuAEGDYACFbgCvAEGDdwBFbwCwAEGDdwBFcACxAEGDdwBFcQCyAEGDdwBFcgCzAEGDdwBFcwC0AEGDdwBFdAC1AEGDdwBFdQC2AEGDdwBFdgC3AECBADgAQUEAwXcAuQBBQQDBeAC6AEFBAMF5ALsAQUEAwXoAvABBQQDBewC9AEFBAMF8AL4AQUEAwX0AvwBBQQDBfgCgAICBACEAgUEAwX8AogCBQQDBYADjAIFBAMFhAOQAgUEAwWIA5QCBQQDBYwDmAIFBAMFkAOcAgUEAwWUA6ACBQQDBZgDpAIFBAMFnAOoAgUEAwWgA6wCBQQDBaQDsAIFBAMFqAO0AgUEAwWsA7gCBQQDBbADvAIFBAMFtAPAAgUEAwW4A8QCBQQDBbwDyAIFBAMFwAPMAgUEAwXEA9ACBQQDBcgD1AIFBAMFzAPYAgUEAwXQA9wCBQEB1QN24AICAQDkAgUBAd0DdugCBQEB4QN27AIFAQHlA3bwAgUBAekDdvQCBQEB7QN2+AIFAQHxA3b8AgUBAfUDdoADBQEB+QN2hAMFAQH9A3aIAwUBAYEEdowDBQEBhQR2kAMFAQGJBHaUAwUBAY0EdpgDBQEBkQR2nAMFAQGVBHagAwUBAZkEdqQDBQEBnQR2qAMFAQGhBHasAwUBAaUEdrADBQEBqQR2tAMFAQGtBHa4AwUBAbEEdrwDBQEBtQR2wAMFAQG5BHbEAwUBAb0EdsgDBQEBwQR2zAMFAQHFBHbQAwUBAckEdtoDL0FsdHVhLkRhdGEuSW5mcmFzdHJ1Y3R1cmUuUGFyYWdyYXBoLCBBbHR1YS5EYXRh1QN2BQwDBcwE3QN2BQwDBdAE4QN2BQwDBdQE5QN2BQwDBdgE6QN2BQwDBdwE7QN2BQwDBeAE8QN2BQwDBeQE9QN2BQwDBegE+QN2BQwDBewE/QN2BQwDBfAEgQR2BQwDBfQEhQR2BQwDBfgEiQR2BQwDBfwEjQR2BQwDBYAFkQR2BQwDBYQFlQR2BQwDBYgFmQR2BQwDBYwFnQR2BQwDBZAFoQR2BQwDBZQFpQR2BQwDBZgFqQR2BQwDBZwFrQR2BQwDBaAFsQR2BQwDBaQFtQR2BQwDBagFuQR2BQwDBawFvQR2BQwDBbAFwQR2BQwDBbQFxQR2BQwDBbgFyQR2BQwDBbwFzAQGAQHBBbEB0AQGAQHJBbEB1AQGAQHNBbQB2AQGAQHVBbEB3AQGAQHZBbQB4AQGAQHdBbQB5AQGAQHhBbEB6AQGAQHlBbEB7AQGAQHpBbQB8AQGAQHtBbEB9AQGAQHxBbEB+AQGAQH1BbEB/AQGAQH5BbQBgAUGAQH9BbEBhAUGAQGBBrQBiAUGAQGFBrEBjAUGAQGJBrEBkAUGAQGNBrEBlAUGAQGRBrEBmAUGAQGVBrEBnAUGAQGZBrEBoAUGAQGdBrEBpAUGAQGhBrQBqAUGAQGlBrEBrAUGAQGpBrQBsAUGAQGtBrQBtAUGAQGxBrEBuAUGAQG1BrEBvAUGAQG5BrEBxgUvQWx0dWEuRGF0YS5JbmZyYXN0cnVjdHVyZS5OdW1iZXJSdW4sIEFsdHVhLkRhdGHBBbEBEwQOAwAAAAAAADxAHb0G0AENxAbJBbEBEwQOAwAAAAAAAD9AHb0G0AENxAbSBS1BbHR1YS5EYXRhLkluZnJhc3RydWN0dXJlLlRleHRSdW4sIEFsdHVhLkRhdGHNBbQBEwQOQnlnZyBvZyBhbmxlZ2cNyAbVBbEBEwQOAwAAAAAAAEJAHb0G0AENxAbZBbQBDwQKVmFyZWhhbmRlbA3IBt0FtAEYBBNIb3RlbGwgLyByZXN0YXVyYW50DcgG4QWxARMEDgMAAAAAAABEQB29BtABDcQG5QWxARMEDgMAAAAAAIBAQB29BtABDcQG6QW0ASMEHlRqZW5lc3RleXRpbmcgb2cga29tbXVuaWthc2pvbg3MBu0FsQETBA4DAAAAAAAAOkAdvQbQAQ3EBvEFsQETBA4DAAAAAAAAJkAdvQbQAQ3EBvUFsQETBA4DAAAAAACgn0AdvQbQAQ3EBvkFtAEZBBRKb3JkYnJ1ayBvZyBza29nYnJ1aw3IBv0FsQETBA4DAAAAAACAREAdvQbQAQ3EBoEGtAEWBBFGaXNrZXJpIC8gaGF2YnJ1aw3IBoUGsQETBA4DAAAAAAAAN0AdvQbQAQ3EBokGsQETBA4DAAAAAAAAOUAdvQbQAQ3EBo0GsQETBA4DAAAAAAAASEAdvQbQAQ3EBpEGsQETBA4DAAAAAAAAPUAdvQbQAQ3EBpUGsQETBA4DAAAAAAAAOUAdvQbQAQ3EBpkGsQETBA4DAAAAAAAAPUAdvQbQAQ3EBp0GsQETBA4DAAAAAAAAP0AdvQbQAQ3EBqEGtAEMBAdFaWVuZG9tDcgGpQaxARMEDgMAAAAAAJyfQB29BtABDcQGqQa0ARkEFFRyYW5zcG9ydCBvZyBsYWdyaW5nDcgGrQa0AQ0ECEluZHVzdHJpDcgGsQaxARMEDgMAAAAAAABKQB29BtABDcQGtQaxARMEDgMAAAAAAABDQB29BtABDcQGuQaxARMEDgMAAAAAAAA1QB29BtABDcQGwgY9QWx0dWEuRGF0YS5OdW1iZXJGb3JtYXR0aW5nLkNvbXBvc2l0ZU51bWJlckZvcm1hdCwgQWx0dWEuRGF0Yb0G0AELHdAGJdQGNdgGPQDEBhIEABwAJAAsADQAPABMAFQAXQDIBhIEABwAJAAsADQAPABMAFQAXQDMBhIEABwAJAAsADQAPABMAFQAXQDQBgkAAAwDBdwGEQDUBgkAAAwDBeAGEQDYBgoEASwMAS4UAmty3AYGAQHlBtoB4AYKAQLtBtwB9QbaAeoGQkFsdHVhLkRhdGEuTnVtYmVyRm9ybWF0dGluZy5OdW1iZXJGb3JtYXRHZW5lcmFsU2VnbWVudCwgQWx0dWEuRGF0YeUG2gEA8gY/QWx0dWEuRGF0YS5OdW1iZXJGb3JtYXR0aW5nLk51bWJlckZvcm1hdFRleHRTZWdtZW50LCBBbHR1YS5EYXRh7QbcAQUEAS0JAfUG2gEA"/>
  <p:tag name="GRUNT-RENDERHASH" val="8f74205e810ce72e426a85eeccfeb247-svg"/>
  <p:tag name="GRUNT-X-SHAPEBOUNDS" val="ASIBBAAAAKACIERAAAAAQDMjZ0AAAAAAADaMQAAAAGBmxm9AAA=="/>
  <p:tag name="GRUNT-X-PAGEOBJECT" val="AQUCkyMKOEFsdHVhLk9hay5Db3JlLkRvY3VtZW50TW9kZWwuQ2hhcnRPYmplY3QsIEFsdHVhLk9hay5Db3JlBQI1BBIEEIJ6M9xAXn5DhHiSIKHg3FMMEgQQCcjt30U800WM0uTDmBtyIBUNBCUUNRg9HFUgZSQSUEFsdHVhLk9hay5Db3JlLkRvY3VtZW50TW9kZWwuVGVtcGxhdGluZy5DdXN0b21Qb3NpdGlvbkRlZmluaXRpb24sIEFsdHVhLk9hay5Db3JlDQQkBCIBBAAAAKACQERAAAAAAAAwaUAAAAAAADKMQAAAAAAAoGlAFBMVKB0sNTA4AEU1DkwCBTxVQF1EGAQEAgVIHAIFTCALBVAMBW5iLU5PFVQkDgEBCQERARkBIQEpATEBKBYEEgQQAAAAAAAAAAAAAAAAAAAAAAgBLBYEEgQQAAAAAAAAAAAAAAAAAAAAAAgBMAA6R0FsdHVhLk9hay5Db3JlLkNoYXJ0LkNsdXN0ZXJlZEJhcldpdGhMaW5lUGxvdERlZmluaXRpb24sIEFsdHVhLk9hay5Db3JlNQ41BBIEEE9Zuyj3ePxAg3GJh/E6ENAcAgVYJVw1YDwCBWRJAW1ojQFspQFwtQF1HrkBAMUBfSA8AgEAQAUFhAENAEQCAQBIAgEATABQCgQBLAwBIBQCa3JUCQQFbmItTk8IAVgEAQGIAVwNAAAIARQDBYwBHAAlAGAmBCIBBAAAAAAAABBAAAAAAAAAEEAAAAAAAAAQQAAAAAAAABBACARkAgEAaAsDAAAAAACATUAIIGwLAwAAAAAAABRACCBwSjWQAT2UAUWYAVWcAV2gAXWkAY0BqAGdAawBpQGwAa0BtAHNAbgB1QG8Ad0BwAHlAcQB7QHIAfUBzAH9AdABhQLUAY0C2AGVAtwBekVBbHR1YS5PYWsuQ29yZS5QbG90dGluZy5BdXRvbWF0aWNDYXRlZ29yeUF4aXNTZXR0aW5ncywgQWx0dWEuT2FrLkNvcmV1HhMBAQ3gARAAGQEwAD3kAUXoAUgBggE9QWx0dWEuT2FrLkNvcmUuVGhlbWluZy5QYWdlQ29sb3JTY2hlbWVQb2ludGVyLCBBbHR1YS5PYWsuQ29yZX0gAIQBAIgBQgEAGAMl7AEpADEAQABIAlXwAV30AWQSBBAFgLruN31GS6jReAO9evESbfgBdfwBjQGAApEBAZ0BhAKlAYgCtQGMAowBAgEAkAEFBAMFkAKUAQUEAwWUApgBBQQDBZgCnAEFBAMFnAKgAQUEAwWQAqQBBQQDBZACqAEFBAMFoAKsAQUEAwWkArABBQQDBagCtAEFBAMFrAK4AQUEAwWwArwBBQQDBbQCwAEFBAMFuALEAQUEAwW8AsgBBQQDBcACzAEFBAMFxALQAQUEAwXIAtQBBQQDBcwC2AEFBAMF0ALcAQUEAwXUAuABAgEA5AEGBdkCVwgE6AEGBeECVwgE7AELAwAAAAAAAAAACALwAQsDAAAAAAAAAAAIAfQBCwMAAAAAAAAAAAgB+AEVBeQCDegCFewCHfACJfQCLfgCNfwC/AEHDYADFYUDV4ACCwMAAAAAAAAAAAgEhAIGBYkDVwgEiAIGBYkDVwgEjAIFBAMFjAOQAgIBAJQCDgEGkAOUA5gDnAOgA6QDmAIEAQGoA5wCAgEAoAICAQCkAgIBAKgCDAEFrAOwA7QDuAO8A6wCAgEAsAIOAQbAA8QDyAPMA9AD1AO0AhABB9gD3APgA+QD6APsA/ADuAICAQC8AgQBAfQDwAIKAQT4A/wDgASEBMQCAgEAyAICAQDMAgIBANACAgEA1AICAQDeAjNBbHR1YS5PYWsuQ29yZS5UaGVtaW5nLkNvbG9yUG9pbnRlciwgQWx0dWEuT2FrLkNvcmXZAldQUFD/4QJXUFBQ/+QCBwQDBAEACAToAgUEAS4IBOwCBAABCATwAgQAAAgE9AIEBAAIBPgCBAQACAT8AgQAAAgEgAMFBAMFiASFA1c+PuX/iQNXUFBQ/4wDAgEAkAMOBY0EhAELAAAAAAAAAACUAw4FlQSGAQsAAAAAAAAAAJgDDgWdBIgBCwAAAAAAAOA/nAMOBaUEigELAAAAAAAA4D+gAw4FrQSMAQsAAAAAAADgP6QDDgW1BI4BCwAAAAAAAPg/qAMIBb0EjAENwASsAwoFxQSSAQ3NBJQBsAMKBdUEhAEN2QSXAbQDCgXhBIgBDeUElwG4AwoF6QSKAQ3tBJcBvAMJBfEEnQEN+QRXwAMHBf0EoAEJAcQDBwWFBaIBCQDIAwcFjQWgAQkBzAMHBZEFpQEJAdADBwWZBacBCQHUAwcFoQWpAQkB2AMKBakFqwENsQWtAdwDCgW5Ba8BDcEFsQHgAwoFyQWzAQ3RBbUB5AMKBdkFswEN0QW1AegDCgXdBaIBDeEFuQHsAwoF6QWnAQ3hBbkB8AMKBe0FqQEN8QW9AfQDCgX5Bb8BDYEGwQH4AwoFiQaiAQ2NBsQB/AMKBZUGrwENmQbEAYAECgWdBqcBDaEGxAGEBAoFpQarAQ2pBsQBiAQEAQIBBJIEU0FsdHVhLk9hay5Db3JlLk1vZGlmaWNhdGlvbi5TdHlsaW5nLkFsbFZhbHVlQXhpc0N1c3RvbWl6YXRpb25UYXJnZXQsIEFsdHVhLk9hay5Db3JljQSEAQCaBFlBbHR1YS5PYWsuQ29yZS5Nb2RpZmljYXRpb24uU3R5bGluZy5WYWx1ZUF4aXNHcmlkbGluZXNDdXN0b21pemF0aW9uVGFyZ2V0LCBBbHR1YS5PYWsuQ29yZZUEhgEAogRTQWx0dWEuT2FrLkNvcmUuTW9kaWZpY2F0aW9uLlN0eWxpbmcuQ2F0ZWdvcnlBeGlzQ3VzdG9taXphdGlvblRhcmdldCwgQWx0dWEuT2FrLkNvcmWdBIgBAKoEUEFsdHVhLk9hay5Db3JlLk1vZGlmaWNhdGlvbi5TdHlsaW5nLk9yaWdvTGluZUN1c3RvbWl6YXRpb25UYXJnZXQsIEFsdHVhLk9hay5Db3JlpQSKAQCyBF1BbHR1YS5PYWsuQ29yZS5Nb2RpZmljYXRpb24uU3R5bGluZy5BbGxDb25uZWN0b3JzQXV4aWxpYXJ5Q3VzdG9taXphdGlvblRhcmdldCwgQWx0dWEuT2FrLkNvcmWtBIwBALoEWUFsdHVhLk9hay5Db3JlLk1vZGlmaWNhdGlvbi5TdHlsaW5nLlNlcmllc1dpdGhQbG90S2luZEN1c3RvbWl6YXRpb25UYXJnZXQsIEFsdHVhLk9hay5Db3JltQSOAQMFrAa9BIwBAMAEBQwDBbAGygRWQWx0dWEuT2FrLkNvcmUuTW9kaWZpY2F0aW9uLlN0eWxpbmcuQWxsU2VyaWVzTWFya2VyQ3VzdG9taXphdGlvblRhcmdldCwgQWx0dWEuT2FrLkNvcmXFBJIBANIEOkFsdHVhLk9hay5Db3JlLlRoZW1pbmcuQmluZGluZ0NvbG9yUG9pbnRlciwgQWx0dWEuT2FrLkNvcmXNBJQBBQW1Bs4B1QSEAQDeBDdBbHR1YS5PYWsuQ29yZS5UaGVtaW5nLlBhZ2VDb2xvclBvaW50ZXIsIEFsdHVhLk9hay5Db3Jl2QSXAQQAAAgA4QSIAQDlBJcBBAAACADpBIoBAO0ElwEEAAAIAPYEU0FsdHVhLk9hay5Db3JlLk1vZGlmaWNhdGlvbi5TdHlsaW5nLkFsbEdyaWRsaW5lc0N1c3RvbWl6YXRpb25UYXJnZXQsIEFsdHVhLk9hay5Db3Jl8QSdAQD5BFeAgID/ggVYQWx0dWEuT2FrLkNvcmUuTW9kaWZpY2F0aW9uLlN0eWxpbmcuU2VyaWVzTGFiZWxPZlR5cGVDdXN0b21pemF0aW9uVGFyZ2V0LCBBbHR1YS5PYWsuQ29yZf0EoAECAAKKBVhBbHR1YS5PYWsuQ29yZS5Nb2RpZmljYXRpb24uU3R5bGluZy5BbGxWYWx1ZUF4aXNMYWJlbEN1c3RvbWl6YXRpb25UYXJnZXQsIEFsdHVhLk9hay5Db3JlhQWiAQCNBaABAgAAlgVVQWx0dWEuT2FrLkNvcmUuTW9kaWZpY2F0aW9uLlN0eWxpbmcuQWxsVG90YWxMYWJlbHNDdXN0b21pemF0aW9uVGFyZ2V0LCBBbHR1YS5PYWsuQ29yZZEFpQEAngVXQWx0dWEuT2FrLkNvcmUuTW9kaWZpY2F0aW9uLlN0eWxpbmcuQWxsQ2F0ZWdvcnlMYWJlbEN1c3RvbWl6YXRpb25UYXJnZXQsIEFsdHVhLk9hay5Db3JlmQWnAQCmBVhBbHR1YS5PYWsuQ29yZS5Nb2RpZmljYXRpb24uU3R5bGluZy5BbGxBdXhpbGlhcnlMYWJlbEN1c3RvbWl6YXRpb25UYXJnZXQsIEFsdHVhLk9hay5Db3JloQWpAQCuBVhBbHR1YS5PYWsuQ29yZS5Nb2RpZmljYXRpb24uU3R5bGluZy5DYXRlZ29yeUF4aXNUaXRsZUN1c3RvbWl6YXRpb25UYXJnZXQsIEFsdHVhLk9hay5Db3JlqQWrAQC2BUZBbHR1YS5PYWsuQ29yZS5QbG90dGluZy5BeGlzVGl0bGVMYWJlbFBsYWNlbWVudE91dHNpZGUsIEFsdHVhLk9hay5Db3JlsQWtAQIAAb4FXUFsdHVhLk9hay5Db3JlLk1vZGlmaWNhdGlvbi5TdHlsaW5nLkFsbFZhbHVlQXhpc1RpdGxlTGFiZWxDdXN0b21pemF0aW9uVGFyZ2V0LCBBbHR1YS5PYWsuQ29yZbkFrwEAxgVCQWx0dWEuT2FrLkNvcmUuUGxvdHRpbmcuQXhpc1RpdGxlTGFiZWxQbGFjZW1lbnRGYXIsIEFsdHVhLk9hay5Db3JlwQWxAQIAAM4FX0FsdHVhLk9hay5Db3JlLk1vZGlmaWNhdGlvbi5TdHlsaW5nLlNlcmllc0xhYmVsc1dpdGhQbG90S2luZEN1c3RvbWl6YXRpb25UYXJnZXQsIEFsdHVhLk9hay5Db3JlyQWzAQUFvAYIANYFPUFsdHVhLk9hay5Db3JlLlBsb3R0aW5nLkxhYmVsUGxhY2VtZW50T3V0c2lkZSwgQWx0dWEuT2FrLkNvcmXRBbUBANkFswEFBcAGCADdBaIBAOYFQUFsdHVhLk9hay5Db3JlLlBsb3R0aW5nLkF4aXNMYWJlbFBsYWNlbWVudE91dHNpZGUsIEFsdHVhLk9hay5Db3Jl4QW5AQIBAOkFpwEA7QWpAQD2BUZBbHR1YS5PYWsuQ29yZS5QbG90dGluZy5BdXhpbGlhcnlMYWJlbFBsYWNlbWVudERlZmF1bHQsIEFsdHVhLk9hay5Db3Jl8QW9AQD+BVBBbHR1YS5PYWsuQ29yZS5Nb2RpZmljYXRpb24uU3R5bGluZy5BbGxMYWJlbHNDdXN0b21pemF0aW9uVGFyZ2V0LCBBbHR1YS5PYWsuQ29yZfkFvwEAhgZCQWx0dWEuT2FrLkNvcmUuU3ludGF4U3RydWN0dXJlLkFjdHVhbEZvbnRTaXplVmFsdWUsIEFsdHVhLk9hay5Db3JlgQbBAQkDAAAAAAAAKECJBqIBAJIGQ0FsdHVhLk9hay5Db3JlLlN5bnRheFN0cnVjdHVyZS5BY3R1YWxGb250Q29sb3JWYWx1ZSwgQWx0dWEuT2FrLkNvcmWNBsQBBQXFBpcBlQavAQCZBsQBBQXJBpcBnQanAQChBsQBBQXNBpcBpQarAQCpBsQBBQXRBpcBrAYBBbAGCgECAACAQAAAQEC6BkhBbHR1YS5PYWsuQ29yZS5TeW50YXhTdHJ1Y3R1cmUuUGxvdFNlcmllc0JpbmRpbmdTdHJhdGVneSwgQWx0dWEuT2FrLkNvcmW1Bs4BALwGAgkKwAYBBcUGlwEEAAAIAMkGlwEEAAAIAM0GlwEEAAAIANEGlwEEAAAIAA=="/>
  <p:tag name="GRUNT-SYNC" val="7c7e173da3aa4054a873f7285c156c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175ace02-bcab-4eec-b8c2-286b13aeeafb"/>
  <p:tag name="GRUNT-X-RESOURCES" val="AQIFBAQEAgEA"/>
  <p:tag name="GRUNT-VERSION" val="20.23.267.0"/>
  <p:tag name="GRUNT-X-SHAPEBOUNDS" val="ASIBBAAAAAAAhHBAAAAAAADQZUAAAAAAAMBbQAAAAAAAADtAAA=="/>
  <p:tag name="GRUNT-X-PAGEOBJECT" val="AQUCswIKPkFsdHVhLk9hay5Db3JlLkRvY3VtZW50TW9kZWwuQ2hhcnRMZWdlbmRPYmplY3QsIEFsdHVhLk9hay5Db3JlBQI5BBIEEE5mpLGwrOZNhQqlTSpgjLEUEgQQT1m7KPd4/ECDcYmH8ToQ0C0MNRBEAgUUSABVGQdlIG0kDAQEAgUoEAIFLBQCAQAeUEFsdHVhLk9hay5Db3JlLkRvY3VtZW50TW9kZWwuVGVtcGxhdGluZy5DdXN0b21Qb3NpdGlvbkRlZmluaXRpb24sIEFsdHVhLk9hay5Db3JlGQckBCIBBAoAoAIAhHBAAAAAAADQZUAAAAAAAMBbQAAAAAAAADtAIAsFMAwFbmItTk8VNCQEAQEJASgCAQAsADAKBAEsDAEgFAJrcjQJBAVuYi1OTwgB"/>
  <p:tag name="GRUNT-SYNC" val="66ba84b6f4604293a34685ea1a15d071"/>
  <p:tag name="GRUNT-RENDERHASH" val="67a47045af86dad0cf7842191fa68cef-s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e080f601-861e-4829-9bd3-65ad29b393bb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iSMKN0FsdHVhLkRhdGEuRGF0YVNlcnZpY2VzLkVtYmVkZGVkRGF0YVNlcnZpY2UsIEFsdHVhLkRhdGEFAhkEEgQQNPgEC4iK/kK6yAIlAyallg0MJREFDAYFGAgMEAUWQUFsdHVhLkRhdGEuRGF0YVNlcnZpY2VzLkVtYmVkZGVkRGF0YVNlcnZpY2VFZGl0b3JEYXRhLCBBbHR1YS5EYXRhEQUEBRwNIBgGBSQNKBUsHB4dBBIEEB/rjDimIctLiTIXQgTfWDQLAAAAAAAgYkAgHh0EEgQQhB+R4huFNUGwuFZrPUlJDwsAAAAAAAAyQCQKMDQ4PEBESExQVCgDWFxgLN0KLAQoBBIEED0igOf6Y31Hih5BWzKXX8cMEgQQ+SxZ/v3fb0W5/mfTI9KrIw1kLAQoBBIEENqNKxB7T5pMmUYr804v+BwMEgQQX5eQl8Rau0KbEDAGcU7FWQ1oLAQoBBIEEOTyJ7HO8XpDmTV6priHw1IMEgQQ+SxZ/v3fb0W5/mfTI9KrIw1sLAQoBBIEEHWemJFcQytHgI2gyx3vlOMMEgQQX5eQl8Rau0KbEDAGcU7FWQ1wLAQoBBIEEB/rjDimIctLiTIXQgTfWDQMEgQQ6NwaFbIJ/EeQekLL/HFgWw10LAQoBBIEEDN2LlbKrM9DuJ/41/dD8iIMEgQQX5eQl8Rau0KbEDAGcU7FWQ14LAQoBBIEEB/rjDimIctLiTIXQgTfWDQMEgQQX5eQl8Rau0KbEDAGcU7FWQ18LQQoBBIEEDN2LlbKrM9DuJ/41/dD8iIMEgQQ6NwaFbIJ/EeQekLL/HFgWw2AAS0EKAQSBBA9IoDn+mN9R4oeQVsyl1/HDBIEEOjcGhWyCfxHkHpCy/xxYFsNhAEtBCgEEgQQWZ9h5liRP0iEKp689x5lRgwSBBBfl5CXxFq7QpsQMAZxTsVZDYgBLQQoBBIEEAwkJFjMOpdPum+AuNtVqc4MEgQQ+SxZ/v3fb0W5/mfTI9KrIw2MAS0EKAQSBBCUBD3yDvZSRbakKi3Cnsv1DBIEEPksWf79329Fuf5n0yPSqyMNkAEtBCgEEgQQ2o0rEHtPmkyZRivzTi/4HAwSBBD5LFn+/d9vRbn+Z9Mj0qsjDZQBLQQoBBIEEJQEPfIO9lJFtqQqLcKey/UMEgQQX5eQl8Rau0KbEDAGcU7FWQ2YAS0EKAQSBBB1npiRXEMrR4CNoMsd75TjDBIEEPksWf79329Fuf5n0yPSqyMNnAEtBCgEEgQQ03PxxBv3AU6gMvANYi0kOQwSBBBfl5CXxFq7QpsQMAZxTsVZDaABLQQoBBIEEFmfYeZYkT9IhCqevPceZUYMEgQQ6NwaFbIJ/EeQekLL/HFgWw2kAS0EKAQSBBAMJCRYzDqXT7pvgLjbVanODBIEEOjcGhWyCfxHkHpCy/xxYFsNqAEtBCgEEgQQlAQ98g72UkW2pCotwp7L9QwSBBDo3BoVsgn8R5B6Qsv8cWBbDawBLQQoBBIEENNz8cQb9wFOoDLwDWItJDkMEgQQ+SxZ/v3fb0W5/mfTI9KrIw2wAS0EKAQSBBDk8iexzvF6Q5k1eqa4h8NSDBIEEOjcGhWyCfxHkHpCy/xxYFsNtAEtBCgEEgQQ03PxxBv3AU6gMvANYi0kOQwSBBDo3BoVsgn8R5B6Qsv8cWBbDbgBLQQoBBIEEFmfYeZYkT9IhCqevPceZUYMEgQQ+SxZ/v3fb0W5/mfTI9KrIw28AS0EKAQSBBDk8iexzvF6Q5k1eqa4h8NSDBIEEF+XkJfEWrtCmxAwBnFOxVkNwAEtBCgEEgQQ2o0rEHtPmkyZRivzTi/4HAwSBBDo3BoVsgn8R5B6Qsv8cWBbDcQBLQQoBBIEEAwkJFjMOpdPum+AuNtVqc4MEgQQX5eQl8Rau0KbEDAGcU7FWQ3IAS0EKAQSBBA9IoDn+mN9R4oeQVsyl1/HDBIEEF+XkJfEWrtCmxAwBnFOxVkNzAEtBCgEEgQQH+uMOKYhy0uJMhdCBN9YNAwSBBD5LFn+/d9vRbn+Z9Mj0qsjDdABLQQoBBIEEDN2LlbKrM9DuJ/41/dD8iIMEgQQ+SxZ/v3fb0W5/mfTI9KrIw3UAS0EKAQSBBB1npiRXEMrR4CNoMsd75TjDBIEEOjcGhWyCfxHkHpCy/xxYFsN2AEwGgQSBBDajSsQe0+aTJlGK/NOL/gcDAJDMRAANBoEEgQQH+uMOKYhy0uJMhdCBN9YNAwCQzIQADgaBBIEEHWemJFcQytHgI2gyx3vlOMMAkMzEAA8GgQSBBAzdi5WyqzPQ7if+Nf3Q/IiDAJDNBAAQBoEEgQQWZ9h5liRP0iEKp689x5lRgwCQzUQAEQaBBIEEOTyJ7HO8XpDmTV6priHw1IMAkM2EABIGgQSBBDTc/HEG/cBTqAy8A1iLSQ5DAJDNxAATBoEEgQQPSKA5/pjfUeKHkFbMpdfxwwCQzgQAFAaBBIEEAwkJFjMOpdPum+AuNtVqc4MAkM5EABUGwQSBBCUBD3yDvZSRbakKi3Cnsv1DANDMTAQAFgaBBIEEF+XkJfEWrtCmxAwBnFOxVkMAlIxEABcGgQSBBDo3BoVsgn8R5B6Qsv8cWBbDAJSMhAAYBoEEgQQ+SxZ/v3fb0W5/mfTI9KrIwwCUjMQAGQGDdwBFeABaAYN3AEV5AFsBg3cARXoAXAGDdwBFewBdAYN3AEV8AF4Bg3cARX0AXwGDdwBFfgBgAEGDdwBFfwBhAEGDYACFYQCiAEGDdwBFYgCjAEGDdwBFYwCkAEGDdwBFZAClAEGDdwBFZQCmAEGDdwBFZgCnAEGDdwBFZwCoAEGDdwBFaACpAEGDYACFaQCqAEGDYACFagCrAEGDYACFawCsAEGDdwBFbACtAEGDYACFbQCuAEGDYACFbgCvAEGDdwBFbwCwAEGDdwBFcACxAEGDdwBFcQCyAEGDdwBFcgCzAEGDdwBFcwC0AEGDdwBFdAC1AEGDdwBFdQC2AEGDdwBFdgC3AECBADgAQUEAwXcAuQBBQQDBeAC6AEFBAMF5ALsAQUEAwXoAvABBQQDBewC9AEFBAMF8AL4AQUEAwX0AvwBBQQDBfgCgAICBACEAgUEAwX8AogCBQQDBYADjAIFBAMFhAOQAgUEAwWIA5QCBQQDBYwDmAIFBAMFkAOcAgUEAwWUA6ACBQQDBZgDpAIFBAMFnAOoAgUEAwWgA6wCBQQDBaQDsAIFBAMFqAO0AgUEAwWsA7gCBQQDBbADvAIFBAMFtAPAAgUEAwW4A8QCBQQDBbwDyAIFBAMFwAPMAgUEAwXEA9ACBQQDBcgD1AIFBAMFzAPYAgUEAwXQA9wCBQEB1QN24AICAQDkAgUBAd0DdugCBQEB4QN27AIFAQHlA3bwAgUBAekDdvQCBQEB7QN2+AIFAQHxA3b8AgUBAfUDdoADBQEB+QN2hAMFAQH9A3aIAwUBAYEEdowDBQEBhQR2kAMFAQGJBHaUAwUBAY0EdpgDBQEBkQR2nAMFAQGVBHagAwUBAZkEdqQDBQEBnQR2qAMFAQGhBHasAwUBAaUEdrADBQEBqQR2tAMFAQGtBHa4AwUBAbEEdrwDBQEBtQR2wAMFAQG5BHbEAwUBAb0EdsgDBQEBwQR2zAMFAQHFBHbQAwUBAckEdtoDL0FsdHVhLkRhdGEuSW5mcmFzdHJ1Y3R1cmUuUGFyYWdyYXBoLCBBbHR1YS5EYXRh1QN2BQwDBcwE3QN2BQwDBdAE4QN2BQwDBdQE5QN2BQwDBdgE6QN2BQwDBdwE7QN2BQwDBeAE8QN2BQwDBeQE9QN2BQwDBegE+QN2BQwDBewE/QN2BQwDBfAEgQR2BQwDBfQEhQR2BQwDBfgEiQR2BQwDBfwEjQR2BQwDBYAFkQR2BQwDBYQFlQR2BQwDBYgFmQR2BQwDBYwFnQR2BQwDBZAFoQR2BQwDBZQFpQR2BQwDBZgFqQR2BQwDBZwFrQR2BQwDBaAFsQR2BQwDBaQFtQR2BQwDBagFuQR2BQwDBawFvQR2BQwDBbAFwQR2BQwDBbQFxQR2BQwDBbgFyQR2BQwDBbwFzAQGAQHBBbEB0AQGAQHJBbEB1AQGAQHNBbQB2AQGAQHVBbEB3AQGAQHZBbQB4AQGAQHdBbQB5AQGAQHhBbEB6AQGAQHlBbEB7AQGAQHpBbQB8AQGAQHtBbEB9AQGAQHxBbEB+AQGAQH1BbEB/AQGAQH5BbQBgAUGAQH9BbEBhAUGAQGBBrQBiAUGAQGFBrEBjAUGAQGJBrEBkAUGAQGNBrEBlAUGAQGRBrEBmAUGAQGVBrEBnAUGAQGZBrEBoAUGAQGdBrEBpAUGAQGhBrQBqAUGAQGlBrEBrAUGAQGpBrQBsAUGAQGtBrQBtAUGAQGxBrEBuAUGAQG1BrEBvAUGAQG5BrEBxgUvQWx0dWEuRGF0YS5JbmZyYXN0cnVjdHVyZS5OdW1iZXJSdW4sIEFsdHVhLkRhdGHBBbEBEwQOA5qZmZmZGTZAHb0G0AENxAbJBbEBEwQOA5qZmZmZmTdAHb0G0AENxAbSBS1BbHR1YS5EYXRhLkluZnJhc3RydWN0dXJlLlRleHRSdW4sIEFsdHVhLkRhdGHNBbQBFgQRRmlza2VyaSAvIGhhdmJydWsNyAbVBbEBEwQOAwAAAAAAAD1AHb0G0AENxAbZBbQBDQQISW5kdXN0cmkNyAbdBbQBGQQUVHJhbnNwb3J0IG9nIGxhZ3JpbmcNzAbhBbEBEwQOAwAAAAAAAEJAHb0G0AENxAblBbEBEwQOAwAAAAAAADFAHb0G0AENxAbpBbQBGAQTSG90ZWxsIC8gcmVzdGF1cmFudA3MBu0FsQETBA4DZmZmZmbmNEAdvQbQAQ3EBvEFsQETBA4DMzMzMzOzMkAdvQbQAQ3EBvUFsQETBA4DAAAAAACgn0AdvQbQAQ3EBvkFtAEMBAdFaWVuZG9tDcwG/QWxARMEDgOamZmZmZk8QB29BtABDcQGgQa0ARkEFEpvcmRicnVrIG9nIHNrb2dicnVrDcwGhQaxARMEDgMAAAAAAAA2QB29BtABDcQGiQaxARMEDgMAAAAAAAA2QB29BtABDcQGjQaxARMEDgMAAAAAAAAyQB29BtABDcQGkQaxARMEDgNmZmZmZmY3QB29BtABDcQGlQaxARMEDgMAAAAAAAA8QB29BtABDcQGmQaxARMEDgMAAAAAAIBKQB29BtABDcQGnQaxARMEDgMzMzMzM7M5QB29BtABDcQGoQa0AQ8EClZhcmVoYW5kZWwNzAalBrEBEwQOAwAAAAAAnJ9AHb0G0AENxAapBrQBIwQeVGplbmVzdGV5dGluZyBvZyBrb21tdW5pa2Fzam9uDcwGrQa0ARMEDkJ5Z2cgb2cgYW5sZWdnDcwGsQaxARMEDgNmZmZmZiZEQB29BtABDcQGtQaxARMEDgNmZmZmZuY7QB29BtABDcQGuQaxARMEDgMAAAAAAAA1QB29BtABDcQGwgY9QWx0dWEuRGF0YS5OdW1iZXJGb3JtYXR0aW5nLkNvbXBvc2l0ZU51bWJlckZvcm1hdCwgQWx0dWEuRGF0Yb0G0AELHdAGJdQGNdgGPQDEBhIEABwAJAAsADQAPABMAFQAXQDIBhIEABwAJAAsADQAPABMAFQAXQDMBhIEABwAJAAsADQAPABMAFQAXQDQBgkAAAwDBdwGEQDUBgkAAAwDBeAGEQDYBgoEASwMAS4UAmty3AYGAQHlBtoB4AYKAQLtBtwB9QbaAeoGQkFsdHVhLkRhdGEuTnVtYmVyRm9ybWF0dGluZy5OdW1iZXJGb3JtYXRHZW5lcmFsU2VnbWVudCwgQWx0dWEuRGF0YeUG2gEA8gY/QWx0dWEuRGF0YS5OdW1iZXJGb3JtYXR0aW5nLk51bWJlckZvcm1hdFRleHRTZWdtZW50LCBBbHR1YS5EYXRh7QbcAQUEAS0JAfUG2gEA"/>
  <p:tag name="GRUNT-RENDERHASH" val="a3b353c2d614964983f30c10e2db9e8e-svg"/>
  <p:tag name="GRUNT-X-SHAPEBOUNDS" val="ASIBBAAAAAAAQERAAAAAQDPja0AAAAAAAG6LQAAAAEAzk25AAA=="/>
  <p:tag name="GRUNT-X-PAGEOBJECT" val="AQUCjisKOEFsdHVhLk9hay5Db3JlLkRvY3VtZW50TW9kZWwuQ2hhcnRPYmplY3QsIEFsdHVhLk9hay5Db3JlBQI1BBIEEKYrJxwQnoNBr4E4coqqdsoMEgQQNPgEC4iK/kK6yAIlAyallhUNBCUUNRg9HFUgZSQSUEFsdHVhLk9hay5Db3JlLkRvY3VtZW50TW9kZWwuVGVtcGxhdGluZy5DdXN0b21Qb3NpdGlvbkRlZmluaXRpb24sIEFsdHVhLk9hay5Db3JlDQQkBCIBBAAAAAAAYERAAAAAAADwbUD//////2mLQAAAAAAAoGZAFBMVKB0sNTA4AEU1DkwCBTxVQF1EGAQEAgVIHAIFTCALBVAMBW5iLU5PFVQkDgEBCQERARkBIQEpATEBKBYEEgQQAAAAAAAAAAAAAAAAAAAAAAgBLBYEEgQQAAAAAAAAAAAAAAAAAAAAAAgBMAA6R0FsdHVhLk9hay5Db3JlLkNoYXJ0LkNsdXN0ZXJlZEJhcldpdGhMaW5lUGxvdERlZmluaXRpb24sIEFsdHVhLk9hay5Db3JlNQ41BBIEEGmLC/k+zbpBqEi8akBDYAocAgVYJVw1YDwCBWRJAW1ojQFspQFwtQF1HrkBAMUBfSA8AgEAQAUFhAENAEQCAQBIAgEATABQCgQBLAwBIBQCa3JUCQQFbmItTk8IAVgEAQGIAVwNAAAIARQDBYwBHAAlAGAmBCIBBAAAAAAAABBAAAAAAAAAEEAAAAAAAAAQQAAAAAAAABBACARkAgEAaAsDAAAAAACATUAIIGwLAwAAAAAAABRACCBwSjWQAT2UAUWYAVWcAV2gAXWkAY0BqAGdAawBpQGwAa0BtAHNAbgB1QG8Ad0BwAHlAcQB7QHIAfUBzAH9AdABhQLUAY0C2AGVAtwBekVBbHR1YS5PYWsuQ29yZS5QbG90dGluZy5BdXRvbWF0aWNDYXRlZ29yeUF4aXNTZXR0aW5ncywgQWx0dWEuT2FrLkNvcmV1HhMBAQ3gARAAGQEwAD3kAUXoAUgBggE9QWx0dWEuT2FrLkNvcmUuVGhlbWluZy5QYWdlQ29sb3JTY2hlbWVQb2ludGVyLCBBbHR1YS5PYWsuQ29yZX0gAIQBAIgBQgEAGAMl7AEpADEAQABIAlXwAV30AWQSBBAbJ/dw7rL2QbbYgULrvSmHbfgBdfwBjQGAApEBAZ0BhAKlAYgCtQGMAowBAgEAkAEFBAMFkAKUAQUEAwWUApgBBQQDBZgCnAEFBAMFnAKgAQUEAwWQAqQBBQQDBZACqAEFBAMFoAKsAQUEAwWkArABBQQDBagCtAEFBAMFrAK4AQUEAwWwArwBBQQDBbQCwAEFBAMFuALEAQUEAwW8AsgBBQQDBcACzAEFBAMFxALQAQUEAwXIAtQBBQQDBcwC2AEFBAMF0ALcAQUEAwXUAuABAgEA5AEGBdkCVwgE6AEGBeECVwgE7AELAwAAAAAAAAAACALwAQsDAAAAAAAAAAAIAfQBCwMAAAAAAAAAAAgB+AEVBeQCDegCFewCHfACJfQCLfgCNfwC/AEHDYADFYUDV4ACCwMAAAAAAAAAAAgEhAIGBYkDVwgEiAIGBYkDVwgEjAIFBAMFjAOQAgIBAJQCDgEGkAOUA5gDnAOgA6QDmAIEAQGoA5wCAgEAoAICAQCkAgIBAKgCDAEFrAOwA7QDuAO8A6wCAgEAsAIOAQbAA8QDyAPMA9AD1AO0AhABB9gD3APgA+QD6APsA/ADuAICAQC8AgwBBfQD+AP8A4AEhATAAgoBBIgEjASQBJQExAICAQDIAgIBAMwCAgEA0AIEAQGYBNQCAgEA3gIzQWx0dWEuT2FrLkNvcmUuVGhlbWluZy5Db2xvclBvaW50ZXIsIEFsdHVhLk9hay5Db3Jl2QJXUFBQ/+ECV1BQUP/kAgcEAwQBAAgE6AIFBAEuCATsAgQAAQgE8AIEAAAIBPQCBAQACAT4AgQEAAgE/AIEAAAIBIADBQQDBZwEhQNXPj7l/4kDV1BQUP+MAwIBAJADDgWhBIkBCwAAAAAAAAAAlAMOBakEiwELAAAAAAAAAACYAw4FsQSNAQsAAAAAAADgP5wDDgW5BI8BCwAAAAAAAOA/oAMOBcEEkQELAAAAAAAA4D+kAw4FyQSTAQsAAAAAAAD4P6gDCAXRBJEBDdQErAMKBdkElwEN4QSZAbADCgXpBIkBDe0EnAG0AwoF9QSNAQ35BJwBuAMKBf0EjwENgQWcAbwDCQWFBaIBDY0FV8ADBwWRBaUBCQHEAwcFmQWnAQkAyAMHBaEFpQEJAcwDBwWlBaoBCQHQAwcFrQWsAQkB1AMHBbUFrgEJAdgDCgW9BbABDcUFsgHcAwoFzQW0AQ3VBbYB4AMKBd0FuAEN5QW6AeQDCgXtBbgBDeUFugHoAwoF8QWnAQ31Bb4B7AMKBf0FrAEN9QW+AfADCgWBBq4BDYUGwgH0AwoFjQbEAQ2VBsYB+AMKBZ0GyAENpQbGAfwDCgWpBsgBDa0GxgGABAoFsQbNAQ25BsYBhAQKBb0G0AENxQbGAYgECgXJBqcBDc0G1AGMBAoF1Qa0AQ3ZBtQBkAQKBd0GrAEN4QbUAZQECgXlBrABDekG1AGYBAoF7QbIAQ3xBt0BnAQEAQIBBKYEU0FsdHVhLk9hay5Db3JlLk1vZGlmaWNhdGlvbi5TdHlsaW5nLkFsbFZhbHVlQXhpc0N1c3RvbWl6YXRpb25UYXJnZXQsIEFsdHVhLk9hay5Db3JloQSJAQCuBFlBbHR1YS5PYWsuQ29yZS5Nb2RpZmljYXRpb24uU3R5bGluZy5WYWx1ZUF4aXNHcmlkbGluZXNDdXN0b21pemF0aW9uVGFyZ2V0LCBBbHR1YS5PYWsuQ29yZakEiwEAtgRTQWx0dWEuT2FrLkNvcmUuTW9kaWZpY2F0aW9uLlN0eWxpbmcuQ2F0ZWdvcnlBeGlzQ3VzdG9taXphdGlvblRhcmdldCwgQWx0dWEuT2FrLkNvcmWxBI0BAL4EUEFsdHVhLk9hay5Db3JlLk1vZGlmaWNhdGlvbi5TdHlsaW5nLk9yaWdvTGluZUN1c3RvbWl6YXRpb25UYXJnZXQsIEFsdHVhLk9hay5Db3JluQSPAQDGBF1BbHR1YS5PYWsuQ29yZS5Nb2RpZmljYXRpb24uU3R5bGluZy5BbGxDb25uZWN0b3JzQXV4aWxpYXJ5Q3VzdG9taXphdGlvblRhcmdldCwgQWx0dWEuT2FrLkNvcmXBBJEBAM4EWUFsdHVhLk9hay5Db3JlLk1vZGlmaWNhdGlvbi5TdHlsaW5nLlNlcmllc1dpdGhQbG90S2luZEN1c3RvbWl6YXRpb25UYXJnZXQsIEFsdHVhLk9hay5Db3JlyQSTAQMF+AbRBJEBANQEBQwDBfwG3gRWQWx0dWEuT2FrLkNvcmUuTW9kaWZpY2F0aW9uLlN0eWxpbmcuQWxsU2VyaWVzTWFya2VyQ3VzdG9taXphdGlvblRhcmdldCwgQWx0dWEuT2FrLkNvcmXZBJcBAOYEOkFsdHVhLk9hay5Db3JlLlRoZW1pbmcuQmluZGluZ0NvbG9yUG9pbnRlciwgQWx0dWEuT2FrLkNvcmXhBJkBBQWBB+EB6QSJAQDyBDdBbHR1YS5PYWsuQ29yZS5UaGVtaW5nLlBhZ2VDb2xvclBvaW50ZXIsIEFsdHVhLk9hay5Db3Jl7QScAQQAAAgA9QSNAQD5BJwBBAAACAD9BI8BAIEFnAEEAAAIAIoFU0FsdHVhLk9hay5Db3JlLk1vZGlmaWNhdGlvbi5TdHlsaW5nLkFsbEdyaWRsaW5lc0N1c3RvbWl6YXRpb25UYXJnZXQsIEFsdHVhLk9hay5Db3JlhQWiAQCNBVeAgID/lgVYQWx0dWEuT2FrLkNvcmUuTW9kaWZpY2F0aW9uLlN0eWxpbmcuU2VyaWVzTGFiZWxPZlR5cGVDdXN0b21pemF0aW9uVGFyZ2V0LCBBbHR1YS5PYWsuQ29yZZEFpQECAAKeBVhBbHR1YS5PYWsuQ29yZS5Nb2RpZmljYXRpb24uU3R5bGluZy5BbGxWYWx1ZUF4aXNMYWJlbEN1c3RvbWl6YXRpb25UYXJnZXQsIEFsdHVhLk9hay5Db3JlmQWnAQChBaUBAgAAqgVVQWx0dWEuT2FrLkNvcmUuTW9kaWZpY2F0aW9uLlN0eWxpbmcuQWxsVG90YWxMYWJlbHNDdXN0b21pemF0aW9uVGFyZ2V0LCBBbHR1YS5PYWsuQ29yZaUFqgEAsgVXQWx0dWEuT2FrLkNvcmUuTW9kaWZpY2F0aW9uLlN0eWxpbmcuQWxsQ2F0ZWdvcnlMYWJlbEN1c3RvbWl6YXRpb25UYXJnZXQsIEFsdHVhLk9hay5Db3JlrQWsAQC6BVhBbHR1YS5PYWsuQ29yZS5Nb2RpZmljYXRpb24uU3R5bGluZy5BbGxBdXhpbGlhcnlMYWJlbEN1c3RvbWl6YXRpb25UYXJnZXQsIEFsdHVhLk9hay5Db3JltQWuAQDCBVhBbHR1YS5PYWsuQ29yZS5Nb2RpZmljYXRpb24uU3R5bGluZy5DYXRlZ29yeUF4aXNUaXRsZUN1c3RvbWl6YXRpb25UYXJnZXQsIEFsdHVhLk9hay5Db3JlvQWwAQDKBUZBbHR1YS5PYWsuQ29yZS5QbG90dGluZy5BeGlzVGl0bGVMYWJlbFBsYWNlbWVudE91dHNpZGUsIEFsdHVhLk9hay5Db3JlxQWyAQIAAdIFXUFsdHVhLk9hay5Db3JlLk1vZGlmaWNhdGlvbi5TdHlsaW5nLkFsbFZhbHVlQXhpc1RpdGxlTGFiZWxDdXN0b21pemF0aW9uVGFyZ2V0LCBBbHR1YS5PYWsuQ29yZc0FtAEA2gVCQWx0dWEuT2FrLkNvcmUuUGxvdHRpbmcuQXhpc1RpdGxlTGFiZWxQbGFjZW1lbnRGYXIsIEFsdHVhLk9hay5Db3Jl1QW2AQIAAOIFX0FsdHVhLk9hay5Db3JlLk1vZGlmaWNhdGlvbi5TdHlsaW5nLlNlcmllc0xhYmVsc1dpdGhQbG90S2luZEN1c3RvbWl6YXRpb25UYXJnZXQsIEFsdHVhLk9hay5Db3Jl3QW4AQUFiAcIAOoFPUFsdHVhLk9hay5Db3JlLlBsb3R0aW5nLkxhYmVsUGxhY2VtZW50T3V0c2lkZSwgQWx0dWEuT2FrLkNvcmXlBboBAO0FuAEFBYwHCADxBacBAPoFQUFsdHVhLk9hay5Db3JlLlBsb3R0aW5nLkF4aXNMYWJlbFBsYWNlbWVudE91dHNpZGUsIEFsdHVhLk9hay5Db3Jl9QW+AQIBAP0FrAEAgQauAQCKBkZBbHR1YS5PYWsuQ29yZS5QbG90dGluZy5BdXhpbGlhcnlMYWJlbFBsYWNlbWVudERlZmF1bHQsIEFsdHVhLk9hay5Db3JlhQbCAQCSBlBBbHR1YS5PYWsuQ29yZS5Nb2RpZmljYXRpb24uU3R5bGluZy5BbGxMYWJlbHNDdXN0b21pemF0aW9uVGFyZ2V0LCBBbHR1YS5PYWsuQ29yZY0GxAEAmgZCQWx0dWEuT2FrLkNvcmUuU3ludGF4U3RydWN0dXJlLkFjdHVhbEZvbnRTaXplVmFsdWUsIEFsdHVhLk9hay5Db3JllQbGAQkDAAAAAAAAIkCiBlJBbHR1YS5PYWsuQ29yZS5Nb2RpZmljYXRpb24uU3R5bGluZy5TZXJpZXNMYWJlbEN1c3RvbWl6YXRpb25UYXJnZXQsIEFsdHVhLk9hay5Db3JlnQbIARYEEgQQ3hL/oLfjmVGNga5GutPNVQgApQbGAQkDAAAAAAAAKECpBsgBFgQSBBA5rqFLY+crUa/3h5kmPemoCACtBsYBCQMAAAAAAAAoQLYGU0FsdHVhLk9hay5Db3JlLk1vZGlmaWNhdGlvbi5TdHlsaW5nLkxlZ2VuZExhYmVsc0N1c3RvbWl6YXRpb25UYXJnZXQsIEFsdHVhLk9hay5Db3JlsQbNAQC5BsYBCQMAAAAAAAAoQMIGXkFsdHVhLk9hay5Db3JlLk1vZGlmaWNhdGlvbi5TdHlsaW5nLkFsbENhdGVnb3J5TGFiZWxPZkxldmVsQ3VzdG9taXphdGlvblRhcmdldCwgQWx0dWEuT2FrLkNvcmW9BtABBQ2RB+UBxQbGAQkDAAAAAAAAKEDJBqcBANIGQ0FsdHVhLk9hay5Db3JlLlN5bnRheFN0cnVjdHVyZS5BY3R1YWxGb250Q29sb3JWYWx1ZSwgQWx0dWEuT2FrLkNvcmXNBtQBBQWZB5wB1Qa0AQDZBtQBBQWdB5wB3QasAQDhBtQBBQWhB5wB5QawAQDpBtQBBQWlB5wB7QbIARYEEgQQ3hL/oLfjmVGNga5GutPNVQgA9gZGQWx0dWEuT2FrLkNvcmUuU3ludGF4U3RydWN0dXJlLkFjdHVhbE51bWJlckZvcm1hdFZhbHVlLCBBbHR1YS5PYWsuQ29yZfEG3QEFBakH6wH4BgEF/AYKAQIAAIBAAABAQIYHSEFsdHVhLk9hay5Db3JlLlN5bnRheFN0cnVjdHVyZS5QbG90U2VyaWVzQmluZGluZ1N0cmF0ZWd5LCBBbHR1YS5PYWsuQ29yZYEH4QEAiAcCCQqMBwEFlgc5QWx0dWEuT2FrLkNvcmUuUGxvdHRpbmcuQ2F0ZWdvcnlBeGlzTGV2ZWwsIEFsdHVhLk9hay5Db3JlkQflAQCZB5wBBAAACACdB5wBBAAACAChB5wBBAAACAClB5wBBAAACACuBz1BbHR1YS5EYXRhLk51bWJlckZvcm1hdHRpbmcuQ29tcG9zaXRlTnVtYmVyRm9ybWF0LCBBbHR1YS5EYXRhqQfrAQodsAcltAc1UD0AsAcJAAAMAwW4BxEAtAcJAAAMAwW8BxEAuAcGAQHBB/EBvAcKAQLJB/MB0QfxAcYHQEFsdHVhLkRhdGEuTnVtYmVyRm9ybWF0dGluZy5OdW1iZXJGb3JtYXRWYWx1ZVNlZ21lbnQsIEFsdHVhLkRhdGHBB/EBBQQDBdQHzgc/QWx0dWEuRGF0YS5OdW1iZXJGb3JtYXR0aW5nLk51bWJlckZvcm1hdFRleHRTZWdtZW50LCBBbHR1YS5EYXRhyQfzAQUEAS0JAdEH8QEFBAMF2AfUBwYBAd0H+AHYBwYBAd0H+AHiBzlBbHR1YS5EYXRhLk51bWJlckZvcm1hdHRpbmcuTnVtYmVyUGxhY2Vob2xkZXIsIEFsdHVhLkRhdGHdB/gBBQIwAAAA"/>
  <p:tag name="GRUNT-SYNC" val="a6ff83caac174427ba68e5cc920a364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175ace02-bcab-4eec-b8c2-286b13aeeafb"/>
  <p:tag name="GRUNT-X-RESOURCES" val="AQIFBAQEAgEA"/>
  <p:tag name="GRUNT-VERSION" val="20.23.267.0"/>
  <p:tag name="GRUNT-X-PAGEOBJECT" val="AQUCswIKPkFsdHVhLk9hay5Db3JlLkRvY3VtZW50TW9kZWwuQ2hhcnRMZWdlbmRPYmplY3QsIEFsdHVhLk9hay5Db3JlBQI5BBIEEJx4fMtV0MVBt9czikmVC0oUEgQQaYsL+T7NukGoSLxqQENgCi0MNRBEAgUUSABVGQdlIG0kDAQEAgUoEAIFLBQCAQAeUEFsdHVhLk9hay5Db3JlLkRvY3VtZW50TW9kZWwuVGVtcGxhdGluZy5DdXN0b21Qb3NpdGlvbkRlZmluaXRpb24sIEFsdHVhLk9hay5Db3JlGQckBCIBBAAAAAAAuG9AAAAAAABQZ0AAAAAAAMBbQAAAAAAAADtAIAsFMAwFbmItTk8VNCQEAQEJASgCAQAsADAKBAEsDAEgFAJrcjQJBAVuYi1OTwgB"/>
  <p:tag name="GRUNT-X-SHAPEBOUNDS" val="ASIBBAAAAAAAuG9AAAAAAABQZ0AAAAAAAMBbQAAAAAAAADtAAA=="/>
  <p:tag name="GRUNT-SYNC" val="f9b499438c7144ccadb0cbdace44d369"/>
  <p:tag name="GRUNT-RENDERHASH" val="92019a16cac244dfbc0b875e7c5dbea0-sv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b7d81e5b-4116-4b5b-8d39-6b498aa58cb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9CIKN0FsdHVhLkRhdGEuRGF0YVNlcnZpY2VzLkVtYmVkZGVkRGF0YVNlcnZpY2UsIEFsdHVhLkRhdGEFAhkEEgQQWtoYzzW8gUaJrifVEUJr8A0MJREFDAYFGAgMEAUWQUFsdHVhLkRhdGEuRGF0YVNlcnZpY2VzLkVtYmVkZGVkRGF0YVNlcnZpY2VFZGl0b3JEYXRhLCBBbHR1YS5EYXRhEQUEBRwNIBgGBSQNKBUsHB4dBBIEEB/rjDimIctLiTIXQgTfWDQLAAAAAAAgYkAgHh0EEgQQhB+R4huFNUGwuFZrPUlJDwsAAAAAAAAyQCQKMDQ4PEBESExQVCgDWFxgLN0KLAQoBBIEED0igOf6Y31Hih5BWzKXX8cMEgQQ+SxZ/v3fb0W5/mfTI9KrIw1kLAQoBBIEENqNKxB7T5pMmUYr804v+BwMEgQQX5eQl8Rau0KbEDAGcU7FWQ1oLAQoBBIEEOTyJ7HO8XpDmTV6priHw1IMEgQQ+SxZ/v3fb0W5/mfTI9KrIw1sLAQoBBIEEHWemJFcQytHgI2gyx3vlOMMEgQQX5eQl8Rau0KbEDAGcU7FWQ1wLAQoBBIEEB/rjDimIctLiTIXQgTfWDQMEgQQ6NwaFbIJ/EeQekLL/HFgWw10LAQoBBIEEDN2LlbKrM9DuJ/41/dD8iIMEgQQX5eQl8Rau0KbEDAGcU7FWQ14LAQoBBIEEB/rjDimIctLiTIXQgTfWDQMEgQQX5eQl8Rau0KbEDAGcU7FWQ18LQQoBBIEEDN2LlbKrM9DuJ/41/dD8iIMEgQQ6NwaFbIJ/EeQekLL/HFgWw2AAS0EKAQSBBA9IoDn+mN9R4oeQVsyl1/HDBIEEOjcGhWyCfxHkHpCy/xxYFsNhAEtBCgEEgQQWZ9h5liRP0iEKp689x5lRgwSBBBfl5CXxFq7QpsQMAZxTsVZDYgBLQQoBBIEEAwkJFjMOpdPum+AuNtVqc4MEgQQ+SxZ/v3fb0W5/mfTI9KrIw2MAS0EKAQSBBCUBD3yDvZSRbakKi3Cnsv1DBIEEPksWf79329Fuf5n0yPSqyMNkAEtBCgEEgQQ2o0rEHtPmkyZRivzTi/4HAwSBBD5LFn+/d9vRbn+Z9Mj0qsjDZQBLQQoBBIEEJQEPfIO9lJFtqQqLcKey/UMEgQQX5eQl8Rau0KbEDAGcU7FWQ2YAS0EKAQSBBB1npiRXEMrR4CNoMsd75TjDBIEEPksWf79329Fuf5n0yPSqyMNnAEtBCgEEgQQ03PxxBv3AU6gMvANYi0kOQwSBBBfl5CXxFq7QpsQMAZxTsVZDaABLQQoBBIEEFmfYeZYkT9IhCqevPceZUYMEgQQ6NwaFbIJ/EeQekLL/HFgWw2kAS0EKAQSBBAMJCRYzDqXT7pvgLjbVanODBIEEOjcGhWyCfxHkHpCy/xxYFsNqAEtBCgEEgQQlAQ98g72UkW2pCotwp7L9QwSBBDo3BoVsgn8R5B6Qsv8cWBbDawBLQQoBBIEENNz8cQb9wFOoDLwDWItJDkMEgQQ+SxZ/v3fb0W5/mfTI9KrIw2wAS0EKAQSBBDk8iexzvF6Q5k1eqa4h8NSDBIEEOjcGhWyCfxHkHpCy/xxYFsNtAEtBCgEEgQQ03PxxBv3AU6gMvANYi0kOQwSBBDo3BoVsgn8R5B6Qsv8cWBbDbgBLQQoBBIEEFmfYeZYkT9IhCqevPceZUYMEgQQ+SxZ/v3fb0W5/mfTI9KrIw28AS0EKAQSBBDk8iexzvF6Q5k1eqa4h8NSDBIEEF+XkJfEWrtCmxAwBnFOxVkNwAEtBCgEEgQQ2o0rEHtPmkyZRivzTi/4HAwSBBDo3BoVsgn8R5B6Qsv8cWBbDcQBLQQoBBIEEAwkJFjMOpdPum+AuNtVqc4MEgQQX5eQl8Rau0KbEDAGcU7FWQ3IAS0EKAQSBBA9IoDn+mN9R4oeQVsyl1/HDBIEEF+XkJfEWrtCmxAwBnFOxVkNzAEtBCgEEgQQH+uMOKYhy0uJMhdCBN9YNAwSBBD5LFn+/d9vRbn+Z9Mj0qsjDdABLQQoBBIEEDN2LlbKrM9DuJ/41/dD8iIMEgQQ+SxZ/v3fb0W5/mfTI9KrIw3UAS0EKAQSBBB1npiRXEMrR4CNoMsd75TjDBIEEOjcGhWyCfxHkHpCy/xxYFsN2AEwGgQSBBDajSsQe0+aTJlGK/NOL/gcDAJDMRAANBoEEgQQH+uMOKYhy0uJMhdCBN9YNAwCQzIQADgaBBIEEHWemJFcQytHgI2gyx3vlOMMAkMzEAA8GgQSBBAzdi5WyqzPQ7if+Nf3Q/IiDAJDNBAAQBoEEgQQWZ9h5liRP0iEKp689x5lRgwCQzUQAEQaBBIEEOTyJ7HO8XpDmTV6priHw1IMAkM2EABIGgQSBBDTc/HEG/cBTqAy8A1iLSQ5DAJDNxAATBoEEgQQPSKA5/pjfUeKHkFbMpdfxwwCQzgQAFAaBBIEEAwkJFjMOpdPum+AuNtVqc4MAkM5EABUGwQSBBCUBD3yDvZSRbakKi3Cnsv1DANDMTAQAFgaBBIEEF+XkJfEWrtCmxAwBnFOxVkMAlIxEABcGgQSBBDo3BoVsgn8R5B6Qsv8cWBbDAJSMhAAYBoEEgQQ+SxZ/v3fb0W5/mfTI9KrIwwCUjMQAGQGDdwBFeABaAYN3AEV5AFsBg3cARXoAXAGDdwBFewBdAYN3AEV8AF4Bg3cARX0AXwGDdwBFfgBgAEGDdwBFfwBhAEGDYACFYQCiAEGDdwBFYgCjAEGDdwBFYwCkAEGDdwBFZAClAEGDdwBFZQCmAEGDdwBFZgCnAEGDdwBFZwCoAEGDdwBFaACpAEGDYACFaQCqAEGDYACFagCrAEGDYACFawCsAEGDdwBFbACtAEGDYACFbQCuAEGDYACFbgCvAEGDdwBFbwCwAEGDdwBFcACxAEGDdwBFcQCyAEGDdwBFcgCzAEGDdwBFcwC0AEGDdwBFdAC1AEGDdwBFdQC2AEGDdwBFdgC3AECBADgAQUEAwXcAuQBBQQDBeAC6AEFBAMF5ALsAQUEAwXoAvABBQQDBewC9AEFBAMF8AL4AQUEAwX0AvwBBQQDBfgCgAICBACEAgUEAwX8AogCBQQDBYADjAIFBAMFhAOQAgUEAwWIA5QCBQQDBYwDmAIFBAMFkAOcAgUEAwWUA6ACBQQDBZgDpAIFBAMFnAOoAgUEAwWgA6wCBQQDBaQDsAIFBAMFqAO0AgUEAwWsA7gCBQQDBbADvAIFBAMFtAPAAgUEAwW4A8QCBQQDBbwDyAIFBAMFwAPMAgUEAwXEA9ACBQQDBcgD1AIFBAMFzAPYAgUEAwXQA9wCBQEB1QN24AICAQDkAgUBAd0DdugCBQEB4QN27AIFAQHlA3bwAgUBAekDdvQCBQEB7QN2+AIFAQHxA3b8AgUBAfUDdoADBQEB+QN2hAMFAQH9A3aIAwUBAYEEdowDBQEBhQR2kAMFAQGJBHaUAwUBAY0EdpgDBQEBkQR2nAMFAQGVBHagAwUBAZkEdqQDBQEBnQR2qAMFAQGhBHasAwUBAaUEdrADBQEBqQR2tAMFAQGtBHa4AwUBAbEEdrwDBQEBtQR2wAMFAQG5BHbEAwUBAb0EdsgDBQEBwQR2zAMFAQHFBHbQAwUBAckEdtoDL0FsdHVhLkRhdGEuSW5mcmFzdHJ1Y3R1cmUuUGFyYWdyYXBoLCBBbHR1YS5EYXRh1QN2BQwDBcwE3QN2BQwDBdAE4QN2BQwDBdQE5QN2BQwDBdgE6QN2BQwDBdwE7QN2BQwDBeAE8QN2BQwDBeQE9QN2BQwDBegE+QN2BQwDBewE/QN2BQwDBfAEgQR2BQwDBfQEhQR2BQwDBfgEiQR2BQwDBfwEjQR2BQwDBYAFkQR2BQwDBYQFlQR2BQwDBYgFmQR2BQwDBYwFnQR2BQwDBZAFoQR2BQwDBZQFpQR2BQwDBZgFqQR2BQwDBZwFrQR2BQwDBaAFsQR2BQwDBaQFtQR2BQwDBagFuQR2BQwDBawFvQR2BQwDBbAFwQR2BQwDBbQFxQR2BQwDBbgFyQR2BQwDBbwFzAQGAQHBBbEB0AQGAQHJBbEB1AQGAQHNBbQB2AQGAQHVBbEB3AQGAQHZBbQB4AQGAQHdBbQB5AQGAQHhBbEB6AQGAQHlBbEB7AQGAQHpBbQB8AQGAQHtBbEB9AQGAQHxBbEB+AQGAQH1BbEB/AQGAQH5BbQBgAUGAQH9BbEBhAUGAQGBBrQBiAUGAQGFBrEBjAUGAQGJBrEBkAUGAQGNBrEBlAUGAQGRBrEBmAUGAQGVBrEBnAUGAQGZBrEBoAUGAQGdBrEBpAUGAQGhBrQBqAUGAQGlBrEBrAUGAQGpBrQBsAUGAQGtBrQBtAUGAQGxBrEBuAUGAQG1BrEBvAUGAQG5BrEBxgUvQWx0dWEuRGF0YS5JbmZyYXN0cnVjdHVyZS5OdW1iZXJSdW4sIEFsdHVhLkRhdGHBBbEBEwQOAzMzMzMzMzRAHb0G0AENxAbJBbEBEwQOAwAAAAAAgDtAHb0G0AENxAbSBS1BbHR1YS5EYXRhLkluZnJhc3RydWN0dXJlLlRleHRSdW4sIEFsdHVhLkRhdGHNBbQBIwQeVGplbmVzdGV5dGluZyBvZyBrb21tdW5pa2Fzam9uDcgG1QWxARMEDgMAAAAAAIBCQB29BtABDcQG2QW0ARkEFEpvcmRicnVrIG9nIHNrb2dicnVrDcgG3QW0ARgEE0hvdGVsbCAvIHJlc3RhdXJhbnQNyAbhBbEBEwQOAwAAAAAAADVAHb0G0AENxAblBbEBEwQOAwAAAAAAADZAHb0G0AENxAbpBbQBDQQISW5kdXN0cmkNyAbtBbEBEwQOA2ZmZmZmZjNAHb0G0AENxAbxBbEBEwQOA5qZmZmZmTJAHb0G0AENxAb1BbEBEwQOAwAAAAAAoJ9AHb0G0AENxAb5BbQBEwQOQnlnZyBvZyBhbmxlZ2cNyAb9BbEBEwQOAzMzMzMzsz9AHb0G0AENxAaBBrQBDAQHRWllbmRvbQ3IBoUGsQETBA4DAAAAAAAAOEAdvQbQAQ3EBokGsQETBA4DAAAAAAAANkAdvQbQAQ3EBo0GsQETBA4DAAAAAAAANEAdvQbQAQ3EBpEGsQETBA4DzczMzMzMOEAdvQbQAQ3EBpUGsQETBA4DAAAAAAAALkAdvQbQAQ3EBpkGsQETBA4DAAAAAAAAOEAdvQbQAQ3EBp0GsQETBA4DmpmZmZkZPEAdvQbQAQ3EBqEGtAEPBApWYXJlaGFuZGVsDcgGpQaxARMEDgMAAAAAAJyfQB29BtABDcQGqQa0ARYEEUZpc2tlcmkgLyBoYXZicnVrDcgGrQa0ARkEFFRyYW5zcG9ydCBvZyBsYWdyaW5nDcgGsQaxARMEDgNmZmZmZiZJQB29BtABDcQGtQaxARMEDgOamZmZmRk/QB29BtABDcQGuQaxARMEDgMAAAAAAAAzQB29BtABDcQGwgY9QWx0dWEuRGF0YS5OdW1iZXJGb3JtYXR0aW5nLkNvbXBvc2l0ZU51bWJlckZvcm1hdCwgQWx0dWEuRGF0Yb0G0AELHcwGJdAGNdQGPQDEBhIEABwAJAAsADQAPABMAFQAXQDIBhIEABwAJAAsADQAPABMAFQAXQDMBgkAAAwDBdgGEQDQBgkAAAwDBdwGEQDUBgoEASwMAS4UAmty2AYGAQHhBtkB3AYKAQLpBtsB8QbZAeYGQkFsdHVhLkRhdGEuTnVtYmVyRm9ybWF0dGluZy5OdW1iZXJGb3JtYXRHZW5lcmFsU2VnbWVudCwgQWx0dWEuRGF0YeEG2QEA7gY/QWx0dWEuRGF0YS5OdW1iZXJGb3JtYXR0aW5nLk51bWJlckZvcm1hdFRleHRTZWdtZW50LCBBbHR1YS5EYXRh6QbbAQUEAS0JAfEG2QEA"/>
  <p:tag name="GRUNT-X-SHAPEBOUNDS" val="ASIBBAAAAAAA4EBAAAAAQDOzb0AAAAAgAOyLQAAAAEAzQ2xAAA=="/>
  <p:tag name="GRUNT-RENDERHASH" val="8cbc4ce5d2d5a702c6b60351fc864bd4-svg"/>
  <p:tag name="GRUNT-X-PAGEOBJECT" val="AQUCjisKOEFsdHVhLk9hay5Db3JlLkRvY3VtZW50TW9kZWwuQ2hhcnRPYmplY3QsIEFsdHVhLk9hay5Db3JlBQI1BBIEEPv98LA6WIdNv7hvFp+ZouIMEgQQWtoYzzW8gUaJrifVEUJr8BUNBCUUNRg9HFUgZSQSUEFsdHVhLk9hay5Db3JlLkRvY3VtZW50TW9kZWwuVGVtcGxhdGluZy5DdXN0b21Qb3NpdGlvbkRlZmluaXRpb24sIEFsdHVhLk9hay5Db3JlDQQkBCIBBAAAAAAAAEFAAAAAAADgcEAAAAAgAOiLQAAAAAAAUGRAFBMVKB0sNTA4AEU1DkwCBTxVQF1EGAQEAgVIHAIFTCALBVAMBW5iLU5PFVQkDgEBCQERARkBIQEpATEBKBYEEgQQAAAAAAAAAAAAAAAAAAAAAAgBLBYEEgQQAAAAAAAAAAAAAAAAAAAAAAgBMAA6R0FsdHVhLk9hay5Db3JlLkNoYXJ0LkNsdXN0ZXJlZEJhcldpdGhMaW5lUGxvdERlZmluaXRpb24sIEFsdHVhLk9hay5Db3JlNQ41BBIEEDiopM5OubJBgygvBX9J7N4cAgVYJVw1YDwCBWRJAW1ojQFspQFwtQF1HrkBAMUBfSA8AgEAQAUFhAENAEQCAQBIAgEATABQCgQBLAwBIBQCa3JUCQQFbmItTk8IAVgEAQGIAVwNAAAIARQDBYwBHAAlAGAmBCIBBAAAAAAAABBAAAAAAAAAEEAAAAAAAAAQQAAAAAAAABBACARkAgEAaAsDAAAAAACATUAIIGwLAwAAAAAAABRACCBwSjWQAT2UAUWYAVWcAV2gAXWkAY0BqAGdAawBpQGwAa0BtAHNAbgB1QG8Ad0BwAHlAcQB7QHIAfUBzAH9AdABhQLUAY0C2AGVAtwBekVBbHR1YS5PYWsuQ29yZS5QbG90dGluZy5BdXRvbWF0aWNDYXRlZ29yeUF4aXNTZXR0aW5ncywgQWx0dWEuT2FrLkNvcmV1HhMBAQ3gARAAGQEwAD3kAUXoAUgBggE9QWx0dWEuT2FrLkNvcmUuVGhlbWluZy5QYWdlQ29sb3JTY2hlbWVQb2ludGVyLCBBbHR1YS5PYWsuQ29yZX0gAIQBAIgBQgEAGAMl7AEpADEAQABIAlXwAV30AWQSBBBpxy4QWcGOSa42QOZCR1OjbfgBdfwBjQGAApEBAZ0BhAKlAYgCtQGMAowBAgEAkAEFBAMFkAKUAQUEAwWUApgBBQQDBZgCnAEFBAMFnAKgAQUEAwWQAqQBBQQDBZACqAEFBAMFoAKsAQUEAwWkArABBQQDBagCtAEFBAMFrAK4AQUEAwWwArwBBQQDBbQCwAEFBAMFuALEAQUEAwW8AsgBBQQDBcACzAEFBAMFxALQAQUEAwXIAtQBBQQDBcwC2AEFBAMF0ALcAQUEAwXUAuABAgEA5AEGBdkCVwgE6AEGBeECVwgE7AELAwAAAAAAAAAACALwAQsDAAAAAAAAAAAIAfQBCwMAAAAAAAAAAAgB+AEVBeQCDegCFewCHfACJfQCLfgCNfwC/AEHDYADFYUDV4ACCwMAAAAAAAAAAAgEhAIGBYkDVwgEiAIGBYkDVwgEjAIFBAMFjAOQAgIBAJQCDgEGkAOUA5gDnAOgA6QDmAIEAQGoA5wCAgEAoAICAQCkAgIBAKgCDAEFrAOwA7QDuAO8A6wCAgEAsAIOAQbAA8QDyAPMA9AD1AO0AhABB9gD3APgA+QD6APsA/ADuAICAQC8AgwBBfQD+AP8A4AEhATAAgoBBIgEjASQBJQExAICAQDIAgIBAMwCAgEA0AIEAQGYBNQCAgEA3gIzQWx0dWEuT2FrLkNvcmUuVGhlbWluZy5Db2xvclBvaW50ZXIsIEFsdHVhLk9hay5Db3Jl2QJXUFBQ/+ECV1BQUP/kAgcEAwQBAAgE6AIFBAEuCATsAgQAAQgE8AIEAAAIBPQCBAQACAT4AgQEAAgE/AIEAAAIBIADBQQDBZwEhQNXPj7l/4kDV1BQUP+MAwIBAJADDgWhBIkBCwAAAAAAAAAAlAMOBakEiwELAAAAAAAAAACYAw4FsQSNAQsAAAAAAADgP5wDDgW5BI8BCwAAAAAAAOA/oAMOBcEEkQELAAAAAAAA4D+kAw4FyQSTAQsAAAAAAAD4P6gDCAXRBJEBDdQErAMKBdkElwEN4QSZAbADCgXpBIkBDe0EnAG0AwoF9QSNAQ35BJwBuAMKBf0EjwENgQWcAbwDCQWFBaIBDY0FV8ADBwWRBaUBCQHEAwcFmQWnAQkAyAMHBaEFpQEJAcwDBwWlBaoBCQHQAwcFrQWsAQkB1AMHBbUFrgEJAdgDCgW9BbABDcUFsgHcAwoFzQW0AQ3VBbYB4AMKBd0FuAEN5QW6AeQDCgXtBbgBDeUFugHoAwoF8QWnAQ31Bb4B7AMKBf0FrAEN9QW+AfADCgWBBq4BDYUGwgH0AwoFjQbEAQ2VBsYB+AMKBZ0GyAENpQbGAfwDCgWpBsgBDa0GxgGABAoFsQbNAQ25BsYBhAQKBb0G0AENxQbGAYgECgXJBqcBDc0G1AGMBAoF1Qa0AQ3ZBtQBkAQKBd0GrAEN4QbUAZQECgXlBrABDekG1AGYBAoF7QbIAQ3xBt0BnAQEAQIBBKYEU0FsdHVhLk9hay5Db3JlLk1vZGlmaWNhdGlvbi5TdHlsaW5nLkFsbFZhbHVlQXhpc0N1c3RvbWl6YXRpb25UYXJnZXQsIEFsdHVhLk9hay5Db3JloQSJAQCuBFlBbHR1YS5PYWsuQ29yZS5Nb2RpZmljYXRpb24uU3R5bGluZy5WYWx1ZUF4aXNHcmlkbGluZXNDdXN0b21pemF0aW9uVGFyZ2V0LCBBbHR1YS5PYWsuQ29yZakEiwEAtgRTQWx0dWEuT2FrLkNvcmUuTW9kaWZpY2F0aW9uLlN0eWxpbmcuQ2F0ZWdvcnlBeGlzQ3VzdG9taXphdGlvblRhcmdldCwgQWx0dWEuT2FrLkNvcmWxBI0BAL4EUEFsdHVhLk9hay5Db3JlLk1vZGlmaWNhdGlvbi5TdHlsaW5nLk9yaWdvTGluZUN1c3RvbWl6YXRpb25UYXJnZXQsIEFsdHVhLk9hay5Db3JluQSPAQDGBF1BbHR1YS5PYWsuQ29yZS5Nb2RpZmljYXRpb24uU3R5bGluZy5BbGxDb25uZWN0b3JzQXV4aWxpYXJ5Q3VzdG9taXphdGlvblRhcmdldCwgQWx0dWEuT2FrLkNvcmXBBJEBAM4EWUFsdHVhLk9hay5Db3JlLk1vZGlmaWNhdGlvbi5TdHlsaW5nLlNlcmllc1dpdGhQbG90S2luZEN1c3RvbWl6YXRpb25UYXJnZXQsIEFsdHVhLk9hay5Db3JlyQSTAQMF+AbRBJEBANQEBQwDBfwG3gRWQWx0dWEuT2FrLkNvcmUuTW9kaWZpY2F0aW9uLlN0eWxpbmcuQWxsU2VyaWVzTWFya2VyQ3VzdG9taXphdGlvblRhcmdldCwgQWx0dWEuT2FrLkNvcmXZBJcBAOYEOkFsdHVhLk9hay5Db3JlLlRoZW1pbmcuQmluZGluZ0NvbG9yUG9pbnRlciwgQWx0dWEuT2FrLkNvcmXhBJkBBQWBB+EB6QSJAQDyBDdBbHR1YS5PYWsuQ29yZS5UaGVtaW5nLlBhZ2VDb2xvclBvaW50ZXIsIEFsdHVhLk9hay5Db3Jl7QScAQQAAAgA9QSNAQD5BJwBBAAACAD9BI8BAIEFnAEEAAAIAIoFU0FsdHVhLk9hay5Db3JlLk1vZGlmaWNhdGlvbi5TdHlsaW5nLkFsbEdyaWRsaW5lc0N1c3RvbWl6YXRpb25UYXJnZXQsIEFsdHVhLk9hay5Db3JlhQWiAQCNBVeAgID/lgVYQWx0dWEuT2FrLkNvcmUuTW9kaWZpY2F0aW9uLlN0eWxpbmcuU2VyaWVzTGFiZWxPZlR5cGVDdXN0b21pemF0aW9uVGFyZ2V0LCBBbHR1YS5PYWsuQ29yZZEFpQECAAKeBVhBbHR1YS5PYWsuQ29yZS5Nb2RpZmljYXRpb24uU3R5bGluZy5BbGxWYWx1ZUF4aXNMYWJlbEN1c3RvbWl6YXRpb25UYXJnZXQsIEFsdHVhLk9hay5Db3JlmQWnAQChBaUBAgAAqgVVQWx0dWEuT2FrLkNvcmUuTW9kaWZpY2F0aW9uLlN0eWxpbmcuQWxsVG90YWxMYWJlbHNDdXN0b21pemF0aW9uVGFyZ2V0LCBBbHR1YS5PYWsuQ29yZaUFqgEAsgVXQWx0dWEuT2FrLkNvcmUuTW9kaWZpY2F0aW9uLlN0eWxpbmcuQWxsQ2F0ZWdvcnlMYWJlbEN1c3RvbWl6YXRpb25UYXJnZXQsIEFsdHVhLk9hay5Db3JlrQWsAQC6BVhBbHR1YS5PYWsuQ29yZS5Nb2RpZmljYXRpb24uU3R5bGluZy5BbGxBdXhpbGlhcnlMYWJlbEN1c3RvbWl6YXRpb25UYXJnZXQsIEFsdHVhLk9hay5Db3JltQWuAQDCBVhBbHR1YS5PYWsuQ29yZS5Nb2RpZmljYXRpb24uU3R5bGluZy5DYXRlZ29yeUF4aXNUaXRsZUN1c3RvbWl6YXRpb25UYXJnZXQsIEFsdHVhLk9hay5Db3JlvQWwAQDKBUZBbHR1YS5PYWsuQ29yZS5QbG90dGluZy5BeGlzVGl0bGVMYWJlbFBsYWNlbWVudE91dHNpZGUsIEFsdHVhLk9hay5Db3JlxQWyAQIAAdIFXUFsdHVhLk9hay5Db3JlLk1vZGlmaWNhdGlvbi5TdHlsaW5nLkFsbFZhbHVlQXhpc1RpdGxlTGFiZWxDdXN0b21pemF0aW9uVGFyZ2V0LCBBbHR1YS5PYWsuQ29yZc0FtAEA2gVCQWx0dWEuT2FrLkNvcmUuUGxvdHRpbmcuQXhpc1RpdGxlTGFiZWxQbGFjZW1lbnRGYXIsIEFsdHVhLk9hay5Db3Jl1QW2AQIAAOIFX0FsdHVhLk9hay5Db3JlLk1vZGlmaWNhdGlvbi5TdHlsaW5nLlNlcmllc0xhYmVsc1dpdGhQbG90S2luZEN1c3RvbWl6YXRpb25UYXJnZXQsIEFsdHVhLk9hay5Db3Jl3QW4AQUFiAcIAOoFPUFsdHVhLk9hay5Db3JlLlBsb3R0aW5nLkxhYmVsUGxhY2VtZW50T3V0c2lkZSwgQWx0dWEuT2FrLkNvcmXlBboBAO0FuAEFBYwHCADxBacBAPoFQUFsdHVhLk9hay5Db3JlLlBsb3R0aW5nLkF4aXNMYWJlbFBsYWNlbWVudE91dHNpZGUsIEFsdHVhLk9hay5Db3Jl9QW+AQIBAP0FrAEAgQauAQCKBkZBbHR1YS5PYWsuQ29yZS5QbG90dGluZy5BdXhpbGlhcnlMYWJlbFBsYWNlbWVudERlZmF1bHQsIEFsdHVhLk9hay5Db3JlhQbCAQCSBlBBbHR1YS5PYWsuQ29yZS5Nb2RpZmljYXRpb24uU3R5bGluZy5BbGxMYWJlbHNDdXN0b21pemF0aW9uVGFyZ2V0LCBBbHR1YS5PYWsuQ29yZY0GxAEAmgZCQWx0dWEuT2FrLkNvcmUuU3ludGF4U3RydWN0dXJlLkFjdHVhbEZvbnRTaXplVmFsdWUsIEFsdHVhLk9hay5Db3JllQbGAQkDAAAAAAAAIkCiBlJBbHR1YS5PYWsuQ29yZS5Nb2RpZmljYXRpb24uU3R5bGluZy5TZXJpZXNMYWJlbEN1c3RvbWl6YXRpb25UYXJnZXQsIEFsdHVhLk9hay5Db3JlnQbIARYEEgQQ3hL/oLfjmVGNga5GutPNVQgApQbGAQkDAAAAAAAAKECpBsgBFgQSBBA5rqFLY+crUa/3h5kmPemoCACtBsYBCQMAAAAAAAAoQLYGU0FsdHVhLk9hay5Db3JlLk1vZGlmaWNhdGlvbi5TdHlsaW5nLkxlZ2VuZExhYmVsc0N1c3RvbWl6YXRpb25UYXJnZXQsIEFsdHVhLk9hay5Db3JlsQbNAQC5BsYBCQMAAAAAAAAoQMIGXkFsdHVhLk9hay5Db3JlLk1vZGlmaWNhdGlvbi5TdHlsaW5nLkFsbENhdGVnb3J5TGFiZWxPZkxldmVsQ3VzdG9taXphdGlvblRhcmdldCwgQWx0dWEuT2FrLkNvcmW9BtABBQ2RB+UBxQbGAQkDAAAAAAAAKEDJBqcBANIGQ0FsdHVhLk9hay5Db3JlLlN5bnRheFN0cnVjdHVyZS5BY3R1YWxGb250Q29sb3JWYWx1ZSwgQWx0dWEuT2FrLkNvcmXNBtQBBQWZB5wB1Qa0AQDZBtQBBQWdB5wB3QasAQDhBtQBBQWhB5wB5QawAQDpBtQBBQWlB5wB7QbIARYEEgQQ3hL/oLfjmVGNga5GutPNVQgA9gZGQWx0dWEuT2FrLkNvcmUuU3ludGF4U3RydWN0dXJlLkFjdHVhbE51bWJlckZvcm1hdFZhbHVlLCBBbHR1YS5PYWsuQ29yZfEG3QEFBakH6wH4BgEF/AYKAQIAAIBAAABAQIYHSEFsdHVhLk9hay5Db3JlLlN5bnRheFN0cnVjdHVyZS5QbG90U2VyaWVzQmluZGluZ1N0cmF0ZWd5LCBBbHR1YS5PYWsuQ29yZYEH4QEAiAcCCQqMBwEFlgc5QWx0dWEuT2FrLkNvcmUuUGxvdHRpbmcuQ2F0ZWdvcnlBeGlzTGV2ZWwsIEFsdHVhLk9hay5Db3JlkQflAQCZB5wBBAAACACdB5wBBAAACAChB5wBBAAACAClB5wBBAAACACuBz1BbHR1YS5EYXRhLk51bWJlckZvcm1hdHRpbmcuQ29tcG9zaXRlTnVtYmVyRm9ybWF0LCBBbHR1YS5EYXRhqQfrAQodsAcltAc1UD0AsAcJAAAMAwW4BxEAtAcJAAAMAwW8BxEAuAcGAQHBB/EBvAcKAQLJB/MB0QfxAcYHQEFsdHVhLkRhdGEuTnVtYmVyRm9ybWF0dGluZy5OdW1iZXJGb3JtYXRWYWx1ZVNlZ21lbnQsIEFsdHVhLkRhdGHBB/EBBQQDBdQHzgc/QWx0dWEuRGF0YS5OdW1iZXJGb3JtYXR0aW5nLk51bWJlckZvcm1hdFRleHRTZWdtZW50LCBBbHR1YS5EYXRhyQfzAQUEAS0JAdEH8QEFBAMF2AfUBwYBAd0H+AHYBwYBAd0H+AHiBzlBbHR1YS5EYXRhLk51bWJlckZvcm1hdHRpbmcuTnVtYmVyUGxhY2Vob2xkZXIsIEFsdHVhLkRhdGHdB/gBBQIwAAAA"/>
  <p:tag name="GRUNT-SYNC" val="c8b21f602f924d888b36aabd9847e47f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175ace02-bcab-4eec-b8c2-286b13aeeafb"/>
  <p:tag name="GRUNT-X-RESOURCES" val="AQIFBAQEAgEA"/>
  <p:tag name="GRUNT-VERSION" val="20.23.267.0"/>
  <p:tag name="GRUNT-X-SHAPEBOUNDS" val="ASIBBAAAAAAAuG9AAAAAAABQZ0AAAAAAAMBbQAAAAAAAADtAAA=="/>
  <p:tag name="GRUNT-RENDERHASH" val="92019a16cac244dfbc0b875e7c5dbea0-svg"/>
  <p:tag name="GRUNT-X-PAGEOBJECT" val="AQUCswIKPkFsdHVhLk9hay5Db3JlLkRvY3VtZW50TW9kZWwuQ2hhcnRMZWdlbmRPYmplY3QsIEFsdHVhLk9hay5Db3JlBQI5BBIEEEnD0W+o/tFCvaEEgln259IUEgQQOKikzk65skGDKC8Ff0ns3i0MNRBEAgUUSABVGQdlIG0kDAQEAgUoEAIFLBQCAQAeUEFsdHVhLk9hay5Db3JlLkRvY3VtZW50TW9kZWwuVGVtcGxhdGluZy5DdXN0b21Qb3NpdGlvbkRlZmluaXRpb24sIEFsdHVhLk9hay5Db3JlGQckBCIBBAAAAAAAuG9AAAAAAABQZ0AAAAAAAMBbQAAAAAAAADtAIAsFMAwFbmItTk8VNCQEAQEJASgCAQAsADAKBAEsDAEgFAJrcjQJBAVuYi1OTwgB"/>
  <p:tag name="GRUNT-SYNC" val="ebd3cc57fd2049b28f086c5ed8002d9b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f80dd60b-662a-49a0-8dcb-2668801cdf9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0hkKN0FsdHVhLkRhdGEuRGF0YVNlcnZpY2VzLkVtYmVkZGVkRGF0YVNlcnZpY2UsIEFsdHVhLkRhdGEFAhkEEgQQR3W3XmKGSU2iryGc+tpKdw0MJREFDAYFGAgMEAUWQUFsdHVhLkRhdGEuRGF0YVNlcnZpY2VzLkVtYmVkZGVkRGF0YVNlcnZpY2VFZGl0b3JEYXRhLCBBbHR1YS5EYXRhEQUEBRwNIBgGBSQNKBUsHB4dBBIEEB/rjDimIctLiTIXQgTfWDQLAAAAAAAgYkAgHh0EEgQQhB+R4huFNUGwuFZrPUlJDwsAAAAAAAAyQCQKMDQ4PEBESExQVCgCWFwskAcsBCgEEgQQPSKA5/pjfUeKHkFbMpdfxwwSBBD5LFn+/d9vRbn+Z9Mj0qsjDWAsBCgEEgQQ2o0rEHtPmkyZRivzTi/4HAwSBBBfl5CXxFq7QpsQMAZxTsVZDWQsBCgEEgQQ5PInsc7xekOZNXqmuIfDUgwSBBD5LFn+/d9vRbn+Z9Mj0qsjDWgsBCgEEgQQdZ6YkVxDK0eAjaDLHe+U4wwSBBBfl5CXxFq7QpsQMAZxTsVZDWwsBCgEEgQQM3YuVsqsz0O4n/jX90PyIgwSBBBfl5CXxFq7QpsQMAZxTsVZDXAsBCgEEgQQH+uMOKYhy0uJMhdCBN9YNAwSBBBfl5CXxFq7QpsQMAZxTsVZDXQsBCgEEgQQWZ9h5liRP0iEKp689x5lRgwSBBBfl5CXxFq7QpsQMAZxTsVZDXgsBCgEEgQQDCQkWMw6l0+6b4C421WpzgwSBBD5LFn+/d9vRbn+Z9Mj0qsjDXwtBCgEEgQQlAQ98g72UkW2pCotwp7L9QwSBBD5LFn+/d9vRbn+Z9Mj0qsjDYABLQQoBBIEENqNKxB7T5pMmUYr804v+BwMEgQQ+SxZ/v3fb0W5/mfTI9KrIw2EAS0EKAQSBBCUBD3yDvZSRbakKi3Cnsv1DBIEEF+XkJfEWrtCmxAwBnFOxVkNiAEtBCgEEgQQdZ6YkVxDK0eAjaDLHe+U4wwSBBD5LFn+/d9vRbn+Z9Mj0qsjDYwBLQQoBBIEENNz8cQb9wFOoDLwDWItJDkMEgQQX5eQl8Rau0KbEDAGcU7FWQ2QAS0EKAQSBBDTc/HEG/cBTqAy8A1iLSQ5DBIEEPksWf79329Fuf5n0yPSqyMNlAEtBCgEEgQQWZ9h5liRP0iEKp689x5lRgwSBBD5LFn+/d9vRbn+Z9Mj0qsjDZgBLQQoBBIEEOTyJ7HO8XpDmTV6priHw1IMEgQQX5eQl8Rau0KbEDAGcU7FWQ2cAS0EKAQSBBAMJCRYzDqXT7pvgLjbVanODBIEEF+XkJfEWrtCmxAwBnFOxVkNoAEtBCgEEgQQPSKA5/pjfUeKHkFbMpdfxwwSBBBfl5CXxFq7QpsQMAZxTsVZDaQBLQQoBBIEEB/rjDimIctLiTIXQgTfWDQMEgQQ+SxZ/v3fb0W5/mfTI9KrIw2oAS0EKAQSBBAzdi5WyqzPQ7if+Nf3Q/IiDBIEEPksWf79329Fuf5n0yPSqyMNrAEwGgQSBBDajSsQe0+aTJlGK/NOL/gcDAJDMRAANBoEEgQQH+uMOKYhy0uJMhdCBN9YNAwCQzIQADgaBBIEEHWemJFcQytHgI2gyx3vlOMMAkMzEAA8GgQSBBAzdi5WyqzPQ7if+Nf3Q/IiDAJDNBAAQBoEEgQQWZ9h5liRP0iEKp689x5lRgwCQzUQAEQaBBIEEOTyJ7HO8XpDmTV6priHw1IMAkM2EABIGgQSBBDTc/HEG/cBTqAy8A1iLSQ5DAJDNxAATBoEEgQQPSKA5/pjfUeKHkFbMpdfxwwCQzgQAFAaBBIEEAwkJFjMOpdPum+AuNtVqc4MAkM5EABUGwQSBBCUBD3yDvZSRbakKi3Cnsv1DANDMTAQAFgaBBIEEF+XkJfEWrtCmxAwBnFOxVkMAlIxEABcGgQSBBD5LFn+/d9vRbn+Z9Mj0qsjDAJSMxAAYAYNsAEVtAFkBg2wARW4AWgGDbABFbwBbAYNsAEVwAFwBg2wARXEAXQGDbABFcgBeAYNsAEVzAF8Bg2wARXQAYABBg2wARXUAYQBBg2wARXYAYgBBg2wARXcAYwBBg2wARXgAZABBg2wARXkAZQBBg2wARXoAZgBBg2wARXsAZwBBg2wARXwAaABBg2wARX0AaQBBg2wARX4AagBBg2wARX8AawBBg2wARWAArABAgQAtAEFBAMFhAK4AQUEAwWIArwBBQQDBYwCwAEFBAMFkALEAQUEAwWUAsgBBQQDBZgCzAEFBAMFnALQAQUEAwWgAtQBBQQDBaQC2AEFBAMFqALcAQUEAwWsAuABBQQDBbAC5AEFBAMFtALoAQUEAwW4AuwBBQQDBbwC8AEFBAMFwAL0AQUEAwXEAvgBBQQDBcgC/AEFBAMFzAKAAgUEAwXQAoQCBQEB1QJWiAICAQCMAgUBAd0CVpACBQEB4QJWlAIFAQHlAlaYAgUBAekCVpwCBQEB7QJWoAIFAQHxAlakAgUBAfUCVqgCBQEB+QJWrAIFAQH9AlawAgUBAYEDVrQCBQEBhQNWuAIFAQGJA1a8AgUBAY0DVsACBQEBkQNWxAIFAQGVA1bIAgUBAZkDVswCBQEBnQNW0AIFAQGhA1baAi9BbHR1YS5EYXRhLkluZnJhc3RydWN0dXJlLlBhcmFncmFwaCwgQWx0dWEuRGF0YdUCVgUMAwWkA90CVgUMAwWoA+ECVgUMAwWsA+UCVgUMAwWwA+kCVgUMAwW0A+0CVgUMAwW4A/ECVgUMAwW8A/UCVgUMAwXAA/kCVgUMAwXEA/0CVgUMAwXIA4EDVgUMAwXMA4UDVgUMAwXQA4kDVgUMAwXUA40DVgUMAwXYA5EDVgUMAwXcA5UDVgUMAwXgA5kDVgUMAwXkA50DVgUMAwXoA6EDVgUMAwXsA6QDBQEB8QN9qAMFAQH5A32sAwYBAf0DgAGwAwYBAYUEgAG0AwYBAYkEgAG4AwYBAY0EgAG8AwUBAZEEfcADBQEBlQR9xAMFAQGZBH3IAwYBAZ0EgAHMAwUBAaEEfdADBgEBpQSAAdQDBQEBqQR92AMFAQGtBH3cAwYBAbEEgAHgAwYBAbUEgAHkAwYBAbkEgAHoAwUBAb0EfewDBQEBwQR99gMvQWx0dWEuRGF0YS5JbmZyYXN0cnVjdHVyZS5OdW1iZXJSdW4sIEFsdHVhLkRhdGHxA30TBA4DAAAAAAAAOUAdxQSSAQ3MBPkDfRMEDgOamZmZmRk6QB3FBJIBDcwEggQtQWx0dWEuRGF0YS5JbmZyYXN0cnVjdHVyZS5UZXh0UnVuLCBBbHR1YS5EYXRh/QOAARkEFFRyYW5zcG9ydCBvZyBsYWdyaW5nDdAEhQSAAQ8EClZhcmVoYW5kZWwN0ASJBIABFgQRRmlza2VyaSAvIGhhdmJydWsN0ASNBIABGAQTSG90ZWxsIC8gcmVzdGF1cmFudA3QBJEEfRMEDgOamZmZmZk3QB3FBJIBDcwElQR9EwQOA83MzMzMTDdAHcUEkgENzASZBH0TBA4DAAAAAACgn0AdxQSSAQ3MBJ0EgAENBAhJbmR1c3RyaQ3QBKEEfRMEDgOamZmZmdlBQB3FBJIBDcwEpQSAAQwEB0VpZW5kb20N0ASpBH0TBA4DZmZmZmbmOUAdxQSSAQ3MBK0EfRMEDgMzMzMzMzNAQB3FBJIBDcwEsQSAASMEHlRqZW5lc3RleXRpbmcgb2cga29tbXVuaWthc2pvbg3QBLUEgAEZBBRKb3JkYnJ1ayBvZyBza29nYnJ1aw3QBLkEgAETBA5CeWdnIG9nIGFubGVnZw3QBL0EfRMEDgMzMzMzM7NFQB3FBJIBDcwEwQR9EwQOA2ZmZmZmpkBAHcUEkgENzATKBD1BbHR1YS5EYXRhLk51bWJlckZvcm1hdHRpbmcuQ29tcG9zaXRlTnVtYmVyRm9ybWF0LCBBbHR1YS5EYXRhxQSSAQsd1AQl2AQ13AQ9AMwEEgQAHAAkACwANAA8AEwAVABdANAEEgQAHAAkACwANAA8AEwAVABdANQECQAADAMF4AQRANgECQAADAMF5AQRANwECgQBLAwBLhQCa3LgBAYBAekEmwHkBAoBAvEEnQH5BJsB7gRCQWx0dWEuRGF0YS5OdW1iZXJGb3JtYXR0aW5nLk51bWJlckZvcm1hdEdlbmVyYWxTZWdtZW50LCBBbHR1YS5EYXRh6QSbAQD2BD9BbHR1YS5EYXRhLk51bWJlckZvcm1hdHRpbmcuTnVtYmVyRm9ybWF0VGV4dFNlZ21lbnQsIEFsdHVhLkRhdGHxBJ0BBQQBLQkB+QSbAQA="/>
  <p:tag name="GRUNT-RENDERHASH" val="09d1db7995bb68894e084760b8775016-svg"/>
  <p:tag name="GRUNT-X-SHAPEBOUNDS" val="ASIBBAAAAAAA4EBAAAAAQDMDbkAAAAAgAOyLQAAAAEAz821AAA=="/>
  <p:tag name="GRUNT-X-PAGEOBJECT" val="AQUCjisKOEFsdHVhLk9hay5Db3JlLkRvY3VtZW50TW9kZWwuQ2hhcnRPYmplY3QsIEFsdHVhLk9hay5Db3JlBQI1BBIEELXmBIO9xm1KsC59bKqnm0AMEgQQR3W3XmKGSU2iryGc+tpKdxUNBCUUNRg9HFUgZSQSUEFsdHVhLk9hay5Db3JlLkRvY3VtZW50TW9kZWwuVGVtcGxhdGluZy5DdXN0b21Qb3NpdGlvbkRlZmluaXRpb24sIEFsdHVhLk9hay5Db3JlDQQkBCIBBAAAAAAAAEFAAAAAAAAIcEAAAAAgAOiLQAAAAAAAAGZAFBMVKB0sNTA4AEU1DkwCBTxVQF1EGAQEAgVIHAIFTCALBVAMBW5iLU5PFVQkDgEBCQERARkBIQEpATEBKBYEEgQQAAAAAAAAAAAAAAAAAAAAAAgBLBYEEgQQAAAAAAAAAAAAAAAAAAAAAAgBMAA6R0FsdHVhLk9hay5Db3JlLkNoYXJ0LkNsdXN0ZXJlZEJhcldpdGhMaW5lUGxvdERlZmluaXRpb24sIEFsdHVhLk9hay5Db3JlNQ41BBIEEDxUCamoDqlEnrkTdOUoCrUcAgVYJVw1YDwCBWRJAW1ojQFspQFwtQF1HrkBAMUBfSA8AgEAQAUFhAENAEQCAQBIAgEATABQCgQBLAwBIBQCa3JUCQQFbmItTk8IAVgEAQGIAVwNAAAIARQDBYwBHAAlAGAmBCIBBAAAAAAAABBAAAAAAAAAEEAAAAAAAAAQQAAAAAAAABBACARkAgEAaAsDAAAAAACATUAIIGwLAwAAAAAAABRACCBwSjWQAT2UAUWYAVWcAV2gAXWkAY0BqAGdAawBpQGwAa0BtAHNAbgB1QG8Ad0BwAHlAcQB7QHIAfUBzAH9AdABhQLUAY0C2AGVAtwBekVBbHR1YS5PYWsuQ29yZS5QbG90dGluZy5BdXRvbWF0aWNDYXRlZ29yeUF4aXNTZXR0aW5ncywgQWx0dWEuT2FrLkNvcmV1HhMBAQ3gARAAGQEwAD3kAUXoAUgBggE9QWx0dWEuT2FrLkNvcmUuVGhlbWluZy5QYWdlQ29sb3JTY2hlbWVQb2ludGVyLCBBbHR1YS5PYWsuQ29yZX0gAIQBAIgBQgEAGAMl7AEpADEAQABIAlXwAV30AWQSBBAJF5zcXAW3QZbmvLu9e/PRbfgBdfwBjQGAApEBAZ0BhAKlAYgCtQGMAowBAgEAkAEFBAMFkAKUAQUEAwWUApgBBQQDBZgCnAEFBAMFnAKgAQUEAwWQAqQBBQQDBZACqAEFBAMFoAKsAQUEAwWkArABBQQDBagCtAEFBAMFrAK4AQUEAwWwArwBBQQDBbQCwAEFBAMFuALEAQUEAwW8AsgBBQQDBcACzAEFBAMFxALQAQUEAwXIAtQBBQQDBcwC2AEFBAMF0ALcAQUEAwXUAuABAgEA5AEGBdkCVwgE6AEGBeECVwgE7AELAwAAAAAAAAAACALwAQsDAAAAAAAAAAAIAfQBCwMAAAAAAAAAAAgB+AEVBeQCDegCFewCHfACJfQCLfgCNfwC/AEHDYADFYUDV4ACCwMAAAAAAAAAAAgEhAIGBYkDVwgEiAIGBYkDVwgEjAIFBAMFjAOQAgIBAJQCDgEGkAOUA5gDnAOgA6QDmAIEAQGoA5wCAgEAoAICAQCkAgIBAKgCDAEFrAOwA7QDuAO8A6wCAgEAsAIOAQbAA8QDyAPMA9AD1AO0AhABB9gD3APgA+QD6APsA/ADuAICAQC8AgwBBfQD+AP8A4AEhATAAgoBBIgEjASQBJQExAICAQDIAgIBAMwCAgEA0AIEAQGYBNQCAgEA3gIzQWx0dWEuT2FrLkNvcmUuVGhlbWluZy5Db2xvclBvaW50ZXIsIEFsdHVhLk9hay5Db3Jl2QJXUFBQ/+ECV1BQUP/kAgcEAwQBAAgE6AIFBAEuCATsAgQAAQgE8AIEAAAIBPQCBAQACAT4AgQEAAgE/AIEAAAIBIADBQQDBZwEhQNXPj7l/4kDV1BQUP+MAwIBAJADDgWhBIkBCwAAAAAAAAAAlAMOBakEiwELAAAAAAAAAACYAw4FsQSNAQsAAAAAAADgP5wDDgW5BI8BCwAAAAAAAOA/oAMOBcEEkQELAAAAAAAA4D+kAw4FyQSTAQsAAAAAAAD4P6gDCAXRBJEBDdQErAMKBdkElwEN4QSZAbADCgXpBIkBDe0EnAG0AwoF9QSNAQ35BJwBuAMKBf0EjwENgQWcAbwDCQWFBaIBDY0FV8ADBwWRBaUBCQHEAwcFmQWnAQkAyAMHBaEFpQEJAcwDBwWlBaoBCQHQAwcFrQWsAQkB1AMHBbUFrgEJAdgDCgW9BbABDcUFsgHcAwoFzQW0AQ3VBbYB4AMKBd0FuAEN5QW6AeQDCgXtBbgBDeUFugHoAwoF8QWnAQ31Bb4B7AMKBf0FrAEN9QW+AfADCgWBBq4BDYUGwgH0AwoFjQbEAQ2VBsYB+AMKBZ0GyAENpQbGAfwDCgWpBsgBDa0GxgGABAoFsQbNAQ25BsYBhAQKBb0G0AENxQbGAYgECgXJBqcBDc0G1AGMBAoF1Qa0AQ3ZBtQBkAQKBd0GrAEN4QbUAZQECgXlBrABDekG1AGYBAoF7QbIAQ3xBt0BnAQEAQIBBKYEU0FsdHVhLk9hay5Db3JlLk1vZGlmaWNhdGlvbi5TdHlsaW5nLkFsbFZhbHVlQXhpc0N1c3RvbWl6YXRpb25UYXJnZXQsIEFsdHVhLk9hay5Db3JloQSJAQCuBFlBbHR1YS5PYWsuQ29yZS5Nb2RpZmljYXRpb24uU3R5bGluZy5WYWx1ZUF4aXNHcmlkbGluZXNDdXN0b21pemF0aW9uVGFyZ2V0LCBBbHR1YS5PYWsuQ29yZakEiwEAtgRTQWx0dWEuT2FrLkNvcmUuTW9kaWZpY2F0aW9uLlN0eWxpbmcuQ2F0ZWdvcnlBeGlzQ3VzdG9taXphdGlvblRhcmdldCwgQWx0dWEuT2FrLkNvcmWxBI0BAL4EUEFsdHVhLk9hay5Db3JlLk1vZGlmaWNhdGlvbi5TdHlsaW5nLk9yaWdvTGluZUN1c3RvbWl6YXRpb25UYXJnZXQsIEFsdHVhLk9hay5Db3JluQSPAQDGBF1BbHR1YS5PYWsuQ29yZS5Nb2RpZmljYXRpb24uU3R5bGluZy5BbGxDb25uZWN0b3JzQXV4aWxpYXJ5Q3VzdG9taXphdGlvblRhcmdldCwgQWx0dWEuT2FrLkNvcmXBBJEBAM4EWUFsdHVhLk9hay5Db3JlLk1vZGlmaWNhdGlvbi5TdHlsaW5nLlNlcmllc1dpdGhQbG90S2luZEN1c3RvbWl6YXRpb25UYXJnZXQsIEFsdHVhLk9hay5Db3JlyQSTAQMF+AbRBJEBANQEBQwDBfwG3gRWQWx0dWEuT2FrLkNvcmUuTW9kaWZpY2F0aW9uLlN0eWxpbmcuQWxsU2VyaWVzTWFya2VyQ3VzdG9taXphdGlvblRhcmdldCwgQWx0dWEuT2FrLkNvcmXZBJcBAOYEOkFsdHVhLk9hay5Db3JlLlRoZW1pbmcuQmluZGluZ0NvbG9yUG9pbnRlciwgQWx0dWEuT2FrLkNvcmXhBJkBBQWBB+EB6QSJAQDyBDdBbHR1YS5PYWsuQ29yZS5UaGVtaW5nLlBhZ2VDb2xvclBvaW50ZXIsIEFsdHVhLk9hay5Db3Jl7QScAQQAAAgA9QSNAQD5BJwBBAAACAD9BI8BAIEFnAEEAAAIAIoFU0FsdHVhLk9hay5Db3JlLk1vZGlmaWNhdGlvbi5TdHlsaW5nLkFsbEdyaWRsaW5lc0N1c3RvbWl6YXRpb25UYXJnZXQsIEFsdHVhLk9hay5Db3JlhQWiAQCNBVeAgID/lgVYQWx0dWEuT2FrLkNvcmUuTW9kaWZpY2F0aW9uLlN0eWxpbmcuU2VyaWVzTGFiZWxPZlR5cGVDdXN0b21pemF0aW9uVGFyZ2V0LCBBbHR1YS5PYWsuQ29yZZEFpQECAAKeBVhBbHR1YS5PYWsuQ29yZS5Nb2RpZmljYXRpb24uU3R5bGluZy5BbGxWYWx1ZUF4aXNMYWJlbEN1c3RvbWl6YXRpb25UYXJnZXQsIEFsdHVhLk9hay5Db3JlmQWnAQChBaUBAgAAqgVVQWx0dWEuT2FrLkNvcmUuTW9kaWZpY2F0aW9uLlN0eWxpbmcuQWxsVG90YWxMYWJlbHNDdXN0b21pemF0aW9uVGFyZ2V0LCBBbHR1YS5PYWsuQ29yZaUFqgEAsgVXQWx0dWEuT2FrLkNvcmUuTW9kaWZpY2F0aW9uLlN0eWxpbmcuQWxsQ2F0ZWdvcnlMYWJlbEN1c3RvbWl6YXRpb25UYXJnZXQsIEFsdHVhLk9hay5Db3JlrQWsAQC6BVhBbHR1YS5PYWsuQ29yZS5Nb2RpZmljYXRpb24uU3R5bGluZy5BbGxBdXhpbGlhcnlMYWJlbEN1c3RvbWl6YXRpb25UYXJnZXQsIEFsdHVhLk9hay5Db3JltQWuAQDCBVhBbHR1YS5PYWsuQ29yZS5Nb2RpZmljYXRpb24uU3R5bGluZy5DYXRlZ29yeUF4aXNUaXRsZUN1c3RvbWl6YXRpb25UYXJnZXQsIEFsdHVhLk9hay5Db3JlvQWwAQDKBUZBbHR1YS5PYWsuQ29yZS5QbG90dGluZy5BeGlzVGl0bGVMYWJlbFBsYWNlbWVudE91dHNpZGUsIEFsdHVhLk9hay5Db3JlxQWyAQIAAdIFXUFsdHVhLk9hay5Db3JlLk1vZGlmaWNhdGlvbi5TdHlsaW5nLkFsbFZhbHVlQXhpc1RpdGxlTGFiZWxDdXN0b21pemF0aW9uVGFyZ2V0LCBBbHR1YS5PYWsuQ29yZc0FtAEA2gVCQWx0dWEuT2FrLkNvcmUuUGxvdHRpbmcuQXhpc1RpdGxlTGFiZWxQbGFjZW1lbnRGYXIsIEFsdHVhLk9hay5Db3Jl1QW2AQIAAOIFX0FsdHVhLk9hay5Db3JlLk1vZGlmaWNhdGlvbi5TdHlsaW5nLlNlcmllc0xhYmVsc1dpdGhQbG90S2luZEN1c3RvbWl6YXRpb25UYXJnZXQsIEFsdHVhLk9hay5Db3Jl3QW4AQUFiAcIAOoFPUFsdHVhLk9hay5Db3JlLlBsb3R0aW5nLkxhYmVsUGxhY2VtZW50T3V0c2lkZSwgQWx0dWEuT2FrLkNvcmXlBboBAO0FuAEFBYwHCADxBacBAPoFQUFsdHVhLk9hay5Db3JlLlBsb3R0aW5nLkF4aXNMYWJlbFBsYWNlbWVudE91dHNpZGUsIEFsdHVhLk9hay5Db3Jl9QW+AQIBAP0FrAEAgQauAQCKBkZBbHR1YS5PYWsuQ29yZS5QbG90dGluZy5BdXhpbGlhcnlMYWJlbFBsYWNlbWVudERlZmF1bHQsIEFsdHVhLk9hay5Db3JlhQbCAQCSBlBBbHR1YS5PYWsuQ29yZS5Nb2RpZmljYXRpb24uU3R5bGluZy5BbGxMYWJlbHNDdXN0b21pemF0aW9uVGFyZ2V0LCBBbHR1YS5PYWsuQ29yZY0GxAEAmgZCQWx0dWEuT2FrLkNvcmUuU3ludGF4U3RydWN0dXJlLkFjdHVhbEZvbnRTaXplVmFsdWUsIEFsdHVhLk9hay5Db3JllQbGAQkDAAAAAAAAIkCiBlJBbHR1YS5PYWsuQ29yZS5Nb2RpZmljYXRpb24uU3R5bGluZy5TZXJpZXNMYWJlbEN1c3RvbWl6YXRpb25UYXJnZXQsIEFsdHVhLk9hay5Db3JlnQbIARYEEgQQ3hL/oLfjmVGNga5GutPNVQgApQbGAQkDAAAAAAAAKECpBsgBFgQSBBA5rqFLY+crUa/3h5kmPemoCACtBsYBCQMAAAAAAAAoQLYGU0FsdHVhLk9hay5Db3JlLk1vZGlmaWNhdGlvbi5TdHlsaW5nLkxlZ2VuZExhYmVsc0N1c3RvbWl6YXRpb25UYXJnZXQsIEFsdHVhLk9hay5Db3JlsQbNAQC5BsYBCQMAAAAAAAAoQMIGXkFsdHVhLk9hay5Db3JlLk1vZGlmaWNhdGlvbi5TdHlsaW5nLkFsbENhdGVnb3J5TGFiZWxPZkxldmVsQ3VzdG9taXphdGlvblRhcmdldCwgQWx0dWEuT2FrLkNvcmW9BtABBQ2RB+UBxQbGAQkDAAAAAAAAKEDJBqcBANIGQ0FsdHVhLk9hay5Db3JlLlN5bnRheFN0cnVjdHVyZS5BY3R1YWxGb250Q29sb3JWYWx1ZSwgQWx0dWEuT2FrLkNvcmXNBtQBBQWZB5wB1Qa0AQDZBtQBBQWdB5wB3QasAQDhBtQBBQWhB5wB5QawAQDpBtQBBQWlB5wB7QbIARYEEgQQ3hL/oLfjmVGNga5GutPNVQgA9gZGQWx0dWEuT2FrLkNvcmUuU3ludGF4U3RydWN0dXJlLkFjdHVhbE51bWJlckZvcm1hdFZhbHVlLCBBbHR1YS5PYWsuQ29yZfEG3QEFBakH6wH4BgEF/AYKAQIAAIBAAABAQIYHSEFsdHVhLk9hay5Db3JlLlN5bnRheFN0cnVjdHVyZS5QbG90U2VyaWVzQmluZGluZ1N0cmF0ZWd5LCBBbHR1YS5PYWsuQ29yZYEH4QEAiAcCCQqMBwEFlgc5QWx0dWEuT2FrLkNvcmUuUGxvdHRpbmcuQ2F0ZWdvcnlBeGlzTGV2ZWwsIEFsdHVhLk9hay5Db3JlkQflAQCZB5wBBAAACACdB5wBBAAACAChB5wBBAAACAClB5wBBAAACACuBz1BbHR1YS5EYXRhLk51bWJlckZvcm1hdHRpbmcuQ29tcG9zaXRlTnVtYmVyRm9ybWF0LCBBbHR1YS5EYXRhqQfrAQodsAcltAc1UD0AsAcJAAAMAwW4BxEAtAcJAAAMAwW8BxEAuAcGAQHBB/EBvAcKAQLJB/MB0QfxAcYHQEFsdHVhLkRhdGEuTnVtYmVyRm9ybWF0dGluZy5OdW1iZXJGb3JtYXRWYWx1ZVNlZ21lbnQsIEFsdHVhLkRhdGHBB/EBBQQDBdQHzgc/QWx0dWEuRGF0YS5OdW1iZXJGb3JtYXR0aW5nLk51bWJlckZvcm1hdFRleHRTZWdtZW50LCBBbHR1YS5EYXRhyQfzAQUEAS0JAdEH8QEFBAMF2AfUBwYBAd0H+AHYBwYBAd0H+AHiBzlBbHR1YS5EYXRhLk51bWJlckZvcm1hdHRpbmcuTnVtYmVyUGxhY2Vob2xkZXIsIEFsdHVhLkRhdGHdB/gBBQIwAAAA"/>
  <p:tag name="GRUNT-SYNC" val="4f9a55394fe342a7b9856df4d7f3906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175ace02-bcab-4eec-b8c2-286b13aeeafb"/>
  <p:tag name="GRUNT-X-RESOURCES" val="AQIFBAQEAgEA"/>
  <p:tag name="GRUNT-VERSION" val="20.23.267.0"/>
  <p:tag name="GRUNT-RENDERHASH" val="0dd7cc33c3f69c92f60e75517b2a6c60-svg"/>
  <p:tag name="GRUNT-X-SHAPEBOUNDS" val="ASIBBAAAAAAADHBAAAAAAABwaEAAAAAAAMBbQAAAAAAAADtAAA=="/>
  <p:tag name="GRUNT-X-PAGEOBJECT" val="AQUCswIKPkFsdHVhLk9hay5Db3JlLkRvY3VtZW50TW9kZWwuQ2hhcnRMZWdlbmRPYmplY3QsIEFsdHVhLk9hay5Db3JlBQI5BBIEEFQiI9Yn/25Jtkl90N7/1a4UEgQQPFQJqagOqUSeuRN05SgKtS0MNRBEAgUUSABVGQdlIG0kDAQEAgUoEAIFLBQCAQAeUEFsdHVhLk9hay5Db3JlLkRvY3VtZW50TW9kZWwuVGVtcGxhdGluZy5DdXN0b21Qb3NpdGlvbkRlZmluaXRpb24sIEFsdHVhLk9hay5Db3JlGQckBCIBBAAAAAAADHBAAAAAAABwaEAAAAAAAMBbQAAAAAAAADtAIAsFMAwFbmItTk8VNCQEAQEJASgCAQAsADAKBAEsDAEgFAJrcjQJBAVuYi1OTwgB"/>
  <p:tag name="GRUNT-SYNC" val="6850fc0370044fe79f6eb97f2ba6a31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83d085dd-032a-4827-9b3f-2a06e4a3905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5xkKN0FsdHVhLkRhdGEuRGF0YVNlcnZpY2VzLkVtYmVkZGVkRGF0YVNlcnZpY2UsIEFsdHVhLkRhdGEFAhkEEgQQ/jifc54CCUi5LaGlkytqUw0MJREFDAYFGAgMEAUWQUFsdHVhLkRhdGEuRGF0YVNlcnZpY2VzLkVtYmVkZGVkRGF0YVNlcnZpY2VFZGl0b3JEYXRhLCBBbHR1YS5EYXRhEQUEBRwNIBgGBSQNKBUsHB4dBBIEEB/rjDimIctLiTIXQgTfWDQLAAAAAAAgYkAgHh0EEgQQhB+R4huFNUGwuFZrPUlJDwsAAAAAAAAyQCQKMDQ4PEBESExQVCgCWFwskAcsBCgEEgQQPSKA5/pjfUeKHkFbMpdfxwwSBBD5LFn+/d9vRbn+Z9Mj0qsjDWAsBCgEEgQQ2o0rEHtPmkyZRivzTi/4HAwSBBBfl5CXxFq7QpsQMAZxTsVZDWQsBCgEEgQQ5PInsc7xekOZNXqmuIfDUgwSBBD5LFn+/d9vRbn+Z9Mj0qsjDWgsBCgEEgQQdZ6YkVxDK0eAjaDLHe+U4wwSBBBfl5CXxFq7QpsQMAZxTsVZDWwsBCgEEgQQM3YuVsqsz0O4n/jX90PyIgwSBBBfl5CXxFq7QpsQMAZxTsVZDXAsBCgEEgQQH+uMOKYhy0uJMhdCBN9YNAwSBBBfl5CXxFq7QpsQMAZxTsVZDXQsBCgEEgQQWZ9h5liRP0iEKp689x5lRgwSBBBfl5CXxFq7QpsQMAZxTsVZDXgsBCgEEgQQDCQkWMw6l0+6b4C421WpzgwSBBD5LFn+/d9vRbn+Z9Mj0qsjDXwtBCgEEgQQlAQ98g72UkW2pCotwp7L9QwSBBD5LFn+/d9vRbn+Z9Mj0qsjDYABLQQoBBIEENqNKxB7T5pMmUYr804v+BwMEgQQ+SxZ/v3fb0W5/mfTI9KrIw2EAS0EKAQSBBCUBD3yDvZSRbakKi3Cnsv1DBIEEF+XkJfEWrtCmxAwBnFOxVkNiAEtBCgEEgQQdZ6YkVxDK0eAjaDLHe+U4wwSBBD5LFn+/d9vRbn+Z9Mj0qsjDYwBLQQoBBIEENNz8cQb9wFOoDLwDWItJDkMEgQQX5eQl8Rau0KbEDAGcU7FWQ2QAS0EKAQSBBDTc/HEG/cBTqAy8A1iLSQ5DBIEEPksWf79329Fuf5n0yPSqyMNlAEtBCgEEgQQWZ9h5liRP0iEKp689x5lRgwSBBD5LFn+/d9vRbn+Z9Mj0qsjDZgBLQQoBBIEEOTyJ7HO8XpDmTV6priHw1IMEgQQX5eQl8Rau0KbEDAGcU7FWQ2cAS0EKAQSBBAMJCRYzDqXT7pvgLjbVanODBIEEF+XkJfEWrtCmxAwBnFOxVkNoAEtBCgEEgQQPSKA5/pjfUeKHkFbMpdfxwwSBBBfl5CXxFq7QpsQMAZxTsVZDaQBLQQoBBIEEB/rjDimIctLiTIXQgTfWDQMEgQQ+SxZ/v3fb0W5/mfTI9KrIw2oAS0EKAQSBBAzdi5WyqzPQ7if+Nf3Q/IiDBIEEPksWf79329Fuf5n0yPSqyMNrAEwGgQSBBDajSsQe0+aTJlGK/NOL/gcDAJDMRAANBoEEgQQH+uMOKYhy0uJMhdCBN9YNAwCQzIQADgaBBIEEHWemJFcQytHgI2gyx3vlOMMAkMzEAA8GgQSBBAzdi5WyqzPQ7if+Nf3Q/IiDAJDNBAAQBoEEgQQWZ9h5liRP0iEKp689x5lRgwCQzUQAEQaBBIEEOTyJ7HO8XpDmTV6priHw1IMAkM2EABIGgQSBBDTc/HEG/cBTqAy8A1iLSQ5DAJDNxAATBoEEgQQPSKA5/pjfUeKHkFbMpdfxwwCQzgQAFAaBBIEEAwkJFjMOpdPum+AuNtVqc4MAkM5EABUGwQSBBCUBD3yDvZSRbakKi3Cnsv1DANDMTAQAFgaBBIEEF+XkJfEWrtCmxAwBnFOxVkMAlIxEABcGgQSBBD5LFn+/d9vRbn+Z9Mj0qsjDAJSMxAAYAYNsAEVtAFkBg2wARW4AWgGDbABFbwBbAYNsAEVwAFwBg2wARXEAXQGDbABFcgBeAYNsAEVzAF8Bg2wARXQAYABBg2wARXUAYQBBg2wARXYAYgBBg2wARXcAYwBBg2wARXgAZABBg2wARXkAZQBBg2wARXoAZgBBg2wARXsAZwBBg2wARXwAaABBg2wARX0AaQBBg2wARX4AagBBg2wARX8AawBBg2wARWAArABAgQAtAEFBAMFhAK4AQUEAwWIArwBBQQDBYwCwAEFBAMFkALEAQUEAwWUAsgBBQQDBZgCzAEFBAMFnALQAQUEAwWgAtQBBQQDBaQC2AEFBAMFqALcAQUEAwWsAuABBQQDBbAC5AEFBAMFtALoAQUEAwW4AuwBBQQDBbwC8AEFBAMFwAL0AQUEAwXEAvgBBQQDBcgC/AEFBAMFzAKAAgUEAwXQAoQCBQEB1QJWiAICAQCMAgUBAd0CVpACBQEB4QJWlAIFAQHlAlaYAgUBAekCVpwCBQEB7QJWoAIFAQHxAlakAgUBAfUCVqgCBQEB+QJWrAIFAQH9AlawAgUBAYEDVrQCBQEBhQNWuAIFAQGJA1a8AgUBAY0DVsACBQEBkQNWxAIFAQGVA1bIAgUBAZkDVswCBQEBnQNW0AIFAQGhA1baAi9BbHR1YS5EYXRhLkluZnJhc3RydWN0dXJlLlBhcmFncmFwaCwgQWx0dWEuRGF0YdUCVgUMAwWkA90CVgUMAwWoA+ECVgUMAwWsA+UCVgUMAwWwA+kCVgUMAwW0A+0CVgUMAwW4A/ECVgUMAwW8A/UCVgUMAwXAA/kCVgUMAwXEA/0CVgUMAwXIA4EDVgUMAwXMA4UDVgUMAwXQA4kDVgUMAwXUA40DVgUMAwXYA5EDVgUMAwXcA5UDVgUMAwXgA5kDVgUMAwXkA50DVgUMAwXoA6EDVgUMAwXsA6QDBQEB8QN9qAMFAQH5A32sAwYBAf0DgAGwAwYBAYUEgAG0AwYBAYkEgAG4AwYBAY0EgAG8AwUBAZEEfcADBQEBlQR9xAMFAQGZBH3IAwYBAZ0EgAHMAwUBAaEEfdADBgEBpQSAAdQDBQEBqQR92AMFAQGtBH3cAwYBAbEEgAHgAwYBAbUEgAHkAwYBAbkEgAHoAwUBAb0EfewDBQEBwQR99gMvQWx0dWEuRGF0YS5JbmZyYXN0cnVjdHVyZS5OdW1iZXJSdW4sIEFsdHVhLkRhdGHxA30TBA4DMzMzMzOzNUAdxQSSAQ3MBPkDfRMEDgNmZmZmZmY5QB3FBJIBDcwEggQtQWx0dWEuRGF0YS5JbmZyYXN0cnVjdHVyZS5UZXh0UnVuLCBBbHR1YS5EYXRh/QOAAQ0ECEluZHVzdHJpDdAEhQSAASMEHlRqZW5lc3RleXRpbmcgb2cga29tbXVuaWthc2pvbg3QBIkEgAEMBAdFaWVuZG9tDdAEjQSAARMEDkJ5Z2cgb2cgYW5sZWdnDdAEkQR9EwQOA83MzMzMTDFAHcUEkgENzASVBH0TBA4DzczMzMzMLEAdxQSSAQ3MBJkEfRMEDgMAAAAAAKCfQB3FBJIBDcwEnQSAARYEEUZpc2tlcmkgLyBoYXZicnVrDdAEoQR9EwQOA83MzMzMzDtAHcUEkgENzASlBIABDwQKVmFyZWhhbmRlbA3UBKkEfRMEDgPNzMzMzEw2QB3FBJIBDcwErQR9EwQOA83MzMzMTDpAHcUEkgENzASxBIABGAQTSG90ZWxsIC8gcmVzdGF1cmFudA3QBLUEgAEZBBRKb3JkYnJ1ayBvZyBza29nYnJ1aw3QBLkEgAEZBBRUcmFuc3BvcnQgb2cgbGFncmluZw3QBL0EfRMEDgPNzMzMzEw8QB3FBJIBDcwEwQR9EwQOAwAAAAAAADtAHcUEkgENzATKBD1BbHR1YS5EYXRhLk51bWJlckZvcm1hdHRpbmcuQ29tcG9zaXRlTnVtYmVyRm9ybWF0LCBBbHR1YS5EYXRhxQSSAQsd2AQl3AQ14AQ9AMwEEgQAHAAkACwANAA8AEwAVABdANAEEgQAHAAkACwANAA8AEwAVABdANQEEgQAHAAkACwANAA8AEwAVABdANgECQAADAMF5AQRANwECQAADAMF6AQRAOAECgQBLAwBLhQCa3LkBAYBAe0EnAHoBAoBAvUEngH9BJwB8gRCQWx0dWEuRGF0YS5OdW1iZXJGb3JtYXR0aW5nLk51bWJlckZvcm1hdEdlbmVyYWxTZWdtZW50LCBBbHR1YS5EYXRh7QScAQD6BD9BbHR1YS5EYXRhLk51bWJlckZvcm1hdHRpbmcuTnVtYmVyRm9ybWF0VGV4dFNlZ21lbnQsIEFsdHVhLkRhdGH1BJ4BBQQBLQkB/QScAQA="/>
  <p:tag name="GRUNT-X-SHAPEBOUNDS" val="ASIBBAAAAOBtJ3pAAAAAoA5Kc0AAAABgyR5/QAAAAIBB/WNAAA=="/>
  <p:tag name="GRUNT-RENDERHASH" val="a5900d857042a14037996cd83ba6dfaa-svg"/>
  <p:tag name="GRUNT-X-PAGEOBJECT" val="AQUCtjAKOEFsdHVhLk9hay5Db3JlLkRvY3VtZW50TW9kZWwuQ2hhcnRPYmplY3QsIEFsdHVhLk9hay5Db3JlBQI1BBIEEDCnBBjxNShIlfoPMRNS6soMEgQQ/jifc54CCUi5LaGlkytqUxUNBCUUNRg9HFUgZSQSUEFsdHVhLk9hay5Db3JlLkRvY3VtZW50TW9kZWwuVGVtcGxhdGluZy5DdXN0b21Qb3NpdGlvbkRlZmluaXRpb24sIEFsdHVhLk9hay5Db3JlDQQkBCIBBChJkuRtK3pAbtu21UE9dEAgSZJkyRZ/QHgAQIAcFFtAFBMVKB0sNTA4AEU1DkwCBTxVQF1EGAQEAgVIHAIFTCALBVAMBW5iLU5PFVQkDgEBCQERARkBIQEpATEBKBYEEgQQAAAAAAAAAAAAAAAAAAAAAAgBLBYEEgQQAAAAAAAAAAAAAAAAAAAAAAgBMAA6RUFsdHVhLk9hay5Db3JlLkNoYXJ0LlN0YWNrZWRCYXJXaXRoTGluZVBsb3REZWZpbml0aW9uLCBBbHR1YS5PYWsuQ29yZTUOMgQSBBD/lbnUwF68QrxUbl5Us6dHHAIFWCVcNWA8AgVkSQFtaKUBbRypAQC1AXUevQF8PAQBAYABQAUFhAENAEQCAQBIAgEATABQCgQBLAwBIBQCa3JUCQQFbmItTk8IAVgEAQGIAVwNAAAIARQDBYwBHAAlAGAmBCIBBAAAAAAAABBAAAAAAAAAEEAAAAAAAAAQQAAAAAAAABBACARkAgEAaAsDAAAAAAAATEAIIHJFQWx0dWEuT2FrLkNvcmUuUGxvdHRpbmcuQXV0b21hdGljQ2F0ZWdvcnlBeGlzU2V0dGluZ3MsIEFsdHVhLk9hay5Db3JlbRwTAQENkAEQABkBMAA9lAFFmAFIAXo9QWx0dWEuT2FrLkNvcmUuVGhlbWluZy5QYWdlQ29sb3JTY2hlbWVQb2ludGVyLCBBbHR1YS5PYWsuQ29yZXUeAHxKNZwBPaABRaQBVagBXawBdbABjQG0AZ0BuAGlAbwBrQHAAc0BxAHVAcgB3QHMAeUB0AHtAdQB9QHYAf0B3AGFAuABjQLkAZUC6AGAAUgEEgQQ+SxZ/v3fb0W5/mfTI9KrIyQSBBDeEv+gt+OZUY2Brka6081VLBIEEIeQbH7c2kdCgal4wimHzb897QE8RfQBSQFd+AGEAQCIAUIBABgDJfwBKQAxAEAASAJVgAJdhAJkEgQQh5BsftzaR0KBqXjCKYfNv22IAnWMAo0BkAKRAQGdAZQCpQGYArUBnAKMAQIBAJABAgEAlAEGBaECSQgEmAEGBakCSQgEnAEFBAMFrAKgAQUEAwWwAqQBBQQDBbQCqAEFBAMFuAKsAQUEAwWsArABBQQDBawCtAEFBAMFvAK4AQUEAwXAArwBBQQDBcQCwAEFBAMFyALEAQUEAwXMAsgBBQQDBdACzAEFBAMF1ALQAQUEAwXYAtQBBQQDBdwC2AEFBAMF4ALcAQUEAwXkAuABBQQDBegC5AEFBAMF7ALoAQUEAwXwAvIBPkFsdHVhLk9hay5Db3JlLkNoYXJ0LkRlZmF1bHRQbG90U2VyaWVzU2V0dGluZ3MsIEFsdHVhLk9hay5Db3Jl7QE8APQBBAUACAH4AQUF9AIIAfwBCwMAAAAAAAAAAAgCgAILAwAAAAAAAAAACAGEAgsDAAAAAAAAAAAIAYgCFQX4Ag38AhWAAx2EAyWIAy2MAzWQA4wCBw2UAxWZA0mQAgsDAAAAAAAAAAAIBJQCBgWdA0kIBJgCBgWdA0kIBJwCBQQDBaADpgIzQWx0dWEuT2FrLkNvcmUuVGhlbWluZy5Db2xvclBvaW50ZXIsIEFsdHVhLk9hay5Db3JloQJJUFBQ/6kCSVBQUP+sAgIBALACDgEGpAOoA6wDsAO0A7gDtAIEAQG8A7gCAgEAvAICAQDAAgIBAMQCDAEFwAPEA8gDzAPQA8gCAgEAzAIOAQbUA9gD3APgA+QD6APQAhQBCewD8AP0A/gD/AOABIQEiASMBNQCAgEA2AIGAQKQBJQE3AIKAQSYBJwEoASkBOACAgEA5AICAQDoAgIBAOwCCAEDqASsBLAE8AICAQD0AgUEAwW0BPgCBwQDBAEACAT8AgUEAS4IBIADBAABCASEAwQAAAgEiAMEBAAIBIwDBAQACASQAwQAAAgElAMFBAMFuASZA0k+PuX/nQNJUFBQ/6ADAgEApAMOBb0EkAELAAAAAAAAAACoAw4FxQSSAQsAAAAAAAAAAKwDDgXNBJQBCwAAAAAAAOA/sAMOBdUElgELAAAAAAAA4D+0Aw4F3QSYAQsAAAAAAADgP7gDDgXlBJoBCwAAAAAAAPg/vAMIBe0EmAEN8ATAAwoF9QSeAQ39BKABxAMKBYUFkAENiQWjAcgDCgWRBZQBDZUFowHMAwoFmQWWAQ2dBaMB0AMJBaEFqQENqQVJ1AMHBa0FrAEJANgDBwW1Ba4BCQHcAwcFvQWwAQkB4AMHBcUFsgEJAeQDBwXNBbQBCQHoAwcF1QW2AQkA7AMKBd0FuAEN5QW6AfADCgXtBbwBDfUFvgH0AwoF/QXAAQ2FBsIB+AMKBY0GwAENkQbFAfwDCgWZBrABDZEGxQGABAoFnQasAQ2hBskBhAQKBakGsgENoQbJAYgECgWtBrQBDbEGzQGMBAoFuQa2AQ29BtABkAQKBcUG0gENzQbUAZQECgXVBtYBDd0G1AGYBAoF4QasAQ3lBtoBnAQKBe0GvAEN8QbaAaAECgX1BrIBDfkG2gGkBAoF/Qa4AQ2BB9oBqAQKBYUHtgENiQfjAawECgWRB5ABDZUH4wGwBAoFmQewAQ2dB+MBtAQGAQGhB+kBuAQEAQIBBMIEU0FsdHVhLk9hay5Db3JlLk1vZGlmaWNhdGlvbi5TdHlsaW5nLkFsbFZhbHVlQXhpc0N1c3RvbWl6YXRpb25UYXJnZXQsIEFsdHVhLk9hay5Db3JlvQSQAQDKBFlBbHR1YS5PYWsuQ29yZS5Nb2RpZmljYXRpb24uU3R5bGluZy5WYWx1ZUF4aXNHcmlkbGluZXNDdXN0b21pemF0aW9uVGFyZ2V0LCBBbHR1YS5PYWsuQ29yZcUEkgEA0gRTQWx0dWEuT2FrLkNvcmUuTW9kaWZpY2F0aW9uLlN0eWxpbmcuQ2F0ZWdvcnlBeGlzQ3VzdG9taXphdGlvblRhcmdldCwgQWx0dWEuT2FrLkNvcmXNBJQBANoEUEFsdHVhLk9hay5Db3JlLk1vZGlmaWNhdGlvbi5TdHlsaW5nLk9yaWdvTGluZUN1c3RvbWl6YXRpb25UYXJnZXQsIEFsdHVhLk9hay5Db3Jl1QSWAQDiBF1BbHR1YS5PYWsuQ29yZS5Nb2RpZmljYXRpb24uU3R5bGluZy5BbGxDb25uZWN0b3JzQXV4aWxpYXJ5Q3VzdG9taXphdGlvblRhcmdldCwgQWx0dWEuT2FrLkNvcmXdBJgBAOoEWUFsdHVhLk9hay5Db3JlLk1vZGlmaWNhdGlvbi5TdHlsaW5nLlNlcmllc1dpdGhQbG90S2luZEN1c3RvbWl6YXRpb25UYXJnZXQsIEFsdHVhLk9hay5Db3Jl5QSaAQMFqAftBJgBAPAEBQwDBawH+gRWQWx0dWEuT2FrLkNvcmUuTW9kaWZpY2F0aW9uLlN0eWxpbmcuQWxsU2VyaWVzTWFya2VyQ3VzdG9taXphdGlvblRhcmdldCwgQWx0dWEuT2FrLkNvcmX1BJ4BAIIFOkFsdHVhLk9hay5Db3JlLlRoZW1pbmcuQmluZGluZ0NvbG9yUG9pbnRlciwgQWx0dWEuT2FrLkNvcmX9BKABBQWxB+0BhQWQAQCOBTdBbHR1YS5PYWsuQ29yZS5UaGVtaW5nLlBhZ2VDb2xvclBvaW50ZXIsIEFsdHVhLk9hay5Db3JliQWjAQQAAAgAkQWUAQCVBaMBBAAACACZBZYBAJ0FowEEAAAIAKYFU0FsdHVhLk9hay5Db3JlLk1vZGlmaWNhdGlvbi5TdHlsaW5nLkFsbEdyaWRsaW5lc0N1c3RvbWl6YXRpb25UYXJnZXQsIEFsdHVhLk9hay5Db3JloQWpAQCpBUmAgID/sgVYQWx0dWEuT2FrLkNvcmUuTW9kaWZpY2F0aW9uLlN0eWxpbmcuQWxsVmFsdWVBeGlzTGFiZWxDdXN0b21pemF0aW9uVGFyZ2V0LCBBbHR1YS5PYWsuQ29yZa0FrAEAugVmQWx0dWEuT2FrLkNvcmUuTW9kaWZpY2F0aW9uLlN0eWxpbmcuU3RhY2tlZEJhckF1dG9tYXRpY1NlZ21lbnRMYWJlbEN1c3RvbWl6YXRpb25UYXJnZXQsIEFsdHVhLk9hay5Db3JltQWuAQDCBVVBbHR1YS5PYWsuQ29yZS5Nb2RpZmljYXRpb24uU3R5bGluZy5BbGxUb3RhbExhYmVsc0N1c3RvbWl6YXRpb25UYXJnZXQsIEFsdHVhLk9hay5Db3JlvQWwAQDKBVdBbHR1YS5PYWsuQ29yZS5Nb2RpZmljYXRpb24uU3R5bGluZy5BbGxDYXRlZ29yeUxhYmVsQ3VzdG9taXphdGlvblRhcmdldCwgQWx0dWEuT2FrLkNvcmXFBbIBANIFWEFsdHVhLk9hay5Db3JlLk1vZGlmaWNhdGlvbi5TdHlsaW5nLkFsbEF1eGlsaWFyeUxhYmVsQ3VzdG9taXphdGlvblRhcmdldCwgQWx0dWEuT2FrLkNvcmXNBbQBANoFWEFsdHVhLk9hay5Db3JlLk1vZGlmaWNhdGlvbi5TdHlsaW5nLlNlcmllc0xhYmVsT2ZUeXBlQ3VzdG9taXphdGlvblRhcmdldCwgQWx0dWEuT2FrLkNvcmXVBbYBAgAC4gVYQWx0dWEuT2FrLkNvcmUuTW9kaWZpY2F0aW9uLlN0eWxpbmcuQ2F0ZWdvcnlBeGlzVGl0bGVDdXN0b21pemF0aW9uVGFyZ2V0LCBBbHR1YS5PYWsuQ29yZd0FuAEA6gVGQWx0dWEuT2FrLkNvcmUuUGxvdHRpbmcuQXhpc1RpdGxlTGFiZWxQbGFjZW1lbnRPdXRzaWRlLCBBbHR1YS5PYWsuQ29yZeUFugECAAHyBV1BbHR1YS5PYWsuQ29yZS5Nb2RpZmljYXRpb24uU3R5bGluZy5BbGxWYWx1ZUF4aXNUaXRsZUxhYmVsQ3VzdG9taXphdGlvblRhcmdldCwgQWx0dWEuT2FrLkNvcmXtBbwBAPoFQkFsdHVhLk9hay5Db3JlLlBsb3R0aW5nLkF4aXNUaXRsZUxhYmVsUGxhY2VtZW50RmFyLCBBbHR1YS5PYWsuQ29yZfUFvgECAACCBl9BbHR1YS5PYWsuQ29yZS5Nb2RpZmljYXRpb24uU3R5bGluZy5TZXJpZXNMYWJlbHNXaXRoUGxvdEtpbmRDdXN0b21pemF0aW9uVGFyZ2V0LCBBbHR1YS5PYWsuQ29yZf0FwAEFBbgHCACKBjxBbHR1YS5PYWsuQ29yZS5QbG90dGluZy5MYWJlbFBsYWNlbWVudEluc2lkZSwgQWx0dWEuT2FrLkNvcmWFBsIBBAABCAGNBsABBQW8BwgAlgY9QWx0dWEuT2FrLkNvcmUuUGxvdHRpbmcuTGFiZWxQbGFjZW1lbnRPdXRzaWRlLCBBbHR1YS5PYWsuQ29yZZEGxQEAmQawAQCdBqwBAKYGQUFsdHVhLk9hay5Db3JlLlBsb3R0aW5nLkF4aXNMYWJlbFBsYWNlbWVudE91dHNpZGUsIEFsdHVhLk9hay5Db3JloQbJAQIBAKkGsgEArQa0AQC2BkZBbHR1YS5PYWsuQ29yZS5QbG90dGluZy5BdXhpbGlhcnlMYWJlbFBsYWNlbWVudERlZmF1bHQsIEFsdHVhLk9hay5Db3JlsQbNAQC5BrYBAgACwgZDQWx0dWEuT2FrLkNvcmUuUGxvdHRpbmcuTGFiZWxQbGFjZW1lbnRTZXJpZXNPdXRzaWRlLCBBbHR1YS5PYWsuQ29yZb0G0AECAADKBlBBbHR1YS5PYWsuQ29yZS5Nb2RpZmljYXRpb24uU3R5bGluZy5BbGxMYWJlbHNDdXN0b21pemF0aW9uVGFyZ2V0LCBBbHR1YS5PYWsuQ29yZcUG0gEA0gZCQWx0dWEuT2FrLkNvcmUuU3ludGF4U3RydWN0dXJlLkFjdHVhbEZvbnRTaXplVmFsdWUsIEFsdHVhLk9hay5Db3JlzQbUAQkDAAAAAAAAJkDaBl5BbHR1YS5PYWsuQ29yZS5Nb2RpZmljYXRpb24uU3R5bGluZy5BbGxDYXRlZ29yeUxhYmVsT2ZMZXZlbEN1c3RvbWl6YXRpb25UYXJnZXQsIEFsdHVhLk9hay5Db3Jl1QbWAQUNwQfxAd0G1AEJAwAAAAAAACJA4QasAQDqBkNBbHR1YS5PYWsuQ29yZS5TeW50YXhTdHJ1Y3R1cmUuQWN0dWFsRm9udENvbG9yVmFsdWUsIEFsdHVhLk9hay5Db3Jl5QbaAQUFyQejAe0GvAEA8QbaAQUFzQejAfUGsgEA+QbaAQUF0QejAf0GuAEAgQfaAQUF1QejAYUHtgECAACOB0ZBbHR1YS5PYWsuQ29yZS5TeW50YXhTdHJ1Y3R1cmUuQWN0dWFsTnVtYmVyRm9ybWF0VmFsdWUsIEFsdHVhLk9hay5Db3JliQfjAQUF2Qf3AZEHkAEAlQfjAQUF2Qf3AZkHsAEAnQfjAQUF4Qf3AaYHL0FsdHVhLkRhdGEuSW5mcmFzdHJ1Y3R1cmUuUGFyYWdyYXBoLCBBbHR1YS5EYXRhoQfpAQUMAwXkB6gHAQWsBwoBAgAAgEAAAEBAtgdIQWx0dWEuT2FrLkNvcmUuU3ludGF4U3RydWN0dXJlLlBsb3RTZXJpZXNCaW5kaW5nU3RyYXRlZ3ksIEFsdHVhLk9hay5Db3JlsQftAQC4BwIAAbwHAQXGBzlBbHR1YS5PYWsuQ29yZS5QbG90dGluZy5DYXRlZ29yeUF4aXNMZXZlbCwgQWx0dWEuT2FrLkNvcmXBB/EBAMkHowEEAAAIAM0HowEEAAAIANEHowEEAAAIANUHowEEAAAIAN4HPUFsdHVhLkRhdGEuTnVtYmVyRm9ybWF0dGluZy5Db21wb3NpdGVOdW1iZXJGb3JtYXQsIEFsdHVhLkRhdGHZB/cBCh3oByXsBzVQPQDhB/cBCh3wByX0BzVQPQDkBwYBAfkH/wHoBwkAAAwDBYAIEQDsBwkAAAwDBYQIEQDwBwkAAAwDBYgIEQD0BwkAAAwDBYwIEQD+By9BbHR1YS5EYXRhLkluZnJhc3RydWN0dXJlLk51bWJlclJ1biwgQWx0dWEuRGF0YfkH/wETBA4DAAAAAACgn0AdkQj3AQ2UCIAIBgEBmQiHAoQICgECoQiJAqkIhwKICAYBAa0IhwKMCAoBAqEIiQKxCIcCkQj3AQsdtAgluAg1vAg9AJQIEgQAHAAkACwANAA8AEwAVABdAJ4IQEFsdHVhLkRhdGEuTnVtYmVyRm9ybWF0dGluZy5OdW1iZXJGb3JtYXRWYWx1ZVNlZ21lbnQsIEFsdHVhLkRhdGGZCIcCBQQDBcAIpgg/QWx0dWEuRGF0YS5OdW1iZXJGb3JtYXR0aW5nLk51bWJlckZvcm1hdFRleHRTZWdtZW50LCBBbHR1YS5EYXRhoQiJAgUEAS0JAakIhwIFBAMFxAitCIcCBQQDBcgIsQiHAgUEAwXMCLQICQAADAMF0AgRALgICQAADAMF1AgRALwICgQBLAwBLhQCa3LACA4BA9kIlwLhCJkC2QiXAsQIDgED2QiXAuEImQLZCJcCyAgGAQHZCJcCzAgGAQHZCJcC0AgGAQHpCJsC1AgKAQKhCIkC8QibAt4IOUFsdHVhLkRhdGEuTnVtYmVyRm9ybWF0dGluZy5OdW1iZXJQbGFjZWhvbGRlciwgQWx0dWEuRGF0YdkIlwIFAjAAAADmCD9BbHR1YS5EYXRhLk51bWJlckZvcm1hdHRpbmcuRGVjaW1hbFBvaW50UGxhY2Vob2xkZXIsIEFsdHVhLkRhdGHhCJkCAO4IQkFsdHVhLkRhdGEuTnVtYmVyRm9ybWF0dGluZy5OdW1iZXJGb3JtYXRHZW5lcmFsU2VnbWVudCwgQWx0dWEuRGF0YekImwIA8QibAgA="/>
  <p:tag name="GRUNT-SYNC" val="d56071b82deb43b89532cb78e020b7f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thYKN0FsdHVhLkRhdGEuRGF0YVNlcnZpY2VzLkVtYmVkZGVkRGF0YVNlcnZpY2UsIEFsdHVhLkRhdGEFAhkEEgQQj3LVVA5+REikCQZC2HyCOg0MJREFDAYFGAgNEAcWQUFsdHVhLkRhdGEuRGF0YVNlcnZpY2VzLkVtYmVkZGVkRGF0YVNlcnZpY2VFZGl0b3JEYXRhLCBBbHR1YS5EYXRhEQUEBRwNIBgGBSQNKBUsHDwdBBIEENNz8cQb9wFOoDLwDWItJDkLAAAAAAAAHEAdBBIEEB/rjDimIctLiTIXQgTfWDQLAAAAAAAgYkAgWh0EEgQQhB+R4huFNUGwuFZrPUlJDwsAAAAAAAAyQB0EEgQQ+SxZ/v3fb0W5/mfTI9KrIwsAAAAAAAAyQB0EEgQQF/fU+/rkS0KjMEQe6grewwsAAAAAAAAyQCQHMDQ4PEBESCgCTFAs+QQsBCgEEgQQ2o0rEHtPmkyZRivzTi/4HAwSBBBfl5CXxFq7QpsQMAZxTsVZDVQsBCgEEgQQH+uMOKYhy0uJMhdCBN9YNAwSBBAFt7nTtw70SZFkGE1GbkWsDVgsBCgEEgQQdZ6YkVxDK0eAjaDLHe+U4wwSBBBfl5CXxFq7QpsQMAZxTsVZDVwsBCgEEgQQM3YuVsqsz0O4n/jX90PyIgwSBBBfl5CXxFq7QpsQMAZxTsVZDWAsBCgEEgQQH+uMOKYhy0uJMhdCBN9YNAwSBBBfl5CXxFq7QpsQMAZxTsVZDWQsBCgEEgQQM3YuVsqsz0O4n/jX90PyIgwSBBAFt7nTtw70SZFkGE1GbkWsDWgsBCgEEgQQWZ9h5liRP0iEKp689x5lRgwSBBBfl5CXxFq7QpsQMAZxTsVZDWwsBCgEEgQQwqHEVOV/GEKGOrIB1QvRAQwSBBBfl5CXxFq7QpsQMAZxTsVZDXAsBCgEEgQQ2o0rEHtPmkyZRivzTi/4HAwSBBAFt7nTtw70SZFkGE1GbkWsDXQsBCgEEgQQdZ6YkVxDK0eAjaDLHe+U4wwSBBAFt7nTtw70SZFkGE1GbkWsDXgsBCgEEgQQWZ9h5liRP0iEKp689x5lRgwSBBAFt7nTtw70SZFkGE1GbkWsDXwtBCgEEgQQ5PInsc7xekOZNXqmuIfDUgwSBBAFt7nTtw70SZFkGE1GbkWsDYABLQQoBBIEEOTyJ7HO8XpDmTV6priHw1IMEgQQX5eQl8Rau0KbEDAGcU7FWQ2EAS0EKAQSBBDCocRU5X8YQoY6sgHVC9EBDBIEEAW3udO3DvRJkWQYTUZuRawNiAEwGgQSBBDajSsQe0+aTJlGK/NOL/gcDAJDMRAANBoEEgQQH+uMOKYhy0uJMhdCBN9YNAwCQzIQADgaBBIEEHWemJFcQytHgI2gyx3vlOMMAkMzEAA8GgQSBBAzdi5WyqzPQ7if+Nf3Q/IiDAJDNBAAQBoEEgQQWZ9h5liRP0iEKp689x5lRgwCQzUQAEQaBBIEEOTyJ7HO8XpDmTV6priHw1IMAkM2EABIGwQSBBDCocRU5X8YQoY6sgHVC9EBDANDMTIQAEwaBBIEEF+XkJfEWrtCmxAwBnFOxVkMAlIxEABQGgQSBBAFt7nTtw70SZFkGE1GbkWsDAJSNhAAVAYNjAEVkAFYBg2UARWYAVwGDYwBFZwBYAYNjAEVoAFkBg2MARWkAWgGDZQBFagBbAYNjAEVrAFwBg2wARW0AXQGDbgBFbwBeAYNlAEVwAF8Bg2UARXEAYABBg2UARXIAYQBBg2MARXMAYgBBg2wARXQAYwBAgQAkAEFBAMF1AGUAQIEAJgBBQQDBdgBnAEFBAMF3AGgAQUEAwXgAaQBBQQDBeQBqAEFBAMF6AGsAQUEAwXsAbABAgQAtAEFBAMF8AG4AQIEALwBBQQDBfQBwAEFBAMF+AHEAQUEAwX8AcgBBQQDBYACzAEFBAMFhALQAQUEAwWIAtQBAgEA2AEFAQGNAkTcAQUBAZUCROABBQEBmQJE5AEFAQGdAkToAQUBAaECROwBBQEBpQJE8AEFAQGpAkT0AQUBAa0CRPgBBQEBsQJE/AEFAQG1AkSAAgUBAbkCRIQCBQEBvQJEiAIFAQHBAkSSAi9BbHR1YS5EYXRhLkluZnJhc3RydWN0dXJlLlBhcmFncmFwaCwgQWx0dWEuRGF0YY0CRAUMAwXEApUCRAUMAwXIApkCRAUMAwXMAp0CRAUMAwXQAqECRAUMAwXUAqUCRAUMAwXYAqkCRAUMAwXcAq0CRAUMAwXgArECRAUMAwXkArUCRAUMAwXoArkCRAUMAwXsAr0CRAUMAwXwAsECRAUMAwX0AsQCBQEB+QJfyAIFAQGBA2HMAgUBAYkDYdACBQEBjQNh1AIFAQGRA1/YAgUBAZUDYdwCBQEBmQNh4AIFAQGdA1/kAgUBAaEDX+gCBQEBpQNf7AIFAQGpA1/wAgUBAa0DYfQCBQEBsQNf/gIvQWx0dWEuRGF0YS5JbmZyYXN0cnVjdHVyZS5OdW1iZXJSdW4sIEFsdHVhLkRhdGH5Al8SBA0DFu5yDYMkM0AdtQNuDbwDhgMtQWx0dWEuRGF0YS5JbmZyYXN0cnVjdHVyZS5UZXh0UnVuLCBBbHR1YS5EYXRhgQNhDQQIMy01IG1pbGwNwAOJA2EOBAk2LTIwIG1pbGwNwAONA2EWBBFNaW5kcmUgZW5uIDMgbWlsbA3EA5EDXxIEDQOBhKkie+M7QB21A24NvAOVA2EPBAoyMS01MCBtaWxsDcADmQNhEgQNT3ZlciAxMDAgbWlsbA3IA50DXxIEDQMAAAAAAKCfQB3NA24N0AOhA18SBA0DsJm8ZT+INkAdtQNuDbwDpQNfEgQNA+xr0cgTbzVAHbUDbg28A6kDXxIEDQP+HKHfhQM+QB21A24NvAOtA2EQBAs1MS0xMDAgbWlsbA3AA7EDXxIEDQNAKJwT9aNKQB21A24NvAO6Az1BbHR1YS5EYXRhLk51bWJlckZvcm1hdHRpbmcuQ29tcG9zaXRlTnVtYmVyRm9ybWF0LCBBbHR1YS5EYXRhtQNuCx3UAyXYAzXcAz0AvAMSBAAcACQALAA0ADwATABUAF0AwAMSBAAcACQALAA0ADwATABUAF0AxAMSBAAcACQALAA0ADwATABUAF0AyAMSBAAcACQALAA0ADwATABUAF0AzQNuCx3gAyXkAzXoAz0A0AMSBAAcACQALAA0ADwATABUAF0A1AMJAAAMAwXsAxEA2AMJAAAMAwXwAxEA3AMKBAEsDAEuFAJrcuADCQAADAMF9AMRAOQDCQAADAMF+AMRAOgDCgQBLAwBLhQCa3LsAwYBAf0DgAHwAwoBAoUEggGNBIAB9AMGAQGRBIUB+AMKAQKZBIIBkQSFAYIEQkFsdHVhLkRhdGEuTnVtYmVyRm9ybWF0dGluZy5OdW1iZXJGb3JtYXRHZW5lcmFsU2VnbWVudCwgQWx0dWEuRGF0Yf0DgAEAigQ/QWx0dWEuRGF0YS5OdW1iZXJGb3JtYXR0aW5nLk51bWJlckZvcm1hdFRleHRTZWdtZW50LCBBbHR1YS5EYXRhhQSCAQUEAS0JAY0EgAEAlgRAQWx0dWEuRGF0YS5OdW1iZXJGb3JtYXR0aW5nLk51bWJlckZvcm1hdFZhbHVlU2VnbWVudCwgQWx0dWEuRGF0YZEEhQEFBAMFnASZBIIBBQQBLQkBnAQGAQGhBIkBpgQ5QWx0dWEuRGF0YS5OdW1iZXJGb3JtYXR0aW5nLk51bWJlclBsYWNlaG9sZGVyLCBBbHR1YS5EYXRhoQSJAQUCMAAAAA=="/>
  <p:tag name="GRUNT-RENDERHASH" val="c3e34b9f2098101bbe95e28cdaa180c3-svg"/>
  <p:tag name="GRUNT-X-SHAPEBOUNDS" val="ASIBBAAAAECMuU5AAAAAwEiEbUAAAACAJO9wQAAAAKCvZm5AAA=="/>
  <p:tag name="GRUNT-X-PAGEOBJECT" val="AQUClTQKOEFsdHVhLk9hay5Db3JlLkRvY3VtZW50TW9kZWwuQ2hhcnRPYmplY3QsIEFsdHVhLk9hay5Db3JlBQI1BBIEEJps5Z818HdBvk3c5PYYRJUMEgQQj3LVVA5+REikCQZC2HyCOhUNBCUUNRg9HFUgZSQSUEFsdHVhLk9hay5Db3JlLkRvY3VtZW50TW9kZWwuVGVtcGxhdGluZy5DdXN0b21Qb3NpdGlvbkRlZmluaXRpb24sIEFsdHVhLk9hay5Db3JlDQQkBCIBBHCUJCXGHFBA8LYNwUjkbUB4//98JI9wQCgAgCpJIGhAFBMVKB0sNTA4AEU1DkwCBTxVQF1EGAQEAgVIHAIFTCALBVAMBW5iLU5PFVQkDgEBCQERARkBIQEpATEBKBYEEgQQAAAAAAAAAAAAAAAAAAAAAAgBLBYEEgQQAAAAAAAAAAAAAAAAAAAAAAgBMAA6N0FsdHVhLk9hay5Db3JlLkNoYXJ0LkxpbmVQbG90RGVmaW5pdGlvbiwgQWx0dWEuT2FrLkNvcmU1DkYAAAgEJVg8EgQQ48nsuiExlU2NbvnKCQEKR0QCBVxVYFkBcwAAAAAAAPA/fAIFZIUBaRuRAQGdAXClAXUeqQEAtQF8uQEAPAYBAoABhAFABQWIAQ0ARAIBAEgCAQBMAFAKBAEsDAEgFAJrclQJBAVuYi1OTwgBWA0AAAgBFAMFjAEcACUAXAIBAGAmBCIBBAAAAAAAABBAAAAAAAAAEEAAAAAAAAAQQAAAAAAAABBACARkBAEBkAFuRUFsdHVhLk9hay5Db3JlLlBsb3R0aW5nLkF1dG9tYXRpY0NhdGVnb3J5QXhpc1NldHRpbmdzLCBBbHR1YS5PYWsuQ29yZWkbEwEBDZQBEAAZATAAPZgBRZwBSAFwBgWhASkIAno9QWx0dWEuT2FrLkNvcmUuVGhlbWluZy5QYWdlQ29sb3JTY2hlbWVQb2ludGVyLCBBbHR1YS5PYWsuQ29yZXUeAHxKNagBPawBRbABVbQBXbgBdbwBjQHAAZ0BxAGlAcgBrQHMAc0B0AHVAdQB3QHYAeUB3AHtAeAB9QHkAf0B6AGFAuwBjQLwAZUC9AGAAUgEEgQQF/fU+/rkS0KjMEQe6grewyQSBBCfU7i5Q7LmTYqjngpAomrSLBIEECycaDRGLgpKo4/NaJmsIaI9+QE/RYACSQFdhAKEAUgEEgQQBbe507cO9EmRZBhNRm5FrCQSBBB9aSDeSXU3TZNMOE19FbqrLBIEECycaDRGLgpKo4/NaJmsIaI9+QE/RYgCSQFdjAKIAQCMAQIBAJABQgEBGAMlkAIpADEAQABIAlWUAl2YAmQSBBAsnGg0Ri4KSqOPzWiZrCGibZwCdaACjQGkApEBAZ0BqAKlAawCtQGwApQBAgEAmAEGBbUCTggEnAEGBb0CTggEpgE6QWx0dWEuT2FrLkNvcmUuVGhlbWluZy5CaW5kaW5nQ29sb3JQb2ludGVyLCBBbHR1YS5PYWsuQ29yZaEBKQQFwQJRqAEFBAMFyAKsAQUEAwXMArABBQQDBdACtAEFBAMF1AK4AQUEAwXYArwBBQQDBcgCwAEFBAMF3ALEAQUEAwXgAsgBBQQDBeQCzAEFBAMF6ALQAQUEAwXsAtQBBQQDBfAC2AEFBAMF9ALcAQUEAwX4AuABBQQDBfwC5AEFBAMFgAPoAQUEAwWEA+wBBQQDBYgD8AEFBAMFjAP0AQUEAwWQA/4BPkFsdHVhLk9hay5Db3JlLkNoYXJ0LkRlZmF1bHRQbG90U2VyaWVzU2V0dGluZ3MsIEFsdHVhLk9hay5Db3Jl+QE/AIACBAUACAGEAgUFlAMIAYgCBAUACAGMAgUFmAMIAZACCwMAAAAAAAAkQAgClAILAwAAAAAAACRACAKYAgsDAAAAAAAAAAAIAZwCFQWcAw2gAxWkAx2oAyWsAy2wAzW0A6ACBw24AxW9A06kAgsDAAAAAAAAAAAIBKgCBgXBA04IBKwCBgXBA04IBLACBQQDBcQDugIzQWx0dWEuT2FrLkNvcmUuVGhlbWluZy5Db2xvclBvaW50ZXIsIEFsdHVhLk9hay5Db3JltQJOUFBQ/70CTlBQUP/GAkhBbHR1YS5PYWsuQ29yZS5TeW50YXhTdHJ1Y3R1cmUuUGxvdFNlcmllc0JpbmRpbmdTdHJhdGVneSwgQWx0dWEuT2FrLkNvcmXBAlEAyAICAQDMAhYBCsgDzAPQA9QD2APcA+AD5APoA+wD0AIEAQHwA9QCBAEB9APYAgQBAfgD3AICAQDgAgIBAOQCDgEG/AOABIQEiASMBJAE6AICAQDsAhYBCpQEmAScBKAEpASoBKwEsAS0BLgE8AISAQi8BMAExATIBMwE0ATUBNgE9AICAQD4AgQBAdwE/AIKAQTgBOQE6ATsBIADAgEAhAMCAQCIAwIBAIwDBAEB8ASQAwIBAJQDBQQDBfQEmAMFBAMF+AScAwcEAwQBAAgEoAMFBAEuCASkAwQAAQgEqAMEAAAIBKwDBAQACASwAwQEAAgEtAMEAAAIBLgDBQQDBfwEvQNOPj7l/8EDTlBQUP/EAwIBAMgDDgWBBaEBCwAAAAAAAAAAzAMOBYkFowELAAAAAAAA4D/QAw4FkQWlAQsAAAAAAADgP9QDDgWZBacBCwAAAAAAAOA/2AMOBaEFqQELAAAAAAAA+D/cAw4FqQWrAQsAAAAAAADgP+ADDgWxBa0BCwAAAAAAABhA5AMOBbkFrwELAAAAAAAAAADoAw4FwQWtAQsAAAAAAAAYQOwDDgXFBbIBCwAAAAAAAAAA8AMIBc0FpwEN0AX0AwcF1QW2AQgB+AMOBdUFtgELAAAAAAAAJED8AwkF3QW4AQ3lBSmABAoF6QWrAQ3tBbwBhAQKBfUFowEN+QW8AYgECgX9BaUBDYEGvAGMBAkFhQbCAQ2NBk6QBAoF1QW2AQ2RBrwBlAQHBZUGxgEJAZgEBwWdBsgBCQGcBAcFpQbKAQkBoAQHBa0GzAEJAKQEBwW1BswBCQGoBAcFuQbPAQkArAQHBcEGzwEJALAEBwXFBtIBCQG0BAcFzQbUAQkAuAQHBdUGzwEJALwECgXZBtcBDeEG2QHABAoF6QbbAQ3xBt0BxAQKBfkGzAEN/QbgAcgECgWFB8YBDYkH4wHMBAoFkQfIAQ2JB+MB0AQKBZUHygENmQfnAdQECgWhB8wBDaUH6gHYBAoFrQfSAQ2xB+AB3AQKBbUH7gENvQfwAeAECgXFB8YBDckH8wHkBAoF0QfbAQ3VB/MB6AQKBdkHyAEN3QfzAewECgXhB9cBDeUH8wHwBAoF6QfSAQ3tB/wB9AQGAQH1B/4B+AQGAQH9B/4B/AQEAQIBBIYFWUFsdHVhLk9hay5Db3JlLk1vZGlmaWNhdGlvbi5TdHlsaW5nLlZhbHVlQXhpc0dyaWRsaW5lc0N1c3RvbWl6YXRpb25UYXJnZXQsIEFsdHVhLk9hay5Db3JlgQWhAQCOBVNBbHR1YS5PYWsuQ29yZS5Nb2RpZmljYXRpb24uU3R5bGluZy5DYXRlZ29yeUF4aXNDdXN0b21pemF0aW9uVGFyZ2V0LCBBbHR1YS5PYWsuQ29yZYkFowEAlgVQQWx0dWEuT2FrLkNvcmUuTW9kaWZpY2F0aW9uLlN0eWxpbmcuT3JpZ29MaW5lQ3VzdG9taXphdGlvblRhcmdldCwgQWx0dWEuT2FrLkNvcmWRBaUBAJ4FXUFsdHVhLk9hay5Db3JlLk1vZGlmaWNhdGlvbi5TdHlsaW5nLkFsbENvbm5lY3RvcnNBdXhpbGlhcnlDdXN0b21pemF0aW9uVGFyZ2V0LCBBbHR1YS5PYWsuQ29yZZkFpwEApgVZQWx0dWEuT2FrLkNvcmUuTW9kaWZpY2F0aW9uLlN0eWxpbmcuU2VyaWVzV2l0aFBsb3RLaW5kQ3VzdG9taXphdGlvblRhcmdldCwgQWx0dWEuT2FrLkNvcmWhBakBAwWACK4FU0FsdHVhLk9hay5Db3JlLk1vZGlmaWNhdGlvbi5TdHlsaW5nLkFsbFZhbHVlQXhpc0N1c3RvbWl6YXRpb25UYXJnZXQsIEFsdHVhLk9hay5Db3JlqQWrAQC2BU1BbHR1YS5PYWsuQ29yZS5Nb2RpZmljYXRpb24uU3R5bGluZy5TZXJpZXNDdXN0b21pemF0aW9uVGFyZ2V0LCBBbHR1YS5PYWsuQ29yZbEFrQEUBBIEEH1pIN5JdTdNk0w4TX0Vuqu+BVtBbHR1YS5PYWsuQ29yZS5Nb2RpZmljYXRpb24uU3R5bGluZy5HcmlkbGluZUZvckRpcmVjdGlvbkN1c3RvbWl6YXRpb25UYXJnZXQsIEFsdHVhLk9hay5Db3JluQWvAQIBAcEFrQEUBBIEEJ9TuLlDsuZNiqOeCkCiatLKBVZBbHR1YS5PYWsuQ29yZS5Nb2RpZmljYXRpb24uU3R5bGluZy5TaW5nbGVWYWx1ZUF4aXNDdXN0b21pemF0aW9uVGFyZ2V0LCBBbHR1YS5PYWsuQ29yZcUFsgEUBBIEECycaDRGLgpKo4/NaJmsIaLNBacBANAFBQwDBYQI2gVTQWx0dWEuT2FrLkNvcmUuTW9kaWZpY2F0aW9uLlN0eWxpbmcuU2VyaWVzTWFya2VyQ3VzdG9taXphdGlvblRhcmdldCwgQWx0dWEuT2FrLkNvcmXVBbYBFAQSBBB9aSDeSXU3TZNMOE19Fbqr4gVWQWx0dWEuT2FrLkNvcmUuTW9kaWZpY2F0aW9uLlN0eWxpbmcuQWxsU2VyaWVzTWFya2VyQ3VzdG9taXphdGlvblRhcmdldCwgQWx0dWEuT2FrLkNvcmXdBbgBAOUFKQQFiQhR6QWrAQDyBTdBbHR1YS5PYWsuQ29yZS5UaGVtaW5nLlBhZ2VDb2xvclBvaW50ZXIsIEFsdHVhLk9hay5Db3Jl7QW8AQQAAAgA9QWjAQD5BbwBBAAACAD9BaUBAIEGvAEEAAAIAIoGU0FsdHVhLk9hay5Db3JlLk1vZGlmaWNhdGlvbi5TdHlsaW5nLkFsbEdyaWRsaW5lc0N1c3RvbWl6YXRpb25UYXJnZXQsIEFsdHVhLk9hay5Db3JlhQbCAQCNBk6AgID/kQa8AQQAAAgAmgZYQWx0dWEuT2FrLkNvcmUuTW9kaWZpY2F0aW9uLlN0eWxpbmcuQWxsVmFsdWVBeGlzTGFiZWxDdXN0b21pemF0aW9uVGFyZ2V0LCBBbHR1YS5PYWsuQ29yZZUGxgEAogZXQWx0dWEuT2FrLkNvcmUuTW9kaWZpY2F0aW9uLlN0eWxpbmcuQWxsQ2F0ZWdvcnlMYWJlbEN1c3RvbWl6YXRpb25UYXJnZXQsIEFsdHVhLk9hay5Db3JlnQbIAQCqBlhBbHR1YS5PYWsuQ29yZS5Nb2RpZmljYXRpb24uU3R5bGluZy5BbGxBdXhpbGlhcnlMYWJlbEN1c3RvbWl6YXRpb25UYXJnZXQsIEFsdHVhLk9hay5Db3JlpQbKAQCyBlhBbHR1YS5PYWsuQ29yZS5Nb2RpZmljYXRpb24uU3R5bGluZy5TZXJpZXNMYWJlbE9mVHlwZUN1c3RvbWl6YXRpb25UYXJnZXQsIEFsdHVhLk9hay5Db3JlrQbMAQIAArUGzAECAAC+BlpBbHR1YS5PYWsuQ29yZS5Nb2RpZmljYXRpb24uU3R5bGluZy5WYWx1ZUF4aXNUaXRsZUxhYmVsQ3VzdG9taXphdGlvblRhcmdldCwgQWx0dWEuT2FrLkNvcmW5Bs8BFAQSBBCDpC2HMEgfQ7cJxO+pD9ykwQbPARQEEgQQukdhA1zTQECCVSAeItEioMoGUkFsdHVhLk9hay5Db3JlLk1vZGlmaWNhdGlvbi5TdHlsaW5nLlNlcmllc0xhYmVsQ3VzdG9taXphdGlvblRhcmdldCwgQWx0dWEuT2FrLkNvcmXFBtIBFgQSBBB9aSDeSXU3TZNMOE19FbqrCADSBlVBbHR1YS5PYWsuQ29yZS5Nb2RpZmljYXRpb24uU3R5bGluZy5WYWx1ZUF4aXNMYWJlbEN1c3RvbWl6YXRpb25UYXJnZXQsIEFsdHVhLk9hay5Db3JlzQbUARQEEgQQLJxoNEYuCkqjj81omawhotUGzwEUBBIEECycaDRGLgpKo4/NaJmsIaLeBlhBbHR1YS5PYWsuQ29yZS5Nb2RpZmljYXRpb24uU3R5bGluZy5DYXRlZ29yeUF4aXNUaXRsZUN1c3RvbWl6YXRpb25UYXJnZXQsIEFsdHVhLk9hay5Db3Jl2QbXAQDmBkZBbHR1YS5PYWsuQ29yZS5QbG90dGluZy5BeGlzVGl0bGVMYWJlbFBsYWNlbWVudE91dHNpZGUsIEFsdHVhLk9hay5Db3Jl4QbZAQIAAe4GXUFsdHVhLk9hay5Db3JlLk1vZGlmaWNhdGlvbi5TdHlsaW5nLkFsbFZhbHVlQXhpc1RpdGxlTGFiZWxDdXN0b21pemF0aW9uVGFyZ2V0LCBBbHR1YS5PYWsuQ29yZekG2wEA9gZCQWx0dWEuT2FrLkNvcmUuUGxvdHRpbmcuQXhpc1RpdGxlTGFiZWxQbGFjZW1lbnRGYXIsIEFsdHVhLk9hay5Db3Jl8QbdAQIAAPkGzAECAACCB0BBbHR1YS5PYWsuQ29yZS5QbG90dGluZy5MYWJlbFBsYWNlbWVudFBvaW50T3V0ZXIsIEFsdHVhLk9hay5Db3Jl/QbgAQCFB8YBAI4HQUFsdHVhLk9hay5Db3JlLlBsb3R0aW5nLkF4aXNMYWJlbFBsYWNlbWVudE91dHNpZGUsIEFsdHVhLk9hay5Db3JliQfjAQIBAJEHyAEAlQfKAQCeB0ZBbHR1YS5PYWsuQ29yZS5QbG90dGluZy5BdXhpbGlhcnlMYWJlbFBsYWNlbWVudERlZmF1bHQsIEFsdHVhLk9hay5Db3JlmQfnAQChB8wBAgACqgdDQWx0dWEuT2FrLkNvcmUuUGxvdHRpbmcuTGFiZWxQbGFjZW1lbnRTZXJpZXNPdXRzaWRlLCBBbHR1YS5PYWsuQ29yZaUH6gECAAGtB9IBFgQSBBB9aSDeSXU3TZNMOE19FbqrCACxB+ABALoHUEFsdHVhLk9hay5Db3JlLk1vZGlmaWNhdGlvbi5TdHlsaW5nLkFsbExhYmVsc0N1c3RvbWl6YXRpb25UYXJnZXQsIEFsdHVhLk9hay5Db3JltQfuAQDCB0JBbHR1YS5PYWsuQ29yZS5TeW50YXhTdHJ1Y3R1cmUuQWN0dWFsRm9udFNpemVWYWx1ZSwgQWx0dWEuT2FrLkNvcmW9B/ABCQMAAAAAAAAoQMUHxgEAzgdDQWx0dWEuT2FrLkNvcmUuU3ludGF4U3RydWN0dXJlLkFjdHVhbEZvbnRDb2xvclZhbHVlLCBBbHR1YS5PYWsuQ29yZckH8wEFBY0IvAHRB9sBANUH8wEFBZEIvAHZB8gBAN0H8wEFBZUIvAHhB9cBAOUH8wEFBZkIvAHpB9IBFgQSBBB9aSDeSXU3TZNMOE19FbqrCADyB0ZBbHR1YS5PYWsuQ29yZS5TeW50YXhTdHJ1Y3R1cmUuQWN0dWFsTnVtYmVyRm9ybWF0VmFsdWUsIEFsdHVhLk9hay5Db3Jl7Qf8AQUFnQiIAvoHL0FsdHVhLkRhdGEuSW5mcmFzdHJ1Y3R1cmUuUGFyYWdyYXBoLCBBbHR1YS5EYXRh9Qf+AQUMAwWkCP0H/gEFDAMFqAiACAEFhAgKAQIAAIBAAABAQIkIUQCNCLwBBAAACACRCLwBBAAACACVCLwBBAAACACZCLwBBAAACACiCD1BbHR1YS5EYXRhLk51bWJlckZvcm1hdHRpbmcuQ29tcG9zaXRlTnVtYmVyRm9ybWF0LCBBbHR1YS5EYXRhnQiIAgodrAglsAg1UD0ApAgGAQG1CI4CqAgGAQG9CI4CrAgJAAAMAwXACBEAsAgJAAAMAwXECBEAuggvQWx0dWEuRGF0YS5JbmZyYXN0cnVjdHVyZS5OdW1iZXJSdW4sIEFsdHVhLkRhdGG1CI4CEwQOAwAAAAAAnJ9AHckIiAINzAi9CI4CEwQOAwAAAAAAoJ9AHdEIiAIN1AjACAYBAdkIlwLECAoBAuEImQLpCJcCyQiIAgsd7Agl8Ag19Ag9AMwIEgQAHAAkACwANAA8AEwAVABdANEIiAILHfgIJfwINYAJPQDUCBIEABwAJAAsADQAPABMAFQAXQDeCEBBbHR1YS5EYXRhLk51bWJlckZvcm1hdHRpbmcuTnVtYmVyRm9ybWF0VmFsdWVTZWdtZW50LCBBbHR1YS5EYXRh2QiXAgUEAwWECeYIP0FsdHVhLkRhdGEuTnVtYmVyRm9ybWF0dGluZy5OdW1iZXJGb3JtYXRUZXh0U2VnbWVudCwgQWx0dWEuRGF0YeEImQIFBAEtCQHpCJcCBQQDBYgJ7AgJAAAMAwWMCREA8AgJAAAMAwWQCREA9AgKBAEsDAEuFAJrcvgICQAADAMFlAkRAPwICQAADAMFmAkRAIAJCgQBLAwBLhQCa3KECQYBAZ0JqAKICQYBAZ0JqAKMCQYBAaUJlwKQCQoBAqkJmQKlCZcClAkGAQGtCZcCmAkKAQKxCZkCrQmXAqIJOUFsdHVhLkRhdGEuTnVtYmVyRm9ybWF0dGluZy5OdW1iZXJQbGFjZWhvbGRlciwgQWx0dWEuRGF0YZ0JqAIFAjAAAAClCZcCBQQDBbQJqQmZAgUEAS0JAa0JlwIFBAMFuAmxCZkCBQQBLQkBtAkGAQG9CagCuAkGAQG9CagCvQmoAgUCMAAAAA=="/>
  <p:tag name="GRUNT-SYNC" val="543de36c6b75476cb51b4645d89517d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220cb57a-1438-4ec2-95b6-596651eee34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jA8KN0FsdHVhLkRhdGEuRGF0YVNlcnZpY2VzLkVtYmVkZGVkRGF0YVNlcnZpY2UsIEFsdHVhLkRhdGEFAhkEEgQQH218kDtupUCVVbnyXAOtZw0MJREFDAYFGAgMEAUWQUFsdHVhLkRhdGEuRGF0YVNlcnZpY2VzLkVtYmVkZGVkRGF0YVNlcnZpY2VFZGl0b3JEYXRhLCBBbHR1YS5EYXRhEQUEBRwNIBgGBSQNKBUsHB4dBBIEEB/rjDimIctLiTIXQgTfWDQLAAAAAAAgYkAgHh0EEgQQhB+R4huFNUGwuFZrPUlJDwsAAAAAAAAyQCQEMDQ4PCgCQEQs6AIsBCgEEgQQ2o0rEHtPmkyZRivzTi/4HAwSBBBfl5CXxFq7QpsQMAZxTsVZDUgsBCgEEgQQdZ6YkVxDK0eAjaDLHe+U4wwSBBBfl5CXxFq7QpsQMAZxTsVZDUwsBCgEEgQQM3YuVsqsz0O4n/jX90PyIgwSBBBfl5CXxFq7QpsQMAZxTsVZDVAsBCgEEgQQH+uMOKYhy0uJMhdCBN9YNAwSBBBfl5CXxFq7QpsQMAZxTsVZDVQsBCgEEgQQ2o0rEHtPmkyZRivzTi/4HAwSBBD5LFn+/d9vRbn+Z9Mj0qsjDVgsBCgEEgQQdZ6YkVxDK0eAjaDLHe+U4wwSBBD5LFn+/d9vRbn+Z9Mj0qsjDVwsBCgEEgQQH+uMOKYhy0uJMhdCBN9YNAwSBBD5LFn+/d9vRbn+Z9Mj0qsjDWAsBCgEEgQQM3YuVsqsz0O4n/jX90PyIgwSBBD5LFn+/d9vRbn+Z9Mj0qsjDWQwGgQSBBDajSsQe0+aTJlGK/NOL/gcDAJDMRAANBoEEgQQH+uMOKYhy0uJMhdCBN9YNAwCQzIQADgaBBIEEHWemJFcQytHgI2gyx3vlOMMAkMzEAA8GgQSBBAzdi5WyqzPQ7if+Nf3Q/IiDAJDNBAAQBoEEgQQX5eQl8Rau0KbEDAGcU7FWQwCUjEQAEQaBBIEEPksWf79329Fuf5n0yPSqyMMAlIzEABIBA1oFWxMBA1oFXBQBA1oFXRUBA1oFXhYBA1oFXxcBQ1oFYABYAUNaBWEAWQFDWgViAFoAgQAbAUEAwWMAXAFBAMFkAF0BQQDBZQBeAUEAwWYAXwFBAMFnAGAAQUEAwWgAYQBBQQDBaQBiAEFBAMFqAGMAQIBAJABBQEBrQEslAEFAQG1ASyYAQUBAbkBLJwBBQEBvQEsoAEFAQHBASykAQUBAcUBLKgBBQEByQEssgEvQWx0dWEuRGF0YS5JbmZyYXN0cnVjdHVyZS5QYXJhZ3JhcGgsIEFsdHVhLkRhdGGtASwFDAMFzAG1ASwFDAMF0AG5ASwFDAMF1AG9ASwFDAMF2AHBASwFDAMF3AHFASwFDAMF4AHJASwFDAMF5AHMAQUBAekBO9ABBQEB8QE71AEFAQH1ATvYAQUBAfkBP9wBBQEBgQI/4AEFAQGFAj/kAQUBAYkCP+4BLUFsdHVhLkRhdGEuSW5mcmFzdHJ1Y3R1cmUuVGV4dFJ1biwgQWx0dWEuRGF0YekBOwkEBDIwMjMNjALxATsJBAQyMDI0DYwC9QE7CQQEMjAyMQ2MAv4BL0FsdHVhLkRhdGEuSW5mcmFzdHJ1Y3R1cmUuTnVtYmVyUnVuLCBBbHR1YS5EYXRh+QE/EgQNAwAAAAAAoJ9AHZECRQ2YAoECPxIEDQPTiT/UykUpQB2dAkUNoAKFAj8SBA0DAAAAAAAAJ0AdnQJFDaACiQI/EgQNA8MdnI3PYzNAHZ0CRQ2gAowCEgQAHAAkACwANAA8AEwAVABdAJYCPUFsdHVhLkRhdGEuTnVtYmVyRm9ybWF0dGluZy5Db21wb3NpdGVOdW1iZXJGb3JtYXQsIEFsdHVhLkRhdGGRAkULHaQCJagCNawCPQCYAhIEABwAJAAsADQAPABMAFQAXQCdAkULHbACJbQCNbgCPQCgAhIEABwAJAAsADQAPABMAFQAXQCkAgkAAAwDBbwCEQCoAgkAAAwDBcACEQCsAgoEASwMAS4UAmtysAIJAAAMAwXEAhEAtAIJAAAMAwXIAhEAuAIKBAEsDAEuFAJrcrwCBQEBzQJUwAIIAQLVAlbNAlTEAgUBAd0CWMgCCAEC5QJW6QJY0gJAQWx0dWEuRGF0YS5OdW1iZXJGb3JtYXR0aW5nLk51bWJlckZvcm1hdFZhbHVlU2VnbWVudCwgQWx0dWEuRGF0Yc0CVAUEAwXsAtoCP0FsdHVhLkRhdGEuTnVtYmVyRm9ybWF0dGluZy5OdW1iZXJGb3JtYXRUZXh0U2VnbWVudCwgQWx0dWEuRGF0YdUCVgUEAS0JAeICQkFsdHVhLkRhdGEuTnVtYmVyRm9ybWF0dGluZy5OdW1iZXJGb3JtYXRHZW5lcmFsU2VnbWVudCwgQWx0dWEuRGF0Yd0CWADlAlYFBAEtCQHpAlgA7AIFAQHxAl32AjlBbHR1YS5EYXRhLk51bWJlckZvcm1hdHRpbmcuTnVtYmVyUGxhY2Vob2xkZXIsIEFsdHVhLkRhdGHxAl0FAjAAAAA="/>
  <p:tag name="GRUNT-RENDERHASH" val="630fbad9b2edd96f69a9f82e9da7b317-svg"/>
  <p:tag name="GRUNT-X-SHAPEBOUNDS" val="ASIBBAAAAIDx1D9AAAAA4Ct+ckAAAAAAAHhqQAAAAKBtamFAAA=="/>
  <p:tag name="GRUNT-X-PAGEOBJECT" val="AQUCpCoKOEFsdHVhLk9hay5Db3JlLkRvY3VtZW50TW9kZWwuQ2hhcnRPYmplY3QsIEFsdHVhLk9hay5Db3JlBQI1BBIEEKS6Ov8lt/5Jmm41jfW+mXYMEgQQH218kDtupUCVVbnyXAOtZxUNBCUUNRg9HFUgZSQSUEFsdHVhLk9hay5Db3JlLkRvY3VtZW50TW9kZWwuVGVtcGxhdGluZy5DdXN0b21Qb3NpdGlvbkRlZmluaXRpb24sIEFsdHVhLk9hay5Db3JlDQQkBCIBBAQAAMB4CkBAkiRJUpKEc0D//////2dqQLDi8hKoIVpAFBMVKB0sNTA4AEU1DkwCBTxVQF1EGAQEAgVIHAIFTCALBVAMBW5iLU5PFVQkDgEBCQERARkBIQEpATEBKBYEEgQQAAAAAAAAAAAAAAAAAAAAAAgBLBYEEgQQAAAAAAAAAAAAAAAAAAAAAAgBMAA6R0FsdHVhLk9hay5Db3JlLkNoYXJ0LkNsdXN0ZXJlZEJhcldpdGhMaW5lUGxvdERlZmluaXRpb24sIEFsdHVhLk9hay5Db3JlNQ41BBIEEMjTWeRxeBhMiKjgqGGpkDwcAgVYJVw1YDwCBWRJAW1ojQFspQFwtQF1HrkBAMUBfSA8AgEAQAUFhAENAEQCAQBIAgEATABQCgQBLAwBIBQCa3JUCQQFbmItTk8IAVgEAQGIAVwNAAAIARQDBYwBHAAlAGAmBCIBBAAAAAAAABBAAAAAAAAAEEAAAAAAAAAQQAAAAAAAABBACARkAgEAaAsDAAAAAACATUAIIGwLAwAAAAAAABRACCBwSjWQAT2UAUWYAVWcAV2gAXWkAY0BqAGdAawBpQGwAa0BtAHNAbgB1QG8Ad0BwAHlAcQB7QHIAfUBzAH9AdABhQLUAY0C2AGVAtwBekVBbHR1YS5PYWsuQ29yZS5QbG90dGluZy5BdXRvbWF0aWNDYXRlZ29yeUF4aXNTZXR0aW5ncywgQWx0dWEuT2FrLkNvcmV1HhMBAQ3gARAAGQEwAD3kAUXoAUgBggE9QWx0dWEuT2FrLkNvcmUuVGhlbWluZy5QYWdlQ29sb3JTY2hlbWVQb2ludGVyLCBBbHR1YS5PYWsuQ29yZX0gAIQBAIgBQgEAGAMl7AEpADEAQABIAlXwAV30AWQSBBBVDm/f1S4SQY0gNC81shD/bfgBdfwBjQGAApEBAZ0BhAKlAYgCtQGMAowBAgEAkAEFBAMFkAKUAQUEAwWUApgBBQQDBZgCnAEFBAMFnAKgAQUEAwWgAqQBBQQDBaACqAEFBAMFpAKsAQUEAwWoArABBQQDBawCtAEFBAMFsAK4AQUEAwW0ArwBBQQDBbgCwAEFBAMFvALEAQUEAwXAAsgBBQQDBcQCzAEFBAMFyALQAQUEAwXMAtQBBQQDBdAC2AEFBAMF1ALcAQUEAwXYAuABAgEA5AEGBd0CWAgE6AEGBeUCWAgE7AELAwAAAAAAAAAACALwAQsDAAAAAAAAAAAIAfQBCwMAAAAAAAAAAAgB+AEVBegCDewCFfACHfQCJfgCLfwCNYAD/AEHDYQDFYkDWIACCwMAAAAAAAAAAAgEhAIGBY0DWAgEiAIGBY0DWAgEjAIFBAMFkAOQAgQBAZQDlAIOAQaYA5wDoAOkA6gDrAOYAgQBAbADnAICAQCgAgIBAKQCAgEAqAIEAQG0A6wCDgEGuAO8A8ADxAPIA8wDsAICAQC0Ag4BBtAD1APYA9wD4APkA7gCEAEH6APsA/AD9AP4A/wDgAS8AgIBAMACBAEBhATEAgoBBIgEjASQBJQEyAICAQDMAgIBANACAgEA1AIEAQGYBNgCAgEA4gIzQWx0dWEuT2FrLkNvcmUuVGhlbWluZy5Db2xvclBvaW50ZXIsIEFsdHVhLk9hay5Db3Jl3QJYUFBQ/+UCWFBQUP/oAgcEAwQBAAgE7AIFBAEuCATwAgQAAQgE9AIEAAAIBPgCBAQACAT8AgQEAAgEgAMEAAAIBIQDBQQDBZwEiQNYPj7l/40DWFBQUP+QAwIBAJQDDgWhBIkBCwAAAAAAAOA/mAMOBakEiwELAAAAAAAAAACcAw4FsQSNAQsAAAAAAAAAAKADDgW5BI8BCwAAAAAAAOA/pAMOBcEEkQELAAAAAAAA4D+oAw4FyQSTAQsAAAAAAADgP6wDDgXRBJUBCwAAAAAAAPg/sAMIBdkEkwEN3AS0AwoF4QSZAQ3pBJsBuAMKBfEEnQEN+QSfAbwDCgWBBYsBDYUFmwHAAwoFiQWPAQ2NBZsBxAMKBZEFkQENlQWbAcgDCQWZBacBDaEFWMwDCQWlBYkBDakFWNADBwWtBawBCQHUAwcFtQWuAQkA2AMHBb0FrAEJAdwDBwXBBbEBCQHgAwcFyQWzAQkB5AMHBdEFtQEJAegDCgXZBbcBDeEFuQHsAwoF6QW7AQ3xBb0B8AMKBfkFvwENgQbBAfQDCgWJBr8BDYEGwQH4AwoFjQauAQ2RBsUB/AMKBZkGswENkQbFAYAECgWdBrUBDaEGyQGEBAoFqQbLAQ2xBs0BiAQKBbkGrgENvQbQAYwECgXFBrsBDckG0AGQBAoFzQazAQ3RBtABlAQKBdUGtwEN2QbQAZgECgXdBtgBDeUG2gGcBAQBAgEEpgRNQWx0dWEuT2FrLkNvcmUuTW9kaWZpY2F0aW9uLlN0eWxpbmcuU2VyaWVzQ3VzdG9taXphdGlvblRhcmdldCwgQWx0dWEuT2FrLkNvcmWhBIkBFAQSBBDeEv+gt+OZUY2Brka6081VrgRTQWx0dWEuT2FrLkNvcmUuTW9kaWZpY2F0aW9uLlN0eWxpbmcuQWxsVmFsdWVBeGlzQ3VzdG9taXphdGlvblRhcmdldCwgQWx0dWEuT2FrLkNvcmWpBIsBALYEWUFsdHVhLk9hay5Db3JlLk1vZGlmaWNhdGlvbi5TdHlsaW5nLlZhbHVlQXhpc0dyaWRsaW5lc0N1c3RvbWl6YXRpb25UYXJnZXQsIEFsdHVhLk9hay5Db3JlsQSNAQC+BFNBbHR1YS5PYWsuQ29yZS5Nb2RpZmljYXRpb24uU3R5bGluZy5DYXRlZ29yeUF4aXNDdXN0b21pemF0aW9uVGFyZ2V0LCBBbHR1YS5PYWsuQ29yZbkEjwEAxgRQQWx0dWEuT2FrLkNvcmUuTW9kaWZpY2F0aW9uLlN0eWxpbmcuT3JpZ29MaW5lQ3VzdG9taXphdGlvblRhcmdldCwgQWx0dWEuT2FrLkNvcmXBBJEBAM4EXUFsdHVhLk9hay5Db3JlLk1vZGlmaWNhdGlvbi5TdHlsaW5nLkFsbENvbm5lY3RvcnNBdXhpbGlhcnlDdXN0b21pemF0aW9uVGFyZ2V0LCBBbHR1YS5PYWsuQ29yZckEkwEA1gRZQWx0dWEuT2FrLkNvcmUuTW9kaWZpY2F0aW9uLlN0eWxpbmcuU2VyaWVzV2l0aFBsb3RLaW5kQ3VzdG9taXphdGlvblRhcmdldCwgQWx0dWEuT2FrLkNvcmXRBJUBAwXsBtkEkwEA3AQFDAMF8AbmBFBBbHR1YS5PYWsuQ29yZS5Nb2RpZmljYXRpb24uU3R5bGluZy5EYXRhUG9pbnRDdXN0b21pemF0aW9uVGFyZ2V0LCBBbHR1YS5PYWsuQ29yZeEEmQEoBBIEEN4S/6C345lRjYGuRrrTzVUMEgQQFIE32vxjZFa6XUIIrNW/8O4EN0FsdHVhLk9hay5Db3JlLlRoZW1pbmcuUGFnZUNvbG9yUG9pbnRlciwgQWx0dWEuT2FrLkNvcmXpBJsBBAAACAD2BFZBbHR1YS5PYWsuQ29yZS5Nb2RpZmljYXRpb24uU3R5bGluZy5BbGxTZXJpZXNNYXJrZXJDdXN0b21pemF0aW9uVGFyZ2V0LCBBbHR1YS5PYWsuQ29yZfEEnQEA/gQ6QWx0dWEuT2FrLkNvcmUuVGhlbWluZy5CaW5kaW5nQ29sb3JQb2ludGVyLCBBbHR1YS5PYWsuQ29yZfkEnwEFBfUG3gGBBYsBAIUFmwEEAAAIAIkFjwEAjQWbAQQAAAgAkQWRAQCVBZsBBAAACACeBVNBbHR1YS5PYWsuQ29yZS5Nb2RpZmljYXRpb24uU3R5bGluZy5BbGxHcmlkbGluZXNDdXN0b21pemF0aW9uVGFyZ2V0LCBBbHR1YS5PYWsuQ29yZZkFpwEAoQVYgICA/6UFiQEUBBIEEN4S/6C345lRjYGuRrrTzVWpBVikWgD/sgVYQWx0dWEuT2FrLkNvcmUuTW9kaWZpY2F0aW9uLlN0eWxpbmcuU2VyaWVzTGFiZWxPZlR5cGVDdXN0b21pemF0aW9uVGFyZ2V0LCBBbHR1YS5PYWsuQ29yZa0FrAECAAK6BVhBbHR1YS5PYWsuQ29yZS5Nb2RpZmljYXRpb24uU3R5bGluZy5BbGxWYWx1ZUF4aXNMYWJlbEN1c3RvbWl6YXRpb25UYXJnZXQsIEFsdHVhLk9hay5Db3JltQWuAQC9BawBAgAAxgVVQWx0dWEuT2FrLkNvcmUuTW9kaWZpY2F0aW9uLlN0eWxpbmcuQWxsVG90YWxMYWJlbHNDdXN0b21pemF0aW9uVGFyZ2V0LCBBbHR1YS5PYWsuQ29yZcEFsQEAzgVXQWx0dWEuT2FrLkNvcmUuTW9kaWZpY2F0aW9uLlN0eWxpbmcuQWxsQ2F0ZWdvcnlMYWJlbEN1c3RvbWl6YXRpb25UYXJnZXQsIEFsdHVhLk9hay5Db3JlyQWzAQDWBVhBbHR1YS5PYWsuQ29yZS5Nb2RpZmljYXRpb24uU3R5bGluZy5BbGxBdXhpbGlhcnlMYWJlbEN1c3RvbWl6YXRpb25UYXJnZXQsIEFsdHVhLk9hay5Db3Jl0QW1AQDeBVhBbHR1YS5PYWsuQ29yZS5Nb2RpZmljYXRpb24uU3R5bGluZy5DYXRlZ29yeUF4aXNUaXRsZUN1c3RvbWl6YXRpb25UYXJnZXQsIEFsdHVhLk9hay5Db3Jl2QW3AQDmBUZBbHR1YS5PYWsuQ29yZS5QbG90dGluZy5BeGlzVGl0bGVMYWJlbFBsYWNlbWVudE91dHNpZGUsIEFsdHVhLk9hay5Db3Jl4QW5AQIAAe4FXUFsdHVhLk9hay5Db3JlLk1vZGlmaWNhdGlvbi5TdHlsaW5nLkFsbFZhbHVlQXhpc1RpdGxlTGFiZWxDdXN0b21pemF0aW9uVGFyZ2V0LCBBbHR1YS5PYWsuQ29yZekFuwEA9gVCQWx0dWEuT2FrLkNvcmUuUGxvdHRpbmcuQXhpc1RpdGxlTGFiZWxQbGFjZW1lbnRGYXIsIEFsdHVhLk9hay5Db3Jl8QW9AQIAAP4FX0FsdHVhLk9hay5Db3JlLk1vZGlmaWNhdGlvbi5TdHlsaW5nLlNlcmllc0xhYmVsc1dpdGhQbG90S2luZEN1c3RvbWl6YXRpb25UYXJnZXQsIEFsdHVhLk9hay5Db3Jl+QW/AQUF/AYIAIYGPUFsdHVhLk9hay5Db3JlLlBsb3R0aW5nLkxhYmVsUGxhY2VtZW50T3V0c2lkZSwgQWx0dWEuT2FrLkNvcmWBBsEBAIkGvwEFBYAHCACNBq4BAJYGQUFsdHVhLk9hay5Db3JlLlBsb3R0aW5nLkF4aXNMYWJlbFBsYWNlbWVudE91dHNpZGUsIEFsdHVhLk9hay5Db3JlkQbFAQIBAJkGswEAnQa1AQCmBkZBbHR1YS5PYWsuQ29yZS5QbG90dGluZy5BdXhpbGlhcnlMYWJlbFBsYWNlbWVudERlZmF1bHQsIEFsdHVhLk9hay5Db3JloQbJAQCuBlBBbHR1YS5PYWsuQ29yZS5Nb2RpZmljYXRpb24uU3R5bGluZy5BbGxMYWJlbHNDdXN0b21pemF0aW9uVGFyZ2V0LCBBbHR1YS5PYWsuQ29yZakGywEAtgZCQWx0dWEuT2FrLkNvcmUuU3ludGF4U3RydWN0dXJlLkFjdHVhbEZvbnRTaXplVmFsdWUsIEFsdHVhLk9hay5Db3JlsQbNAQkDAAAAAAAAKEC5Bq4BAMIGQ0FsdHVhLk9hay5Db3JlLlN5bnRheFN0cnVjdHVyZS5BY3R1YWxGb250Q29sb3JWYWx1ZSwgQWx0dWEuT2FrLkNvcmW9BtABBQWFB5sBxQa7AQDJBtABBQWJB5sBzQazAQDRBtABBQWNB5sB1Qa3AQDZBtABBQWRB5sB4gZSQWx0dWEuT2FrLkNvcmUuTW9kaWZpY2F0aW9uLlN0eWxpbmcuU2VyaWVzTGFiZWxDdXN0b21pemF0aW9uVGFyZ2V0LCBBbHR1YS5PYWsuQ29yZd0G2AEWBBIEEN4S/6C345lRjYGuRrrTzVUIAOoGRkFsdHVhLk9hay5Db3JlLlN5bnRheFN0cnVjdHVyZS5BY3R1YWxOdW1iZXJGb3JtYXRWYWx1ZSwgQWx0dWEuT2FrLkNvcmXlBtoBBQWVB+YB7AYBBfAGCgECAACAQAAAQED6BkhBbHR1YS5PYWsuQ29yZS5TeW50YXhTdHJ1Y3R1cmUuUGxvdFNlcmllc0JpbmRpbmdTdHJhdGVneSwgQWx0dWEuT2FrLkNvcmX1Bt4BAPwGAgkKgAcBBYUHmwEEAAAIAIkHmwEEAAAIAI0HmwEEAAAIAJEHmwEEAAAIAJoHPUFsdHVhLkRhdGEuTnVtYmVyRm9ybWF0dGluZy5Db21wb3NpdGVOdW1iZXJGb3JtYXQsIEFsdHVhLkRhdGGVB+YBCh2cByWgBzVQPQCcBwkAAAwDBaQHEQCgBwkAAAwDBagHEQCkBwYBAa0H7AGoBwoBArUH7gG9B+wBsgdAQWx0dWEuRGF0YS5OdW1iZXJGb3JtYXR0aW5nLk51bWJlckZvcm1hdFZhbHVlU2VnbWVudCwgQWx0dWEuRGF0Ya0H7AEFBAMFwAe6Bz9BbHR1YS5EYXRhLk51bWJlckZvcm1hdHRpbmcuTnVtYmVyRm9ybWF0VGV4dFNlZ21lbnQsIEFsdHVhLkRhdGG1B+4BBQQBLQkBvQfsAQUEAwXEB8AHBgEByQfzAcQHBgEByQfzAc4HOUFsdHVhLkRhdGEuTnVtYmVyRm9ybWF0dGluZy5OdW1iZXJQbGFjZWhvbGRlciwgQWx0dWEuRGF0YckH8wEFAjAAAAA="/>
  <p:tag name="GRUNT-SYNC" val="a6bf40dfc96949b98feca24e7dab20b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1i4KN0FsdHVhLkRhdGEuRGF0YVNlcnZpY2VzLkVtYmVkZGVkRGF0YVNlcnZpY2UsIEFsdHVhLkRhdGEFAhkEEgQQn7TYSG0zm0q0uD3zeZAzHg0MJREFDAYFGAgSEAYWQUFsdHVhLkRhdGEuRGF0YVNlcnZpY2VzLkVtYmVkZGVkRGF0YVNlcnZpY2VFZGl0b3JEYXRhLCBBbHR1YS5EYXRhEQUEBRwNIBgGBSQNKBUsHB4dBBIEEB/rjDimIctLiTIXQgTfWDQLAAAAAAAgYkAgHh0EEgQQhB+R4huFNUGwuFZrPUlJDwsAAAAAAAAyQCQKMDQ4PEBESExQVCgDWFxgLN0KLAQoBBIEENqNKxB7T5pMmUYr804v+BwMEgQQX5eQl8Rau0KbEDAGcU7FWQ1kLAQoBBIEEHWemJFcQytHgI2gyx3vlOMMEgQQX5eQl8Rau0KbEDAGcU7FWQ1oLAQoBBIEENqNKxB7T5pMmUYr804v+BwMEgQQNwaj6yos+USg3t9WLMyT6Q1sLAQoBBIEEDN2LlbKrM9DuJ/41/dD8iIMEgQQX5eQl8Rau0KbEDAGcU7FWQ1wLAQoBBIEEB/rjDimIctLiTIXQgTfWDQMEgQQX5eQl8Rau0KbEDAGcU7FWQ10LAQoBBIEEIpp0wMjKIRJhTOCSLj70jkMEgQQNwaj6yos+USg3t9WLMyT6Q14LAQoBBIEELQLCZeW9bdDj9hUPoQs5QQMEgQQ+SxZ/v3fb0W5/mfTI9KrIw18LQQoBBIEEIpp0wMjKIRJhTOCSLj70jkMEgQQ+SxZ/v3fb0W5/mfTI9KrIw2AAS0EKAQSBBC6tp60SR7QSZ+G8sXiflaODBIEEF+XkJfEWrtCmxAwBnFOxVkNhAEtBCgEEgQQimnTAyMohEmFM4JIuPvSOQwSBBBfl5CXxFq7QpsQMAZxTsVZDYgBLQQoBBIEEPnByvGh9XFHvzRuyqHIGJQMEgQQNwaj6yos+USg3t9WLMyT6Q2MAS0EKAQSBBDajSsQe0+aTJlGK/NOL/gcDBIEEPksWf79329Fuf5n0yPSqyMNkAEtBCgEEgQQdZ6YkVxDK0eAjaDLHe+U4wwSBBD5LFn+/d9vRbn+Z9Mj0qsjDZQBLQQoBBIEEPnByvGh9XFHvzRuyqHIGJQMEgQQ+SxZ/v3fb0W5/mfTI9KrIw2YAS0EKAQSBBC6tp60SR7QSZ+G8sXiflaODBIEEDcGo+sqLPlEoN7fVizMk+kNnAEtBCgEEgQQ+cHK8aH1cUe/NG7KocgYlAwSBBBfl5CXxFq7QpsQMAZxTsVZDaABLQQoBBIEEDT6U+8ysABDl5qhvuJLjIQMEgQQX5eQl8Rau0KbEDAGcU7FWQ2kAS0EKAQSBBAzdi5WyqzPQ7if+Nf3Q/IiDBIEEDcGo+sqLPlEoN7fVizMk+kNqAEtBCgEEgQQuraetEke0EmfhvLF4n5WjgwSBBD5LFn+/d9vRbn+Z9Mj0qsjDawBLQQoBBIEEDT6U+8ysABDl5qhvuJLjIQMEgQQNwaj6yos+USg3t9WLMyT6Q2wAS0EKAQSBBC0CwmXlvW3Q4/YVD6ELOUEDBIEEF+XkJfEWrtCmxAwBnFOxVkNtAEtBCgEEgQQyKMOWY2Ct0qmIMPjX7D+qwwSBBA3BqPrKiz5RKDe31YszJPpDbgBLQQoBBIEEMijDlmNgrdKpiDD41+w/qsMEgQQX5eQl8Rau0KbEDAGcU7FWQ28AS0EKAQSBBB1npiRXEMrR4CNoMsd75TjDBIEEDcGo+sqLPlEoN7fVizMk+kNwAEtBCgEEgQQH+uMOKYhy0uJMhdCBN9YNAwSBBA3BqPrKiz5RKDe31YszJPpDcQBLQQoBBIEELQLCZeW9bdDj9hUPoQs5QQMEgQQNwaj6yos+USg3t9WLMyT6Q3IAS0EKAQSBBAf64w4piHLS4kyF0IE31g0DBIEEPksWf79329Fuf5n0yPSqyMNzAEtBCgEEgQQM3YuVsqsz0O4n/jX90PyIgwSBBD5LFn+/d9vRbn+Z9Mj0qsjDdABLQQoBBIEEMijDlmNgrdKpiDD41+w/qsMEgQQ+SxZ/v3fb0W5/mfTI9KrIw3UAS0EKAQSBBA0+lPvMrAAQ5eaob7iS4yEDBIEEPksWf79329Fuf5n0yPSqyMN2AEwGgQSBBDajSsQe0+aTJlGK/NOL/gcDAJDMRAANBoEEgQQH+uMOKYhy0uJMhdCBN9YNAwCQzIQADgaBBIEEHWemJFcQytHgI2gyx3vlOMMAkMzEAA8GgQSBBAzdi5WyqzPQ7if+Nf3Q/IiDAJDNBAAQBsEEgQQNPpT7zKwAEOXmqG+4kuMhAwDQzEyEABEGwQSBBCKadMDIyiESYUzgki4+9I5DANDMTMQAEgbBBIEEMijDlmNgrdKpiDD41+w/qsMA0MxNBAATBsEEgQQtAsJl5b1t0OP2FQ+hCzlBAwDQzE1EABQGwQSBBC6tp60SR7QSZ+G8sXiflaODANDMTYQAFQbBBIEEPnByvGh9XFHvzRuyqHIGJQMA0MxNxAAWBoEEgQQX5eQl8Rau0KbEDAGcU7FWQwCUjEQAFwaBBIEEPksWf79329Fuf5n0yPSqyMMAlIzEABgGgQSBBA3BqPrKiz5RKDe31YszJPpDAJSNRAAZAYN3AEV4AFoBg3cARXkAWwGDegBFewBcAYN3AEV8AF0Bg3cARX0AXgGDegBFfgBfAYN6AEV/AGAAQYN6AEVgAKEAQYN6AEVhAKIAQYN6AEViAKMAQYN6AEVjAKQAQYN3AEVkAKUAQYN3AEVlAKYAQYN6AEVmAKcAQYN6AEVnAKgAQYN6AEVoAKkAQYN6AEVpAKoAQYN6AEVqAKsAQYN6AEVrAKwAQYN6AEVsAK0AQYN6AEVtAK4AQYN6AEVuAK8AQYN6AEVvALAAQYN6AEVwALEAQYN6AEVxALIAQYN6AEVyALMAQYN3AEVzALQAQYN3AEV0ALUAQYN6AEV1ALYAQYN6AEV2ALcAQIEAOABBQQDBdwC5AEFBAMF4ALoAQIEAOwBBQQDBeQC8AEFBAMF6AL0AQUEAwXsAvgBBQQDBfAC/AEFBAMF9AKAAgUEAwX4AoQCBQQDBfwCiAIFBAMFgAOMAgUEAwWEA5ACBQQDBYgDlAIFBAMFjAOYAgUEAwWQA5wCBQQDBZQDoAIFBAMFmAOkAgUEAwWcA6gCBQQDBaADrAIFBAMFpAOwAgUEAwWoA7QCBQQDBawDuAIFBAMFsAO8AgUEAwW0A8ACBQQDBbgDxAIFBAMFvAPIAgUEAwXAA8wCBQQDBcQD0AIFBAMFyAPUAgUEAwXMA9gCBQQDBdAD3AICAQDgAgUBAdUDduQCBQEB3QN26AIFAQHhA3bsAgUBAeUDdvACBQEB6QN29AIFAQHtA3b4AgUBAfEDdvwCBQEB9QN2gAMFAQH5A3aEAwUBAf0DdogDBQEBgQR2jAMFAQGFBHaQAwUBAYkEdpQDBQEBjQR2mAMFAQGRBHacAwUBAZUEdqADBQEBmQR2pAMFAQGdBHaoAwUBAaEEdqwDBQEBpQR2sAMFAQGpBHa0AwUBAa0EdrgDBQEBsQR2vAMFAQG1BHbAAwUBAbkEdsQDBQEBvQR2yAMFAQHBBHbMAwUBAcUEdtADBQEByQR22gMvQWx0dWEuRGF0YS5JbmZyYXN0cnVjdHVyZS5QYXJhZ3JhcGgsIEFsdHVhLkRhdGHVA3YFDAMFzATdA3YFDAMF0AThA3YFDAMF1ATlA3YFDAMF2ATpA3YFDAMF3ATtA3YFDAMF4ATxA3YFDAMF5AT1A3YFDAMF6AT5A3YFDAMF7AT9A3YFDAMF8ASBBHYFDAMF9ASFBHYFDAMF+ASJBHYFDAMF/ASNBHYFDAMFgAWRBHYFDAMFhAWVBHYFDAMFiAWZBHYFDAMFjAWdBHYFDAMFkAWhBHYFDAMFlAWlBHYFDAMFmAWpBHYFDAMFnAWtBHYFDAMFoAWxBHYFDAMFpAW1BHYFDAMFqAW5BHYFDAMFrAW9BHYFDAMFsAXBBHYFDAMFtAXFBHYFDAMFuAXJBHYFDAMFvAXMBAYBAcEFsQHQBAYBAckFswHUBAYBAdEFsQHYBAYBAdUFsQHcBAYBAdkFswHgBAYBAd0FswHkBAYBAeEFswHoBAYBAeUFsQHsBAYBAekFsQHwBAYBAe0FswH0BAYBAfEFswH4BAYBAfUFswH8BAYBAfkFswGABQYBAf0FswGEBQYBAYEGsQGIBQYBAYUGsQGMBQYBAYkGswGQBQYBAY0GswGUBQYBAZEGswGYBQYBAZUGsQGcBQYBAZkGswGgBQYBAZ0GsQGkBQYBAaEGswGoBQYBAaUGswGsBQYBAakGswGwBQYBAa0GswG0BQYBAbEGswG4BQYBAbUGswG8BQYBAbkGswHGBS1BbHR1YS5EYXRhLkluZnJhc3RydWN0dXJlLlRleHRSdW4sIEFsdHVhLkRhdGHBBbEBFgQRRmlza2VyaSAvIGhhdmJydWsNvAbOBS9BbHR1YS5EYXRhLkluZnJhc3RydWN0dXJlLk51bWJlclJ1biwgQWx0dWEuRGF0YckFswETBA4DAAAAAACcn0AdwQbRAQ3IBtEFsQENBAhJbmR1c3RyaQ28BtUFsQEZBBRKb3JkYnJ1ayBvZyBza29nYnJ1aw3MBtkFswETBA4DAAAAAAAAIEAd0QbRAQ3UBt0FswETBA4Df69zf/YDL0Ad2QbRAQ3UBuEFswETBA4DAvkms4yfNkAd2QbRAQ3UBuUFsQEYBBNIb3RlbGwgLyByZXN0YXVyYW50DbwG6QWxARMEDkJ5Z2cgb2cgYW5sZWdnDbwG7QWzARMEDgMAAAAAAAA8QB3dBtEBDeAG8QWzARMEDgMAAAAAAKCfQB3lBtEBDegG9QWzARMEDgOWMgbrC/80QB3ZBtEBDdQG+QWzARMEDgOwgjv6qwBGQB3ZBtEBDdQG/QWzARMEDgMAAAAAAAAiQB3tBtEBDdQGgQaxARkEFFRyYW5zcG9ydCBvZyBsYWdyaW5nDbwGhQaxASMEHlRqZW5lc3RleXRpbmcgb2cga29tbXVuaWthc2pvbg28BokGswETBA4DAAAAAAAALkAd8QbRAQ30Bo0GswETBA4DtPO829PyK0Ad2QbRAQ3UBpEGswETBA4DAAAAAAAAJEAd+QbRAQ38BpUGsQEMBAdFaWVuZG9tDbwGmQazARMEDgMAAAAAAAAuQB2BB9EBDYQHnQaxAQ8EClZhcmVoYW5kZWwNvAahBrMBEwQOAwAAAAAAADlAHYkH0QENjAelBrMBEwQOAwAAAAAAgEdAHZEH0QENlAepBrMBEwQOAwAAAAAAAC5AHZkH0QENnAetBrMBEwQOAxenyEywIkRAHdkG0QEN1AaxBrMBEwQOA3nLQleaCDVAHdkG0QEN1Aa1BrMBEwQOA6m8NUyjCy5AHdkG0QEN1Aa5BrMBEwQOA8iorH1anyxAHdkG0QEN1Aa8BhIEABwAJAAsADQAPABMAFQAXQDGBj1BbHR1YS5EYXRhLk51bWJlckZvcm1hdHRpbmcuQ29tcG9zaXRlTnVtYmVyRm9ybWF0LCBBbHR1YS5EYXRhwQbRAQsdoAclpAc1qAc9AMgGEgQAHAAkACwANAA8AEwAVABdAMwGEgQAHAAkACwANAA8AEwAVABdANEG0QELHawHJbAHNbQHPQDUBhIEABwAJAAsADQAPABMAFQAXQDZBtEBCx24ByW8BzXABz0A3QbRAQsdxAclyAc1zAc9AOAGEgQAHAAkACwANAA8AEwAVABdAOUG0QELHdAHJdQHNdgHPQDoBhIEABwAJAAsADQAPABMAFQAXQDtBtEBCx3cByXgBzXkBz0A8QbRAQsd6Acl7Ac18Ac9APQGEgQAHAAkACwANAA8AEwAVABdAPkG0QELHfQHJfgHNfwHPQD8BhIEABwAJAAsADQAPABMAFQAXQCBB9EBCx2ACCWECDWICD0AhAcSBAAcACQALAA0ADwATABUAF0AiQfRAQsdjAglkAg1lAg9AIwHEgQAHAAkACwANAA8AEwAVABdAJEH0QELHZgIJZwINaAIPQCUBxIEABwAJAAsADQAPABMAFQAXQCZB9EBCx2kCCWoCDWsCD0AnAcSBAAcACQALAA0ADwATABUAF0AoAcJAAAMAwWwCBEApAcJAAAMAwW0CBEAqAcKBAEsDAEuFAJrcqwHCQAADAMFuAgRALAHCQAADAMFvAgRALQHCgQBLAwBLhQCa3K4BwkAAAwDBcAIEQC8BwkAAAwDBcQIEQDABwoEASwMAS4UAmtyxAcJAAAMAwXICBEAyAcJAAAMAwXMCBEAzAcKBAEsDAEuFAJrctAHCQAADAMF0AgRANQHCQAADAMF1AgRANgHCgQBLAwBLhQCa3LcBwkAAAwDBdgIEQDgBwkAAAwDBdwIEQDkBwoEASwMAS4UAmty6AcJAAAMAwXgCBEA7AcJAAAMAwXkCBEA8AcKBAEsDAEuFAJrcvQHCQAADAMF6AgRAPgHCQAADAMF7AgRAPwHCgQBLAwBLhQCa3KACAkAAAwDBfAIEQCECAkAAAwDBfQIEQCICAoEASwMAS4UAmtyjAgJAAAMAwX4CBEAkAgJAAAMAwX8CBEAlAgKBAEsDAEuFAJrcpgICQAADAMFgAkRAJwICQAADAMFhAkRAKAICgQBLAwBLhQCa3KkCAkAAAwDBYgJEQCoCAkAAAwDBYwJEQCsCAoEASwMAS4UAmtysAgGAQGRCaUCtAgKAQKZCacCkQmlArgIBgEBoQmlArwICgECpQmnAqEJpQLACAYBAakJqwLECAoBArEJpwK1CasCyAgGAQG5CaUCzAgKAQK9CacCuQmlAtAIBgEBwQmlAtQICgECxQmnAsEJpQLYCAYBAckJpQLcCAoBAs0JpwLJCaUC4AgGAQHRCaUC5AgKAQLVCacC0QmlAugIBgEB2QmlAuwICgEC3QmnAtkJpQLwCAYBAeEJpQL0CAoBAuUJpwLhCaUC+AgGAQHpCaUC/AgKAQLtCacC6QmlAoAJBgEB8QmlAoQJCgEC9QmnAvEJpQKICQYBAfkJpQKMCQoBAv0JpwL5CaUClglAQWx0dWEuRGF0YS5OdW1iZXJGb3JtYXR0aW5nLk51bWJlckZvcm1hdFZhbHVlU2VnbWVudCwgQWx0dWEuRGF0YZEJpQIFBAMFgAqeCT9BbHR1YS5EYXRhLk51bWJlckZvcm1hdHRpbmcuTnVtYmVyRm9ybWF0VGV4dFNlZ21lbnQsIEFsdHVhLkRhdGGZCacCBQQBLQkBoQmlAgUEAwWECqUJpwIFBAEtCQGuCUJBbHR1YS5EYXRhLk51bWJlckZvcm1hdHRpbmcuTnVtYmVyRm9ybWF0R2VuZXJhbFNlZ21lbnQsIEFsdHVhLkRhdGGpCasCALEJpwIFBAEtCQG1CasCALkJpQIFBAMFiAq9CacCBQQBLQkBwQmlAgUEAwWMCsUJpwIFBAEtCQHJCaUCBQQDBZAKzQmnAgUEAS0JAdEJpQIFBAMFlArVCacCBQQBLQkB2QmlAgUEAwWYCt0JpwIFBAEtCQHhCaUCBQQDBZwK5QmnAgUEAS0JAekJpQIFBAMFoArtCacCBQQBLQkB8QmlAgUEAwWkCvUJpwIFBAEtCQH5CaUCBQQDBagK/QmnAgUEAS0JAYAKBgEBrQrMAoQKBgEBrQrMAogKBgEBrQrMAowKBgEBtQrMApAKBgEBrQrMApQKBgEBrQrMApgKBgEBrQrMApwKBgEBrQrMAqAKBgEBrQrMAqQKBgEBrQrMAqgKBgEBrQrMArIKOUFsdHVhLkRhdGEuTnVtYmVyRm9ybWF0dGluZy5OdW1iZXJQbGFjZWhvbGRlciwgQWx0dWEuRGF0Ya0KzAIFAjAAAAC1CswCBQIwAAAA"/>
  <p:tag name="GRUNT-RENDERHASH" val="33dd8d2fd113b3b5edb5875c3d264fa4-svg"/>
  <p:tag name="GRUNT-X-SHAPEBOUNDS" val="ASIBBAAAAGCClXFAAAAAIGAjaEAAAADgPraEQAAAAIB/7nBAAA=="/>
  <p:tag name="GRUNT-X-PAGEOBJECT" val="AQUC1TsKOEFsdHVhLk9hay5Db3JlLkRvY3VtZW50TW9kZWwuQ2hhcnRPYmplY3QsIEFsdHVhLk9hay5Db3JlBQI1BBIEEJTX/z3hX3VOqPwQmsGonwQMEgQQn7TYSG0zm0q0uD3zeZAzHhUNBCUUNRg9HFUgZSQSUEFsdHVhLk9hay5Db3JlLkRvY3VtZW50TW9kZWwuVGVtcGxhdGluZy5DdXN0b21Qb3NpdGlvbkRlZmluaXRpb24sIEFsdHVhLk9hay5Db3JlDQQkBCIBBAhGz1yCt3FAeroL7l3OaED8XJjRPpSEQAIAAMCaS2tAFBMVKB0sNTA4AEU1DkwCBTxVQF1EGAQEAgVIHAIFTCALBVAMBW5iLU5PFVQkDgEBCQERARkBIQEpATEBKBYEEgQQAAAAAAAAAAAAAAAAAAAAAAgBLBYEEgQQAAAAAAAAAAAAAAAAAAAAAAgBMAA6N0FsdHVhLk9hay5Db3JlLkNoYXJ0LkxpbmVQbG90RGVmaW5pdGlvbiwgQWx0dWEuT2FrLkNvcmU1DkYAAAgEJVg8EgQQzk73BLYhDUmtx57MnBAQ4kQCBVxVYFkBcwAAAAAAAPA/fAIFZIUBaRuRAQCdAXClAXUeqQEAtQF8uQEAPAYBAoABhAFABQWIAQ0ARAIBAEgCAQBMAFAKBAEsDAEgFAJrclQJBAVuYi1OTwgBWA0AAAgBFAMFjAEcACUAXAIBAGAmBCIBBAAAAAAAABBAAAAAAAAAEEAAAAAAAAAQQAAAAAAAABBACARkBAEBkAFuRUFsdHVhLk9hay5Db3JlLlBsb3R0aW5nLkF1dG9tYXRpY0NhdGVnb3J5QXhpc1NldHRpbmdzLCBBbHR1YS5PYWsuQ29yZWkbEwEBDZQBEAAZATAAPZgBRZwBSAFwBgWhASkIAno9QWx0dWEuT2FrLkNvcmUuVGhlbWluZy5QYWdlQ29sb3JTY2hlbWVQb2ludGVyLCBBbHR1YS5PYWsuQ29yZXUeAHxKNagBPawBRbABVbQBXbgBdbwBjQHAAZ0BxAGlAcgBrQHMAc0B0AHVAdQB3QHYAeUB3AHtAeAB9QHkAf0B6AGFAuwBjQLwAZUC9AGAAUgEEgQQ+SxZ/v3fb0W5/mfTI9KrIyQSBBDeEv+gt+OZUY2Brka6081VLBIEEKJ522VVopBEs6KhHZz/DU89+QE/RYACSQFdhAKEAUgEEgQQNwaj6yos+USg3t9WLMyT6SQSBBAwnZNhOiUaQrdFAAjOVZHILBIEEKJ522VVopBEs6KhHZz/DU89iQI/RYwCSQFdkAKIAQCMAQIBAJABQgEBGAMllAIpADEAQABIAlWYAl2cAmQSBBCiedtlVaKQRLOioR2c/w1PbaACdaQCjQGoApEBAZ0BrAKlAbACtQG0ApQBAgEAmAEGBbkCTwgEnAEGBcECTwgEpgE6QWx0dWEuT2FrLkNvcmUuVGhlbWluZy5CaW5kaW5nQ29sb3JQb2ludGVyLCBBbHR1YS5PYWsuQ29yZaEBKQQFxQJSqAEFBAMFzAKsAQUEAwXQArABBQQDBdQCtAEFBAMF2AK4AQUEAwXcArwBBQQDBeACwAEFBAMF5ALEAQUEAwXoAsgBBQQDBewCzAEFBAMF8ALQAQUEAwX0AtQBBQQDBfgC2AEFBAMF/ALcAQUEAwWAA+ABBQQDBYQD5AEFBAMFiAPoAQUEAwWMA+wBBQQDBZAD8AEFBAMFlAP0AQUEAwWYA/4BPkFsdHVhLk9hay5Db3JlLkNoYXJ0LkRlZmF1bHRQbG90U2VyaWVzU2V0dGluZ3MsIEFsdHVhLk9hay5Db3Jl+QE/AIACBAUACAGEAgUFnAMIAYkCPwCMAgQFAAgBkAIEBQAIAZQCCwMAAAAAAAAAAAgCmAILAwAAAAAAAAAACAGcAgsDAAAAAAAAAAAIAaACFQWgAw2kAxWoAx2sAyWwAy20AzW4A6QCBw28AxXBA0+oAgsDAAAAAAAAAAAIBKwCBgXFA08IBLACBgXFA08IBLQCBQQDBcgDvgIzQWx0dWEuT2FrLkNvcmUuVGhlbWluZy5Db2xvclBvaW50ZXIsIEFsdHVhLk9hay5Db3JluQJPUFBQ/8ECT1BQUP/KAkhBbHR1YS5PYWsuQ29yZS5TeW50YXhTdHJ1Y3R1cmUuUGxvdFNlcmllc0JpbmRpbmdTdHJhdGVneSwgQWx0dWEuT2FrLkNvcmXFAlIAzAICAQDQAhYBCswD0APUA9gD3APgA+QD6APsA/AD1AIEAQH0A9gCBgEC+AP8A9wCBgECgASEBOACBAEBiATkAgIBAOgCAgEA7AIUAQmMBJAElASYBJwEoASkBKgErATwAgIBAPQCFAEJsAS0BLgEvATABMQEyATMBNAE+AISAQjUBNgE3ATgBOQE6ATsBPAE/AICAQCAAwYBAvQE+ASEAwgBA/wEgAWEBYgDAgEAjAMEAQGIBZADAgEAlAMOAQaMBZAFlAWYBZwFoAWYAwIBAJwDBQQDBaQFoAMHBAMEAQAIBKQDBQQBLggEqAMEAAEIBKwDBAAACASwAwQEAAgEtAMEBAAIBLgDBAAACAS8AwUEAwWoBcEDTz4+5f/FA09QUFD/yAMCAQDMAw4FrQWsAQsAAAAAAAAAANADDgW1Ba4BCwAAAAAAAOA/1AMOBb0FsAELAAAAAAAA4D/YAw4FxQWyAQsAAAAAAADgP9wDDgXNBbQBCwAAAAAAAPg/4AMOBdUFtgELAAAAAAAA4D/kAw4F3QW4AQsAAAAAAADgP+gDDgXlBboBCwAAAAAAAAAA7AMOBe0FvAELAAAAAAAAEUDwAw4F9QW8AQsAAAAAAAARQPQDCAX5BbIBDfwF+AMHBYEGwQEIAfwDBwWJBsEBCAGABA4FjQbBAQsAAAAAAAAgQIQEDgWRBsEBCwAAAAAAACBAiAQOBZUGxgELAAAAAAAAAACMBAkFnQbIAQ2lBimQBAoFqQa2AQ2tBswBlAQKBbUGrgENuQbMAZgECgW9BrABDcEGzAGcBAkFxQbSAQ3NBk+gBAoF0Qa4AQ3VBswBpAQKBdkGwQEN3QbMAagECgXhBrwBDeUGzAGsBAkF6Qa8AQ3tBk+wBAcF8QbdAQkAtAQHBfkG3wEJAbgEBwWBB+EBCQG8BAcFiQfjAQkBwAQHBZEH3QEJAMQEBwWVB+YBCQHIBAcFnQfmAQkBzAQHBaEH6QEJANAEBwWpB+sBCQDUBAoFsQftAQ25B+8B2AQKBcEH8QENyQfzAdwECgXRB90BDdUH9gHgBAoF3QffAQ3hB/kB5AQKBekH4QEN4Qf5AegECgXtB+MBDfEH/QHsBAoF+QfdAQ39B4AC8AQKBYUI5gENiQiDAvQECgWRCOkBDZUIhgL4BAoFnQiIAg2lCIYC/AQKBakIiAINrQiMAoAFCgW1COYBDbkIjAKEBQoFvQjmAQ3BCIwCiAUKBcUIxgENyQiTAowFCgXRCN0BDdUIlgKQBQoF3QiYAg3lCJYClAUKBekItgEN7QiWApgFCgWRCOkBDfEIlgKcBQoF9QjmAQ35CJYCoAUKBf0I5gENgQmWAqQFBgEBhQmiAqgFBAECAQSyBVlBbHR1YS5PYWsuQ29yZS5Nb2RpZmljYXRpb24uU3R5bGluZy5WYWx1ZUF4aXNHcmlkbGluZXNDdXN0b21pemF0aW9uVGFyZ2V0LCBBbHR1YS5PYWsuQ29yZa0FrAEAugVTQWx0dWEuT2FrLkNvcmUuTW9kaWZpY2F0aW9uLlN0eWxpbmcuQ2F0ZWdvcnlBeGlzQ3VzdG9taXphdGlvblRhcmdldCwgQWx0dWEuT2FrLkNvcmW1Ba4BAMIFUEFsdHVhLk9hay5Db3JlLk1vZGlmaWNhdGlvbi5TdHlsaW5nLk9yaWdvTGluZUN1c3RvbWl6YXRpb25UYXJnZXQsIEFsdHVhLk9hay5Db3JlvQWwAQDKBV1BbHR1YS5PYWsuQ29yZS5Nb2RpZmljYXRpb24uU3R5bGluZy5BbGxDb25uZWN0b3JzQXV4aWxpYXJ5Q3VzdG9taXphdGlvblRhcmdldCwgQWx0dWEuT2FrLkNvcmXFBbIBANIFWUFsdHVhLk9hay5Db3JlLk1vZGlmaWNhdGlvbi5TdHlsaW5nLlNlcmllc1dpdGhQbG90S2luZEN1c3RvbWl6YXRpb25UYXJnZXQsIEFsdHVhLk9hay5Db3JlzQW0AQMFjAnaBVNBbHR1YS5PYWsuQ29yZS5Nb2RpZmljYXRpb24uU3R5bGluZy5BbGxWYWx1ZUF4aXNDdXN0b21pemF0aW9uVGFyZ2V0LCBBbHR1YS5PYWsuQ29yZdUFtgEA4gVbQWx0dWEuT2FrLkNvcmUuTW9kaWZpY2F0aW9uLlN0eWxpbmcuR3JpZGxpbmVGb3JEaXJlY3Rpb25DdXN0b21pemF0aW9uVGFyZ2V0LCBBbHR1YS5PYWsuQ29yZd0FuAECAQDqBVZBbHR1YS5PYWsuQ29yZS5Nb2RpZmljYXRpb24uU3R5bGluZy5TaW5nbGVWYWx1ZUF4aXNDdXN0b21pemF0aW9uVGFyZ2V0LCBBbHR1YS5PYWsuQ29yZeUFugEUBBIEEKJ522VVopBEs6KhHZz/DU/yBU1BbHR1YS5PYWsuQ29yZS5Nb2RpZmljYXRpb24uU3R5bGluZy5TZXJpZXNDdXN0b21pemF0aW9uVGFyZ2V0LCBBbHR1YS5PYWsuQ29yZe0FvAEUBBIEEDCdk2E6JRpCt0UACM5Vkcj1BbwBFAQSBBDeEv+gt+OZUY2Brka6081V+QWyAQD8BQUMAwWQCYYGU0FsdHVhLk9hay5Db3JlLk1vZGlmaWNhdGlvbi5TdHlsaW5nLlNlcmllc01hcmtlckN1c3RvbWl6YXRpb25UYXJnZXQsIEFsdHVhLk9hay5Db3JlgQbBARQEEgQQ3hL/oLfjmVGNga5GutPNVYkGwQEUBBIEEDCdk2E6JRpCt0UACM5VkciNBsEBFAQSBBAwnZNhOiUaQrdFAAjOVZHIkQbBARQEEgQQ3hL/oLfjmVGNga5GutPNVZoGXkFsdHVhLk9hay5Db3JlLk1vZGlmaWNhdGlvbi5TdHlsaW5nLkFsbENhdGVnb3J5TGFiZWxPZkxldmVsQ3VzdG9taXphdGlvblRhcmdldCwgQWx0dWEuT2FrLkNvcmWVBsYBBQ2VCaYCogZWQWx0dWEuT2FrLkNvcmUuTW9kaWZpY2F0aW9uLlN0eWxpbmcuQWxsU2VyaWVzTWFya2VyQ3VzdG9taXphdGlvblRhcmdldCwgQWx0dWEuT2FrLkNvcmWdBsgBAKUGKQQFnQlSqQa2AQCyBjdBbHR1YS5PYWsuQ29yZS5UaGVtaW5nLlBhZ2VDb2xvclBvaW50ZXIsIEFsdHVhLk9hay5Db3JlrQbMAQQAAAgAtQauAQC5BswBBAAACAC9BrABAMEGzAEEAAAIAMoGU0FsdHVhLk9hay5Db3JlLk1vZGlmaWNhdGlvbi5TdHlsaW5nLkFsbEdyaWRsaW5lc0N1c3RvbWl6YXRpb25UYXJnZXQsIEFsdHVhLk9hay5Db3JlxQbSAQDNBk+AgID/0Qa4AQIBANUGzAEEAAEIAtkGwQEUBBIEEN4S/6C345lRjYGuRrrTzVXdBswBBAAFCADhBrwBFAQSBBDeEv+gt+OZUY2Brka6081V5QbMAQQABQgA6Qa8ARQEEgQQMJ2TYTolGkK3RQAIzlWRyO0GT/+hL//2BlhBbHR1YS5PYWsuQ29yZS5Nb2RpZmljYXRpb24uU3R5bGluZy5TZXJpZXNMYWJlbE9mVHlwZUN1c3RvbWl6YXRpb25UYXJnZXQsIEFsdHVhLk9hay5Db3Jl8QbdAQIAAP4GWEFsdHVhLk9hay5Db3JlLk1vZGlmaWNhdGlvbi5TdHlsaW5nLkFsbFZhbHVlQXhpc0xhYmVsQ3VzdG9taXphdGlvblRhcmdldCwgQWx0dWEuT2FrLkNvcmX5Bt8BAIYHV0FsdHVhLk9hay5Db3JlLk1vZGlmaWNhdGlvbi5TdHlsaW5nLkFsbENhdGVnb3J5TGFiZWxDdXN0b21pemF0aW9uVGFyZ2V0LCBBbHR1YS5PYWsuQ29yZYEH4QEAjgdYQWx0dWEuT2FrLkNvcmUuTW9kaWZpY2F0aW9uLlN0eWxpbmcuQWxsQXV4aWxpYXJ5TGFiZWxDdXN0b21pemF0aW9uVGFyZ2V0LCBBbHR1YS5PYWsuQ29yZYkH4wEAkQfdAQIAApoHUkFsdHVhLk9hay5Db3JlLk1vZGlmaWNhdGlvbi5TdHlsaW5nLlNlcmllc0xhYmVsQ3VzdG9taXphdGlvblRhcmdldCwgQWx0dWEuT2FrLkNvcmWVB+YBFgQSBBDeEv+gt+OZUY2Brka6081VCACdB+YBFgQSBBAwnZNhOiUaQrdFAAjOVZHICACmB1VBbHR1YS5PYWsuQ29yZS5Nb2RpZmljYXRpb24uU3R5bGluZy5WYWx1ZUF4aXNMYWJlbEN1c3RvbWl6YXRpb25UYXJnZXQsIEFsdHVhLk9hay5Db3JloQfpARQEEgQQonnbZVWikESzoqEdnP8NT64HWkFsdHVhLk9hay5Db3JlLk1vZGlmaWNhdGlvbi5TdHlsaW5nLlZhbHVlQXhpc1RpdGxlTGFiZWxDdXN0b21pemF0aW9uVGFyZ2V0LCBBbHR1YS5PYWsuQ29yZakH6wEUBBIEEKJ522VVopBEs6KhHZz/DU+2B1hBbHR1YS5PYWsuQ29yZS5Nb2RpZmljYXRpb24uU3R5bGluZy5DYXRlZ29yeUF4aXNUaXRsZUN1c3RvbWl6YXRpb25UYXJnZXQsIEFsdHVhLk9hay5Db3JlsQftAQC+B0ZBbHR1YS5PYWsuQ29yZS5QbG90dGluZy5BeGlzVGl0bGVMYWJlbFBsYWNlbWVudE91dHNpZGUsIEFsdHVhLk9hay5Db3JluQfvAQIAAcYHXUFsdHVhLk9hay5Db3JlLk1vZGlmaWNhdGlvbi5TdHlsaW5nLkFsbFZhbHVlQXhpc1RpdGxlTGFiZWxDdXN0b21pemF0aW9uVGFyZ2V0LCBBbHR1YS5PYWsuQ29yZcEH8QEAzgdCQWx0dWEuT2FrLkNvcmUuUGxvdHRpbmcuQXhpc1RpdGxlTGFiZWxQbGFjZW1lbnRGYXIsIEFsdHVhLk9hay5Db3JlyQfzAQIAANEH3QECAADaB0BBbHR1YS5PYWsuQ29yZS5QbG90dGluZy5MYWJlbFBsYWNlbWVudFBvaW50T3V0ZXIsIEFsdHVhLk9hay5Db3Jl1Qf2AQDdB98BAOYHQUFsdHVhLk9hay5Db3JlLlBsb3R0aW5nLkF4aXNMYWJlbFBsYWNlbWVudE91dHNpZGUsIEFsdHVhLk9hay5Db3Jl4Qf5AQIBAOkH4QEA7QfjAQD2B0ZBbHR1YS5PYWsuQ29yZS5QbG90dGluZy5BdXhpbGlhcnlMYWJlbFBsYWNlbWVudERlZmF1bHQsIEFsdHVhLk9hay5Db3Jl8Qf9AQD5B90BAgACgghDQWx0dWEuT2FrLkNvcmUuUGxvdHRpbmcuTGFiZWxQbGFjZW1lbnRTZXJpZXNPdXRzaWRlLCBBbHR1YS5PYWsuQ29yZf0HgAICAAGFCOYBFgQSBBAwnZNhOiUaQrdFAAjOVZHICACOCEBBbHR1YS5PYWsuQ29yZS5QbG90dGluZy5MYWJlbFBsYWNlbWVudFBvaW50SW5uZXIsIEFsdHVhLk9hay5Db3JliQiDAgCRCOkBFAQSBBCiedtlVaKQRLOioR2c/w1PmghCQWx0dWEuT2FrLkNvcmUuU3ludGF4U3RydWN0dXJlLkFjdHVhbEZvbnRTaXplVmFsdWUsIEFsdHVhLk9hay5Db3JllQiGAgkDAAAAAAAAKkCiCFBBbHR1YS5PYWsuQ29yZS5Nb2RpZmljYXRpb24uU3R5bGluZy5BbGxMYWJlbHNDdXN0b21pemF0aW9uVGFyZ2V0LCBBbHR1YS5PYWsuQ29yZZ0IiAIApQiGAgkDAAAAAAAAKECpCIgCALIIQ0FsdHVhLk9hay5Db3JlLlN5bnRheFN0cnVjdHVyZS5BY3R1YWxGb250Q29sb3JWYWx1ZSwgQWx0dWEuT2FrLkNvcmWtCIwCBQWhCakCtQjmARYEEgQQ3hL/oLfjmVGNga5GutPNVQgAuQiMAgUFqQnMAb0I5gEWBBIEEDCdk2E6JRpCt0UACM5VkcgIAMEIjAIEBa0JT8UIxgEFDbEJpgLOCENBbHR1YS5PYWsuQ29yZS5TeW50YXhTdHJ1Y3R1cmUuQWN0dWFsRm9udFN0eWxlVmFsdWUsIEFsdHVhLk9hay5Db3JlyQiTAgIAANEI3QECAADaCEZBbHR1YS5PYWsuQ29yZS5TeW50YXhTdHJ1Y3R1cmUuQWN0dWFsTnVtYmVyRm9ybWF0VmFsdWUsIEFsdHVhLk9hay5Db3Jl1QiWAgUFtQmuAuIIVUFsdHVhLk9hay5Db3JlLk1vZGlmaWNhdGlvbi5TdHlsaW5nLkFsbFRvdGFsTGFiZWxzQ3VzdG9taXphdGlvblRhcmdldCwgQWx0dWEuT2FrLkNvcmXdCJgCAOUIlgIFBbUJrgLpCLYBAO0IlgIFBbUJrgLxCJYCBQW9Ca4C9QjmARYEEgQQ3hL/oLfjmVGNga5GutPNVQgA+QiWAgUFvQmuAv0I5gEWBBIEEDCdk2E6JRpCt0UACM5VkcgIAIEJlgIFBb0JrgKKCS9BbHR1YS5EYXRhLkluZnJhc3RydWN0dXJlLlBhcmFncmFwaCwgQWx0dWEuRGF0YYUJogIFDAMFwAmMCQEFkAkKAQIAAIBAAABAQJoJOUFsdHVhLk9hay5Db3JlLlBsb3R0aW5nLkNhdGVnb3J5QXhpc0xldmVsLCBBbHR1YS5PYWsuQ29yZZUJpgIAnQlSAKYJP0FsdHVhLk9hay5Db3JlLlRoZW1pbmcuSGlnaENvbnRyYXN0Q29sb3JQb2ludGVyLCBBbHR1YS5PYWsuQ29yZaEJqQIAqQnMAQQAAAgArQlPpFoA/7EJpgIAugk9QWx0dWEuRGF0YS5OdW1iZXJGb3JtYXR0aW5nLkNvbXBvc2l0ZU51bWJlckZvcm1hdCwgQWx0dWEuRGF0YbUJrgIKHcQJJcgJNVA9AL0JrgILHcwJJdAJNdQJPQDACQYBAdkJtwLECQ0A+v///w8MAwXgCREAyAkNAPr///8PDAMF5AkRAMwJCQAADAMF6AkRAdAJCQAADAMF7AkRAdQJCgQBLAwBLhQCa3LeCS9BbHR1YS5EYXRhLkluZnJhc3RydWN0dXJlLk51bWJlclJ1biwgQWx0dWEuRGF0YdkJtwITBA4DAAAAAACgn0Ad8QmuAg30CeAJBgEB+Qm/AuQJCgECgQrBAokKvwLoCQYBAY0KxALsCQoBApUKwQKNCsQC8QmuAgsdmAolnAo1oAo9APQJEgQAHAAkACwANAA8AEwAVABdAP4JQkFsdHVhLkRhdGEuTnVtYmVyRm9ybWF0dGluZy5OdW1iZXJGb3JtYXRHZW5lcmFsU2VnbWVudCwgQWx0dWEuRGF0YfkJvwIAhgo/QWx0dWEuRGF0YS5OdW1iZXJGb3JtYXR0aW5nLk51bWJlckZvcm1hdFRleHRTZWdtZW50LCBBbHR1YS5EYXRhgQrBAgUEAS0JAYkKvwIAkgpAQWx0dWEuRGF0YS5OdW1iZXJGb3JtYXR0aW5nLk51bWJlckZvcm1hdFZhbHVlU2VnbWVudCwgQWx0dWEuRGF0YY0KxAIFBAMFpAqVCsECBQQBLQkBmAoJAAAMAwWoChEAnAoJAAAMAwWsChEAoAoKBAEsDAEuFAJrcqQKEgEEsQrNArEKzQKxCs0CuQrNAqgKBgEBvQrEAqwKCgECwQrBAr0KxAK2CjlBbHR1YS5EYXRhLk51bWJlckZvcm1hdHRpbmcuTnVtYmVyUGxhY2Vob2xkZXIsIEFsdHVhLkRhdGGxCs0CBQIAAAAAuQrNAgUCMAAAAL0KxAIFBAMFxArBCsECBQQBLQkBxAoGAQHJCs0CyQrNAgUCMAAAAA=="/>
  <p:tag name="GRUNT-SYNC" val="6ebfbab9df6c46a89cb554147082eca8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087487cf-fca3-4cf6-a5f9-b669d50e1c49"/>
  <p:tag name="GRUNT-X-RESOURCES" val="AQIFBAQEAgEA"/>
  <p:tag name="GRUNT-VERSION" val="20.23.267.0"/>
  <p:tag name="GRUNT-RENDERHASH" val="2733274a0b92a48f24ce7b05fc436e0e-svg"/>
  <p:tag name="GRUNT-X-SHAPEBOUNDS" val="ASIBBAAAAMCxgoBAAAAAAF7GZkAAAAAA//9eQAAAAMD/PzBAAA=="/>
  <p:tag name="GRUNT-X-PAGEOBJECT" val="AQUCswIKPkFsdHVhLk9hay5Db3JlLkRvY3VtZW50TW9kZWwuQ2hhcnRMZWdlbmRPYmplY3QsIEFsdHVhLk9hay5Db3JlBQI5BBIEEM+HdAij/PZMpfm2adUOHEkUEgQQzk73BLYhDUmtx57MnBAQ4i0MNRBEAgUUSABVGQdlIG0kDAQEAgUoEAIFLBQCAQAeUEFsdHVhLk9hay5Db3JlLkRvY3VtZW50TW9kZWwuVGVtcGxhdGluZy5DdXN0b21Qb3NpdGlvbkRlZmluaXRpb24sIEFsdHVhLk9hay5Db3JlGQckBCIBBL4qP8GxgoBAlLpr9F3GZkDQ///z/v9eQDD//8z/PzBAIAsFMAwFbmItTk8VNCQEAQEJASgCAQAsADAKBAEsDAEgFAJrcjQJBAVuYi1OTwgB"/>
  <p:tag name="GRUNT-SYNC" val="0834c99349994b82be8d587b865a77af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1895e0e5-ff47-40a2-9daf-1d3fe51e565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hBQKN0FsdHVhLkRhdGEuRGF0YVNlcnZpY2VzLkVtYmVkZGVkRGF0YVNlcnZpY2UsIEFsdHVhLkRhdGEFAhkEEgQQqr8Ghxj3tE2QnsgznH+Xaw0MJREFDAYFGAgMEAUWQUFsdHVhLkRhdGEuRGF0YVNlcnZpY2VzLkVtYmVkZGVkRGF0YVNlcnZpY2VFZGl0b3JEYXRhLCBBbHR1YS5EYXRhEQUEBRwNIBgGBSQNKBUsHDwdBBIEEFmfYeZYkT9IhCqevPceZUYLAAAAAACAWkAdBBIEEB/rjDimIctLiTIXQgTfWDQLAAAAAAAgYkAgHh0EEgQQhB+R4huFNUGwuFZrPUlJDwsAAAAAAAAyQCQDMDQ4KAM8QEQslQMsBCgEEgQQ2o0rEHtPmkyZRivzTi/4HAwSBBBfl5CXxFq7QpsQMAZxTsVZDUgsBCgEEgQQdZ6YkVxDK0eAjaDLHe+U4wwSBBBfl5CXxFq7QpsQMAZxTsVZDUwsBCgEEgQQH+uMOKYhy0uJMhdCBN9YNAwSBBDo3BoVsgn8R5B6Qsv8cWBbDVAsBCgEEgQQH+uMOKYhy0uJMhdCBN9YNAwSBBBfl5CXxFq7QpsQMAZxTsVZDVQsBCgEEgQQ2o0rEHtPmkyZRivzTi/4HAwSBBD5LFn+/d9vRbn+Z9Mj0qsjDVgsBCgEEgQQdZ6YkVxDK0eAjaDLHe+U4wwSBBD5LFn+/d9vRbn+Z9Mj0qsjDVwsBCgEEgQQ2o0rEHtPmkyZRivzTi/4HAwSBBDo3BoVsgn8R5B6Qsv8cWBbDWAsBCgEEgQQH+uMOKYhy0uJMhdCBN9YNAwSBBD5LFn+/d9vRbn+Z9Mj0qsjDWQsBCgEEgQQdZ6YkVxDK0eAjaDLHe+U4wwSBBDo3BoVsgn8R5B6Qsv8cWBbDWgwGgQSBBDajSsQe0+aTJlGK/NOL/gcDAJDMRAANBoEEgQQH+uMOKYhy0uJMhdCBN9YNAwCQzIQADgaBBIEEHWemJFcQytHgI2gyx3vlOMMAkMzEAA8GgQSBBBfl5CXxFq7QpsQMAZxTsVZDAJSMRAAQBoEEgQQ6NwaFbIJ/EeQekLL/HFgWwwCUjIQAEQaBBIEEPksWf79329Fuf5n0yPSqyMMAlIzEABIBA1sFXBMBA1sFXRQBA1sFXhUBA1sFXxYBQ1sFYABXAUNbBWEAWAFDWwViAFkBQ1sFYwBaAUNbBWQAWwCBABwBQQDBZQBdAUEAwWYAXgFBAMFnAF8BQQDBaABgAEFBAMFpAGEAQUEAwWoAYgBBQQDBawBjAEFBAMFsAGQAQUEAwW0AZQBAgEAmAEFAQG5AS+cAQUBAcEBL6ABBQEBxQEvpAEFAQHJAS+oAQUBAc0BL6wBBQEB0QEvsAEFAQHVAS+0AQUBAdkBL74BL0FsdHVhLkRhdGEuSW5mcmFzdHJ1Y3R1cmUuUGFyYWdyYXBoLCBBbHR1YS5EYXRhuQEvBQwDBdwBwQEvBQwDBeABxQEvBQwDBeQByQEvBQwDBegBzQEvBQwDBewB0QEvBQwDBfAB1QEvBQwDBfQB2QEvBQwDBfgB3AEFAQH9AUDgAQUBAYUCQuQBBQEBjQJA6AEFAQGRAkLsAQUBAZUCQvABBQEBmQJC9AEFAQGdAkL4AQUBAaECQoICLUFsdHVhLkRhdGEuSW5mcmFzdHJ1Y3R1cmUuVGV4dFJ1biwgQWx0dWEuRGF0Yf0BQAgEA05laQ2kAooCL0FsdHVhLkRhdGEuSW5mcmFzdHJ1Y3R1cmUuTnVtYmVyUnVuLCBBbHR1YS5EYXRhhQJCEgQNAwAAAAAAAEJAHakCSw2wAo0CQCwEJ0hhciBnam9ydCBvZyBlbGxlciBwbGFubGVnZ2VyIGVuZHJpbmdlcg20ApECQhIEDQMAAAAAAKCfQB25AksNvAKVAkISBA0DAAAAAACAT0AdwQJLDcQCmQJCEgQNAwAAAAAAnJ9AHckCSw3MAp0CQhIEDQMAAAAAAABCQB3RAksN1AKhAkISBA0DAAAAAAAAUEAd2QJLDdwCpAISBAAcACQALAA0ADwATABUAF0ArgI9QWx0dWEuRGF0YS5OdW1iZXJGb3JtYXR0aW5nLkNvbXBvc2l0ZU51bWJlckZvcm1hdCwgQWx0dWEuRGF0YakCSwsd4AIl5AI16AI9ALACEgQAHAAkACwANAA8AEwAVABdALQCEgQAHAAkACwANAA8AEwAVABdALkCSwsd7AIl8AI19AI9ALwCEgQAHAAkACwANAA8AEwAVABdAMECSwsd+AIl/AI1gAM9AMQCEgQAHAAkACwANAA8AEwAVABdAMkCSwsdhAMliAM1jAM9AMwCEgQAHAAkACwANAA8AEwAVABdANECSwsdkAMllAM1mAM9ANQCEgQAHAAkACwANAA8AEwAVABdANkCSwsdnAMloAM1pAM9ANwCEgQAHAAkACwANAA8AEwAVABdAOACCQAADAMFqAMRAOQCCQAADAMFrAMRAOgCCgQBLAwBLhQCa3LsAgkAAAwDBbADEQDwAgkAAAwDBbQDEQD0AgoEASwMAS4UAmty+AIJAAAMAwW4AxEA/AIJAAAMAwW8AxEAgAMKBAEsDAEuFAJrcoQDCQAADAMFwAMRAIgDCQAADAMFxAMRAIwDCgQBLAwBLhQCa3KQAwkAAAwDBcgDEQCUAwkAAAwDBcwDEQCYAwoEASwMAS4UAmtynAMJAAAMAwXQAxEAoAMJAAAMAwXUAxEApAMKBAEsDAEuFAJrcqgDBQEB2QN3rAMIAQLhA3nZA3ewAwUBAekDd7QDCAEC7QN56QN3uAMFAQHxA3e8AwgBAvUDefEDd8ADBQEB+QN3xAMIAQL9A3n5A3fIAwUBAYEEd8wDCAEChQR5gQR30AMFAQGJBHfUAwgBAo0EeYkEd94DQEFsdHVhLkRhdGEuTnVtYmVyRm9ybWF0dGluZy5OdW1iZXJGb3JtYXRWYWx1ZVNlZ21lbnQsIEFsdHVhLkRhdGHZA3cFBAMFkATmAz9BbHR1YS5EYXRhLk51bWJlckZvcm1hdHRpbmcuTnVtYmVyRm9ybWF0VGV4dFNlZ21lbnQsIEFsdHVhLkRhdGHhA3kFBAEtCQHpA3cFBAMFlATtA3kFBAEtCQHxA3cFBAMFmAT1A3kFBAEtCQH5A3cFBAMFnAT9A3kFBAEtCQGBBHcFBAMFoASFBHkFBAEtCQGJBHcFBAMFpASNBHkFBAEtCQGQBAYBAakEiwGUBAYBAbEEiwGYBAYBAakEiwGcBAYBAbEEiwGgBAYBAakEiwGkBAYBAakEiwGuBDlBbHR1YS5EYXRhLk51bWJlckZvcm1hdHRpbmcuTnVtYmVyUGxhY2Vob2xkZXIsIEFsdHVhLkRhdGGpBIsBBQIwAAAAsQSLAQUCMAAAAA=="/>
  <p:tag name="GRUNT-RENDERHASH" val="c110f0161c4c36498c63a58f115783ea-svg"/>
  <p:tag name="GRUNT-X-SHAPEBOUNDS" val="ASIBBAAAAAAAQEpAAAAAQDMrbEAAAABAAFRxQAAAAODM5GtAAA=="/>
  <p:tag name="GRUNT-X-PAGEOBJECT" val="AQUCkyMKOEFsdHVhLk9hay5Db3JlLkRvY3VtZW50TW9kZWwuQ2hhcnRPYmplY3QsIEFsdHVhLk9hay5Db3JlBQI1BBIEEK0DCFI2wE9Dq3joivYTQmAMEgQQqr8Ghxj3tE2QnsgznH+XaxUNBCUUNRg9HFUgZSQSUEFsdHVhLk9hay5Db3JlLkRvY3VtZW50TW9kZWwuVGVtcGxhdGluZy5DdXN0b21Qb3NpdGlvbkRlZmluaXRpb24sIEFsdHVhLk9hay5Db3JlDQQkBCIBBAAAAAAAYEpAGACgBQA4bkDj/684AExxQDwAwHdmvmVAFBMVKB0sNTA4AEU1DkwCBTxVQF1EGAQEAgVIHAIFTCALBVAMBW5iLU5PFVQkDgEBCQERARkBIQEpATEBKBYEEgQQAAAAAAAAAAAAAAAAAAAAAAgBLBYEEgQQAAAAAAAAAAAAAAAAAAAAAAgBMAA6R0FsdHVhLk9hay5Db3JlLkNoYXJ0LkNsdXN0ZXJlZEJhcldpdGhMaW5lUGxvdERlZmluaXRpb24sIEFsdHVhLk9hay5Db3JlNQ41BBIEENpghvpUrvlKtWAjQ/xNsIscAgVYJVw1YDwCBWRJAW1ojQFspQFwtQF1HrkBAMUBfSA8AgEAQAUFhAENAEQCAQBIAgEATABQCgQBLAwBIBQCa3JUCQQFbmItTk8IAVgEAQGIAVwNAAAIARQDBYwBHAAlAGAmBCIBBAAAAAAAABBAAAAAAAAAEEAAAAAAAAAQQAAAAAAAABBACARkAgEAaAsDAAAAAACATUAIIGwLAwAAAAAAABRACCBwSjWQAT2UAUWYAVWcAV2gAXWkAY0BqAGdAawBpQGwAa0BtAHNAbgB1QG8Ad0BwAHlAcQB7QHIAfUBzAH9AdABhQLUAY0C2AGVAtwBekVBbHR1YS5PYWsuQ29yZS5QbG90dGluZy5BdXRvbWF0aWNDYXRlZ29yeUF4aXNTZXR0aW5ncywgQWx0dWEuT2FrLkNvcmV1HhMBAQ3gARAAGQEwAD3kAUXoAUgBggE9QWx0dWEuT2FrLkNvcmUuVGhlbWluZy5QYWdlQ29sb3JTY2hlbWVQb2ludGVyLCBBbHR1YS5PYWsuQ29yZX0gAIQBAIgBQgEAGAMl7AEpADEAQABIAlXwAV30AWQSBBCJvCrG1ofdSJPhVh6k12rTbfgBdfwBjQGAApEBAZ0BhAKlAYgCtQGMAowBAgEAkAEFBAMFkAKUAQUEAwWUApgBBQQDBZgCnAEFBAMFnAKgAQUEAwWQAqQBBQQDBZACqAEFBAMFoAKsAQUEAwWkArABBQQDBagCtAEFBAMFrAK4AQUEAwWwArwBBQQDBbQCwAEFBAMFuALEAQUEAwW8AsgBBQQDBcACzAEFBAMFxALQAQUEAwXIAtQBBQQDBcwC2AEFBAMF0ALcAQUEAwXUAuABAgEA5AEGBdkCVwgE6AEGBeECVwgE7AELAwAAAAAAAAAACALwAQsDAAAAAAAAAAAIAfQBCwMAAAAAAAAAAAgB+AEVBeQCDegCFewCHfACJfQCLfgCNfwC/AEHDYADFYUDV4ACCwMAAAAAAAAAAAgEhAIGBYkDVwgEiAIGBYkDVwgEjAIFBAMFjAOQAgIBAJQCDgEGkAOUA5gDnAOgA6QDmAIEAQGoA5wCAgEAoAICAQCkAgIBAKgCDAEFrAOwA7QDuAO8A6wCAgEAsAIOAQbAA8QDyAPMA9AD1AO0AhABB9gD3APgA+QD6APsA/ADuAICAQC8AgQBAfQDwAIKAQT4A/wDgASEBMQCAgEAyAICAQDMAgIBANACAgEA1AICAQDeAjNBbHR1YS5PYWsuQ29yZS5UaGVtaW5nLkNvbG9yUG9pbnRlciwgQWx0dWEuT2FrLkNvcmXZAldQUFD/4QJXUFBQ/+QCBwQDBAEACAToAgUEAS4IBOwCBAABCATwAgQAAAgE9AIEBAAIBPgCBAQACAT8AgQAAAgEgAMFBAMFiASFA1c+PuX/iQNXUFBQ/4wDAgEAkAMOBY0EhAELAAAAAAAAAACUAw4FlQSGAQsAAAAAAAAAAJgDDgWdBIgBCwAAAAAAAOA/nAMOBaUEigELAAAAAAAA4D+gAw4FrQSMAQsAAAAAAADgP6QDDgW1BI4BCwAAAAAAAPg/qAMIBb0EjAENwASsAwoFxQSSAQ3NBJQBsAMKBdUEhAEN2QSXAbQDCgXhBIgBDeUElwG4AwoF6QSKAQ3tBJcBvAMJBfEEnQEN+QRXwAMHBf0EoAEJAcQDBwWFBaIBCQDIAwcFjQWgAQkBzAMHBZEFpQEJAdADBwWZBacBCQHUAwcFoQWpAQkB2AMKBakFqwENsQWtAdwDCgW5Ba8BDcEFsQHgAwoFyQWzAQ3RBbUB5AMKBdkFswEN0QW1AegDCgXdBaIBDeEFuQHsAwoF6QWnAQ3hBbkB8AMKBe0FqQEN8QW9AfQDCgX5Bb8BDYEGwQH4AwoFiQaiAQ2NBsQB/AMKBZUGrwENmQbEAYAECgWdBqcBDaEGxAGEBAoFpQarAQ2pBsQBiAQEAQIBBJIEU0FsdHVhLk9hay5Db3JlLk1vZGlmaWNhdGlvbi5TdHlsaW5nLkFsbFZhbHVlQXhpc0N1c3RvbWl6YXRpb25UYXJnZXQsIEFsdHVhLk9hay5Db3JljQSEAQCaBFlBbHR1YS5PYWsuQ29yZS5Nb2RpZmljYXRpb24uU3R5bGluZy5WYWx1ZUF4aXNHcmlkbGluZXNDdXN0b21pemF0aW9uVGFyZ2V0LCBBbHR1YS5PYWsuQ29yZZUEhgEAogRTQWx0dWEuT2FrLkNvcmUuTW9kaWZpY2F0aW9uLlN0eWxpbmcuQ2F0ZWdvcnlBeGlzQ3VzdG9taXphdGlvblRhcmdldCwgQWx0dWEuT2FrLkNvcmWdBIgBAKoEUEFsdHVhLk9hay5Db3JlLk1vZGlmaWNhdGlvbi5TdHlsaW5nLk9yaWdvTGluZUN1c3RvbWl6YXRpb25UYXJnZXQsIEFsdHVhLk9hay5Db3JlpQSKAQCyBF1BbHR1YS5PYWsuQ29yZS5Nb2RpZmljYXRpb24uU3R5bGluZy5BbGxDb25uZWN0b3JzQXV4aWxpYXJ5Q3VzdG9taXphdGlvblRhcmdldCwgQWx0dWEuT2FrLkNvcmWtBIwBALoEWUFsdHVhLk9hay5Db3JlLk1vZGlmaWNhdGlvbi5TdHlsaW5nLlNlcmllc1dpdGhQbG90S2luZEN1c3RvbWl6YXRpb25UYXJnZXQsIEFsdHVhLk9hay5Db3JltQSOAQMFrAa9BIwBAMAEBQwDBbAGygRWQWx0dWEuT2FrLkNvcmUuTW9kaWZpY2F0aW9uLlN0eWxpbmcuQWxsU2VyaWVzTWFya2VyQ3VzdG9taXphdGlvblRhcmdldCwgQWx0dWEuT2FrLkNvcmXFBJIBANIEOkFsdHVhLk9hay5Db3JlLlRoZW1pbmcuQmluZGluZ0NvbG9yUG9pbnRlciwgQWx0dWEuT2FrLkNvcmXNBJQBBQW1Bs4B1QSEAQDeBDdBbHR1YS5PYWsuQ29yZS5UaGVtaW5nLlBhZ2VDb2xvclBvaW50ZXIsIEFsdHVhLk9hay5Db3Jl2QSXAQQAAAgA4QSIAQDlBJcBBAAACADpBIoBAO0ElwEEAAAIAPYEU0FsdHVhLk9hay5Db3JlLk1vZGlmaWNhdGlvbi5TdHlsaW5nLkFsbEdyaWRsaW5lc0N1c3RvbWl6YXRpb25UYXJnZXQsIEFsdHVhLk9hay5Db3Jl8QSdAQD5BFeAgID/ggVYQWx0dWEuT2FrLkNvcmUuTW9kaWZpY2F0aW9uLlN0eWxpbmcuU2VyaWVzTGFiZWxPZlR5cGVDdXN0b21pemF0aW9uVGFyZ2V0LCBBbHR1YS5PYWsuQ29yZf0EoAECAAKKBVhBbHR1YS5PYWsuQ29yZS5Nb2RpZmljYXRpb24uU3R5bGluZy5BbGxWYWx1ZUF4aXNMYWJlbEN1c3RvbWl6YXRpb25UYXJnZXQsIEFsdHVhLk9hay5Db3JlhQWiAQCNBaABAgAAlgVVQWx0dWEuT2FrLkNvcmUuTW9kaWZpY2F0aW9uLlN0eWxpbmcuQWxsVG90YWxMYWJlbHNDdXN0b21pemF0aW9uVGFyZ2V0LCBBbHR1YS5PYWsuQ29yZZEFpQEAngVXQWx0dWEuT2FrLkNvcmUuTW9kaWZpY2F0aW9uLlN0eWxpbmcuQWxsQ2F0ZWdvcnlMYWJlbEN1c3RvbWl6YXRpb25UYXJnZXQsIEFsdHVhLk9hay5Db3JlmQWnAQCmBVhBbHR1YS5PYWsuQ29yZS5Nb2RpZmljYXRpb24uU3R5bGluZy5BbGxBdXhpbGlhcnlMYWJlbEN1c3RvbWl6YXRpb25UYXJnZXQsIEFsdHVhLk9hay5Db3JloQWpAQCuBVhBbHR1YS5PYWsuQ29yZS5Nb2RpZmljYXRpb24uU3R5bGluZy5DYXRlZ29yeUF4aXNUaXRsZUN1c3RvbWl6YXRpb25UYXJnZXQsIEFsdHVhLk9hay5Db3JlqQWrAQC2BUZBbHR1YS5PYWsuQ29yZS5QbG90dGluZy5BeGlzVGl0bGVMYWJlbFBsYWNlbWVudE91dHNpZGUsIEFsdHVhLk9hay5Db3JlsQWtAQIAAb4FXUFsdHVhLk9hay5Db3JlLk1vZGlmaWNhdGlvbi5TdHlsaW5nLkFsbFZhbHVlQXhpc1RpdGxlTGFiZWxDdXN0b21pemF0aW9uVGFyZ2V0LCBBbHR1YS5PYWsuQ29yZbkFrwEAxgVCQWx0dWEuT2FrLkNvcmUuUGxvdHRpbmcuQXhpc1RpdGxlTGFiZWxQbGFjZW1lbnRGYXIsIEFsdHVhLk9hay5Db3JlwQWxAQIAAM4FX0FsdHVhLk9hay5Db3JlLk1vZGlmaWNhdGlvbi5TdHlsaW5nLlNlcmllc0xhYmVsc1dpdGhQbG90S2luZEN1c3RvbWl6YXRpb25UYXJnZXQsIEFsdHVhLk9hay5Db3JlyQWzAQUFvAYIANYFPUFsdHVhLk9hay5Db3JlLlBsb3R0aW5nLkxhYmVsUGxhY2VtZW50T3V0c2lkZSwgQWx0dWEuT2FrLkNvcmXRBbUBANkFswEFBcAGCADdBaIBAOYFQUFsdHVhLk9hay5Db3JlLlBsb3R0aW5nLkF4aXNMYWJlbFBsYWNlbWVudE91dHNpZGUsIEFsdHVhLk9hay5Db3Jl4QW5AQIBAOkFpwEA7QWpAQD2BUZBbHR1YS5PYWsuQ29yZS5QbG90dGluZy5BdXhpbGlhcnlMYWJlbFBsYWNlbWVudERlZmF1bHQsIEFsdHVhLk9hay5Db3Jl8QW9AQD+BVBBbHR1YS5PYWsuQ29yZS5Nb2RpZmljYXRpb24uU3R5bGluZy5BbGxMYWJlbHNDdXN0b21pemF0aW9uVGFyZ2V0LCBBbHR1YS5PYWsuQ29yZfkFvwEAhgZCQWx0dWEuT2FrLkNvcmUuU3ludGF4U3RydWN0dXJlLkFjdHVhbEZvbnRTaXplVmFsdWUsIEFsdHVhLk9hay5Db3JlgQbBAQkDAAAAAAAAKECJBqIBAJIGQ0FsdHVhLk9hay5Db3JlLlN5bnRheFN0cnVjdHVyZS5BY3R1YWxGb250Q29sb3JWYWx1ZSwgQWx0dWEuT2FrLkNvcmWNBsQBBQXFBpcBlQavAQCZBsQBBQXJBpcBnQanAQChBsQBBQXNBpcBpQarAQCpBsQBBQXRBpcBrAYBBbAGCgECAACAQAAAQEC6BkhBbHR1YS5PYWsuQ29yZS5TeW50YXhTdHJ1Y3R1cmUuUGxvdFNlcmllc0JpbmRpbmdTdHJhdGVneSwgQWx0dWEuT2FrLkNvcmW1Bs4BALwGAgkKwAYBBcUGlwEEAAAIAMkGlwEEAAAIAM0GlwEEAAAIANEGlwEEAAAIAA=="/>
  <p:tag name="GRUNT-SYNC" val="05bd5027cea64d37b5bd622ea81553ac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175ace02-bcab-4eec-b8c2-286b13aeeafb"/>
  <p:tag name="GRUNT-X-RESOURCES" val="AQIFBAQEAgEA"/>
  <p:tag name="GRUNT-VERSION" val="20.23.267.0"/>
  <p:tag name="GRUNT-RENDERHASH" val="b59024c64e0e14991b25699b8cf5ecec-svg"/>
  <p:tag name="GRUNT-X-SHAPEBOUNDS" val="ASIBBAAAAAAA4FxAAAAAgGb2YkAAAAAAAMBbQAAAAAAAADtAAA=="/>
  <p:tag name="GRUNT-X-PAGEOBJECT" val="AQUCswIKPkFsdHVhLk9hay5Db3JlLkRvY3VtZW50TW9kZWwuQ2hhcnRMZWdlbmRPYmplY3QsIEFsdHVhLk9hay5Db3JlBQI5BBIEEM0PTCSD7b9FluBBG6NE5p4UEgQQ2mCG+lSu+Uq1YCND/E2wiy0MNRBEAgUUSABVGQdlIG0kDAQEAgUoEAIFLBQCAQAeUEFsdHVhLk9hay5Db3JlLkRvY3VtZW50TW9kZWwuVGVtcGxhdGluZy5DdXN0b21Qb3NpdGlvbkRlZmluaXRpb24sIEFsdHVhLk9hay5Db3JlGQckBCIBBOT/v/r/31xAVQBgfWb2YkAAAAAAAMBbQAAAAAAAADtAIAsFMAwFbmItTk8VNCQEAQEJASgCAQAsADAKBAEsDAEgFAJrcjQJBAVuYi1OTwgB"/>
  <p:tag name="GRUNT-SYNC" val="122b8168829e40dba3d6500f3ca69b7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rCMKN0FsdHVhLkRhdGEuRGF0YVNlcnZpY2VzLkVtYmVkZGVkRGF0YVNlcnZpY2UsIEFsdHVhLkRhdGEFAhkEEgQQdxcuEKWX/UC50jLbMe6X9g0MJREFDAYFGAgMEAUWQUFsdHVhLkRhdGEuRGF0YVNlcnZpY2VzLkVtYmVkZGVkRGF0YVNlcnZpY2VFZGl0b3JEYXRhLCBBbHR1YS5EYXRhEQUEBRwNIBgGBSQNKBUsHB4dBBIEEB/rjDimIctLiTIXQgTfWDQLAAAAAAAgYkAgHh0EEgQQhB+R4huFNUGwuFZrPUlJDwsAAAAAAAAyQCQKMDQ4PEBESExQVCgDWFxgLN0KLAQoBBIEED0igOf6Y31Hih5BWzKXX8cMEgQQ+SxZ/v3fb0W5/mfTI9KrIw1kLAQoBBIEENqNKxB7T5pMmUYr804v+BwMEgQQX5eQl8Rau0KbEDAGcU7FWQ1oLAQoBBIEEOTyJ7HO8XpDmTV6priHw1IMEgQQ+SxZ/v3fb0W5/mfTI9KrIw1sLAQoBBIEEHWemJFcQytHgI2gyx3vlOMMEgQQX5eQl8Rau0KbEDAGcU7FWQ1wLAQoBBIEEB/rjDimIctLiTIXQgTfWDQMEgQQ6NwaFbIJ/EeQekLL/HFgWw10LAQoBBIEEDN2LlbKrM9DuJ/41/dD8iIMEgQQX5eQl8Rau0KbEDAGcU7FWQ14LAQoBBIEEB/rjDimIctLiTIXQgTfWDQMEgQQX5eQl8Rau0KbEDAGcU7FWQ18LQQoBBIEEDN2LlbKrM9DuJ/41/dD8iIMEgQQ6NwaFbIJ/EeQekLL/HFgWw2AAS0EKAQSBBA9IoDn+mN9R4oeQVsyl1/HDBIEEOjcGhWyCfxHkHpCy/xxYFsNhAEtBCgEEgQQWZ9h5liRP0iEKp689x5lRgwSBBBfl5CXxFq7QpsQMAZxTsVZDYgBLQQoBBIEEAwkJFjMOpdPum+AuNtVqc4MEgQQ+SxZ/v3fb0W5/mfTI9KrIw2MAS0EKAQSBBCUBD3yDvZSRbakKi3Cnsv1DBIEEPksWf79329Fuf5n0yPSqyMNkAEtBCgEEgQQ2o0rEHtPmkyZRivzTi/4HAwSBBD5LFn+/d9vRbn+Z9Mj0qsjDZQBLQQoBBIEEJQEPfIO9lJFtqQqLcKey/UMEgQQX5eQl8Rau0KbEDAGcU7FWQ2YAS0EKAQSBBB1npiRXEMrR4CNoMsd75TjDBIEEPksWf79329Fuf5n0yPSqyMNnAEtBCgEEgQQ03PxxBv3AU6gMvANYi0kOQwSBBBfl5CXxFq7QpsQMAZxTsVZDaABLQQoBBIEEFmfYeZYkT9IhCqevPceZUYMEgQQ6NwaFbIJ/EeQekLL/HFgWw2kAS0EKAQSBBAMJCRYzDqXT7pvgLjbVanODBIEEOjcGhWyCfxHkHpCy/xxYFsNqAEtBCgEEgQQlAQ98g72UkW2pCotwp7L9QwSBBDo3BoVsgn8R5B6Qsv8cWBbDawBLQQoBBIEENNz8cQb9wFOoDLwDWItJDkMEgQQ+SxZ/v3fb0W5/mfTI9KrIw2wAS0EKAQSBBDk8iexzvF6Q5k1eqa4h8NSDBIEEOjcGhWyCfxHkHpCy/xxYFsNtAEtBCgEEgQQ03PxxBv3AU6gMvANYi0kOQwSBBDo3BoVsgn8R5B6Qsv8cWBbDbgBLQQoBBIEEFmfYeZYkT9IhCqevPceZUYMEgQQ+SxZ/v3fb0W5/mfTI9KrIw28AS0EKAQSBBDk8iexzvF6Q5k1eqa4h8NSDBIEEF+XkJfEWrtCmxAwBnFOxVkNwAEtBCgEEgQQ2o0rEHtPmkyZRivzTi/4HAwSBBDo3BoVsgn8R5B6Qsv8cWBbDcQBLQQoBBIEEAwkJFjMOpdPum+AuNtVqc4MEgQQX5eQl8Rau0KbEDAGcU7FWQ3IAS0EKAQSBBA9IoDn+mN9R4oeQVsyl1/HDBIEEF+XkJfEWrtCmxAwBnFOxVkNzAEtBCgEEgQQH+uMOKYhy0uJMhdCBN9YNAwSBBD5LFn+/d9vRbn+Z9Mj0qsjDdABLQQoBBIEEDN2LlbKrM9DuJ/41/dD8iIMEgQQ+SxZ/v3fb0W5/mfTI9KrIw3UAS0EKAQSBBB1npiRXEMrR4CNoMsd75TjDBIEEOjcGhWyCfxHkHpCy/xxYFsN2AEwGgQSBBDajSsQe0+aTJlGK/NOL/gcDAJDMRAANBoEEgQQH+uMOKYhy0uJMhdCBN9YNAwCQzIQADgaBBIEEHWemJFcQytHgI2gyx3vlOMMAkMzEAA8GgQSBBAzdi5WyqzPQ7if+Nf3Q/IiDAJDNBAAQBoEEgQQWZ9h5liRP0iEKp689x5lRgwCQzUQAEQaBBIEEOTyJ7HO8XpDmTV6priHw1IMAkM2EABIGgQSBBDTc/HEG/cBTqAy8A1iLSQ5DAJDNxAATBoEEgQQPSKA5/pjfUeKHkFbMpdfxwwCQzgQAFAaBBIEEAwkJFjMOpdPum+AuNtVqc4MAkM5EABUGwQSBBCUBD3yDvZSRbakKi3Cnsv1DANDMTAQAFgaBBIEEF+XkJfEWrtCmxAwBnFOxVkMAlIxEABcGgQSBBDo3BoVsgn8R5B6Qsv8cWBbDAJSMhAAYBoEEgQQ+SxZ/v3fb0W5/mfTI9KrIwwCUjMQAGQGDdwBFeABaAYN3AEV5AFsBg3cARXoAXAGDdwBFewBdAYN3AEV8AF4Bg3cARX0AXwGDdwBFfgBgAEGDdwBFfwBhAEGDYACFYQCiAEGDdwBFYgCjAEGDdwBFYwCkAEGDdwBFZAClAEGDdwBFZQCmAEGDdwBFZgCnAEGDdwBFZwCoAEGDdwBFaACpAEGDYACFaQCqAEGDYACFagCrAEGDYACFawCsAEGDdwBFbACtAEGDYACFbQCuAEGDYACFbgCvAEGDdwBFbwCwAEGDdwBFcACxAEGDdwBFcQCyAEGDdwBFcgCzAEGDdwBFcwC0AEGDdwBFdAC1AEGDdwBFdQC2AEGDdwBFdgC3AECBADgAQUEAwXcAuQBBQQDBeAC6AEFBAMF5ALsAQUEAwXoAvABBQQDBewC9AEFBAMF8AL4AQUEAwX0AvwBBQQDBfgCgAICBACEAgUEAwX8AogCBQQDBYADjAIFBAMFhAOQAgUEAwWIA5QCBQQDBYwDmAIFBAMFkAOcAgUEAwWUA6ACBQQDBZgDpAIFBAMFnAOoAgUEAwWgA6wCBQQDBaQDsAIFBAMFqAO0AgUEAwWsA7gCBQQDBbADvAIFBAMFtAPAAgUEAwW4A8QCBQQDBbwDyAIFBAMFwAPMAgUEAwXEA9ACBQQDBcgD1AIFBAMFzAPYAgUEAwXQA9wCBQEB1QN24AICAQDkAgUBAd0DdugCBQEB4QN27AIFAQHlA3bwAgUBAekDdvQCBQEB7QN2+AIFAQHxA3b8AgUBAfUDdoADBQEB+QN2hAMFAQH9A3aIAwUBAYEEdowDBQEBhQR2kAMFAQGJBHaUAwUBAY0EdpgDBQEBkQR2nAMFAQGVBHagAwUBAZkEdqQDBQEBnQR2qAMFAQGhBHasAwUBAaUEdrADBQEBqQR2tAMFAQGtBHa4AwUBAbEEdrwDBQEBtQR2wAMFAQG5BHbEAwUBAb0EdsgDBQEBwQR2zAMFAQHFBHbQAwUBAckEdtoDL0FsdHVhLkRhdGEuSW5mcmFzdHJ1Y3R1cmUuUGFyYWdyYXBoLCBBbHR1YS5EYXRh1QN2BQwDBcwE3QN2BQwDBdAE4QN2BQwDBdQE5QN2BQwDBdgE6QN2BQwDBdwE7QN2BQwDBeAE8QN2BQwDBeQE9QN2BQwDBegE+QN2BQwDBewE/QN2BQwDBfAEgQR2BQwDBfQEhQR2BQwDBfgEiQR2BQwDBfwEjQR2BQwDBYAFkQR2BQwDBYQFlQR2BQwDBYgFmQR2BQwDBYwFnQR2BQwDBZAFoQR2BQwDBZQFpQR2BQwDBZgFqQR2BQwDBZwFrQR2BQwDBaAFsQR2BQwDBaQFtQR2BQwDBagFuQR2BQwDBawFvQR2BQwDBbAFwQR2BQwDBbQFxQR2BQwDBbgFyQR2BQwDBbwFzAQGAQHBBbEB0AQGAQHJBbEB1AQGAQHNBbQB2AQGAQHVBbEB3AQGAQHZBbQB4AQGAQHdBbQB5AQGAQHhBbEB6AQGAQHlBbEB7AQGAQHpBbQB8AQGAQHtBbEB9AQGAQHxBbEB+AQGAQH1BbQB/AQGAQH5BbQBgAUGAQH9BbEBhAUGAQGBBrQBiAUGAQGFBrEBjAUGAQGJBrEBkAUGAQGNBrEBlAUGAQGRBrEBmAUGAQGVBrEBnAUGAQGZBrEBoAUGAQGdBrEBpAUGAQGhBrQBqAUGAQGlBrQBrAUGAQGpBrQBsAUGAQGtBrQBtAUGAQGxBrEBuAUGAQG1BrEBvAUGAQG5BrEBxgUvQWx0dWEuRGF0YS5JbmZyYXN0cnVjdHVyZS5OdW1iZXJSdW4sIEFsdHVhLkRhdGHBBbEBEwQOAwAAAAAAAFJAHb0G0AENxAbJBbEBEwQOAwAAAAAAAFFAHb0G0AENxAbSBS1BbHR1YS5EYXRhLkluZnJhc3RydWN0dXJlLlRleHRSdW4sIEFsdHVhLkRhdGHNBbQBGQQUVHJhbnNwb3J0IG9nIGxhZ3JpbmcNyAbVBbEBEwQOAwAAAAAAgE1AHb0G0AENxAbZBbQBEwQOQnlnZyBvZyBhbmxlZ2cNyAbdBbQBFgQRRmlza2VyaSAvIGhhdmJydWsNyAbhBbEBEwQOAwAAAAAAAENAHb0G0AENxAblBbEBEwQOAwAAAAAAADxAHb0G0AENxAbpBbQBDwQKVmFyZWhhbmRlbA3IBu0FsQETBA4DAAAAAAAAUkAdvQbQAQ3EBvEFsQETBA4DAAAAAAAAUkAdvQbQAQ3EBvUFtAEIBANOZWkNzAb5BbQBIwQeVGplbmVzdGV5dGluZyBvZyBrb21tdW5pa2Fzam9uDcgG/QWxARMEDgMAAAAAAIBHQB29BtABDcQGgQa0ARgEE0hvdGVsbCAvIHJlc3RhdXJhbnQNyAaFBrEBEwQOAwAAAAAAAEFAHb0G0AENxAaJBrEBEwQOAwAAAAAAADxAHb0G0AENxAaNBrEBEwQOAwAAAAAAADxAHb0G0AENxAaRBrEBEwQOAwAAAAAAAFFAHb0G0AENxAaVBrEBEwQOAwAAAAAAAEBAHb0G0AENxAaZBrEBEwQOAwAAAAAAAEBAHb0G0AENxAadBrEBEwQOAwAAAAAAgFBAHb0G0AENxAahBrQBDAQHRWllbmRvbQ3IBqUGtAEsBCdIYXIgZ2pvcnQgb2cgZWxsZXIgcGxhbmxlZ2dlciBlbmRyaW5nZXIN0AapBrQBDQQISW5kdXN0cmkNyAatBrQBGQQUSm9yZGJydWsgb2cgc2tvZ2JydWsNyAaxBrEBEwQOAwAAAAAAAENAHb0G0AENxAa1BrEBEwQOAwAAAAAAgE5AHb0G0AENxAa5BrEBEwQOAwAAAAAAgEpAHb0G0AENxAbCBj1BbHR1YS5EYXRhLk51bWJlckZvcm1hdHRpbmcuQ29tcG9zaXRlTnVtYmVyRm9ybWF0LCBBbHR1YS5EYXRhvQbQAQsd1AYl2AY13AY9AMQGEgQAHAAkACwANAA8AEwAVABdAMgGEgQAHAAkACwANAA8AEwAVABdAMwGEgQAHAAkACwANAA8AEwAVABdANAGEgQAHAAkACwANAA8AEwAVABdANQGCQAADAMF4AYRANgGCQAADAMF5AYRANwGCgQBLAwBLhQCa3LgBgYBAekG2wHkBgoBAvEG3QH5BtsB7gZCQWx0dWEuRGF0YS5OdW1iZXJGb3JtYXR0aW5nLk51bWJlckZvcm1hdEdlbmVyYWxTZWdtZW50LCBBbHR1YS5EYXRh6QbbAQD2Bj9BbHR1YS5EYXRhLk51bWJlckZvcm1hdHRpbmcuTnVtYmVyRm9ybWF0VGV4dFNlZ21lbnQsIEFsdHVhLkRhdGHxBt0BBQQBLQkB+QbbAQA="/>
  <p:tag name="GRUNT-RENDERHASH" val="74949aff34d37ad4684250719cd1f843-svg"/>
  <p:tag name="GRUNT-X-SHAPEBOUNDS" val="ASIBBAAAAKDv83VAAAAAYGbWZ0AAAABgCKKAQAAAAAAARHBAAA=="/>
  <p:tag name="GRUNT-X-PAGEOBJECT" val="AQUC8ysKOEFsdHVhLk9hay5Db3JlLkRvY3VtZW50TW9kZWwuQ2hhcnRPYmplY3QsIEFsdHVhLk9hay5Db3JlBQI1BBIEEJP3eriHQ65DtwNMZBWSmIkMEgQQdxcuEKWX/UC50jLbMe6X9hUNBCUUNRg9HFUgZSQSUEFsdHVhLk9hay5Db3JlLkRvY3VtZW50TW9kZWwuVGVtcGxhdGluZy5DdXN0b21Qb3NpdGlvbkRlZmluaXRpb24sIEFsdHVhLk9hay5Db3JlDQQkBCIBBAQAOAEAJoFAHQCAb2beZ0AOAHBCAOx0QB4A8AYAPHBAFBMVKB0sNTA4AEU1DkwCBTxVQF1EGAQEAgVIHAIFTCALBVAMBW5iLU5PFVQkDgEBCQERARkBIQEpATEBKBYEEgQQAAAAAAAAAAAAAAAAAAAAAAgBLBYEEgQQAAAAAAAAAAAAAAAAAAAAAAgBMAA6RUFsdHVhLk9hay5Db3JlLkNoYXJ0LlN0YWNrZWRCYXJXaXRoTGluZVBsb3REZWZpbml0aW9uLCBBbHR1YS5PYWsuQ29yZTUOMgQSBBBBvwEC7FiSS4Fe2bYTliXQHAIFWCVcNWA8AgVkSQBtaKUBbRypAQC1AXUevQF8PAYBAoABhAFABQWIAQ0ARAIBAEgCAQBMAFAKBAEsDAEgFAJrclQJBAVuYi1OTwgBWAQBAYwBXA0AAAgBFAMFkAEcACUAYCYEIgEEAAAAAAAAEEAAAAAAAAAQQAAAAAAAABBAAAAAAAAAEEAIBGQCAQBoCwMAAAAAAABMQAggckVBbHR1YS5PYWsuQ29yZS5QbG90dGluZy5BdXRvbWF0aWNDYXRlZ29yeUF4aXNTZXR0aW5ncywgQWx0dWEuT2FrLkNvcmVtHBMBAQ2UARAAGQEwAD2YAUWcAUgBej1BbHR1YS5PYWsuQ29yZS5UaGVtaW5nLlBhZ2VDb2xvclNjaGVtZVBvaW50ZXIsIEFsdHVhLk9hay5Db3JldR4AfEo1oAE9pAFFqAFVrAFdsAF1tAGNAbgBnQG8AaUBwAGtAcQBzQHIAdUBzAHdAdAB5QHUAe0B2AH1AdwB/QHgAYUC5AGNAugBlQLsAYABSAQSBBDo3BoVsgn8R5B6Qsv8cWBbJBIEEDmuoUtj5ytRr/eHmSY96agsEgQQH1do1i/jtEeFRPbliJXRVD3xAT1F+AFJAV38AYQBSAQSBBD5LFn+/d9vRbn+Z9Mj0qsjJBIEEN4S/6C345lRjYGuRrrTzVUsEgQQH1do1i/jtEeFRPbliJXRVD3xAT1FgAJJAV2EAogBAIwBQgEAGAMliAIpADEAQANIAlWMAl2QAmQSBBAfV2jWL+O0R4VE9uWIldFUbZQCdZgCjQGcApEBAZ0BoAKlAaQCtQGoApABAgEAlAECAQCYAQYFrQJMCAScAQYFtQJMCASgAQUEAwW4AqQBBQQDBbwCqAEFBAMFwAKsAQUEAwXEArABBQQDBbgCtAEFBAMFuAK4AQUEAwXIArwBBQQDBcwCwAEFBAMF0ALEAQUEAwXUAsgBBQQDBdgCzAEFBAMF3ALQAQUEAwXgAtQBBQQDBeQC2AEFBAMF6ALcAQUEAwXsAuABBQQDBfAC5AEFBAMF9ALoAQUEAwX4AuwBBQQDBfwC9gE+QWx0dWEuT2FrLkNvcmUuQ2hhcnQuRGVmYXVsdFBsb3RTZXJpZXNTZXR0aW5ncywgQWx0dWEuT2FrLkNvcmXxAT0A+AEEBQAIAfwBBQWAAwgBgAIEBQAIAYQCBQWEAwgBiAILAwAAAAAAAAAACAKMAgsDAAAAAAAAAAAIAZACCwMAAAAAAAAAAAgBlAIVBYgDDYwDFZADHZQDJZgDLZwDNaADmAIHDaQDFakDTJwCCwMAAAAAAAAAAAgEoAIGBa0DTAgEpAIGBa0DTAgEqAIFBAMFsAOyAjNBbHR1YS5PYWsuQ29yZS5UaGVtaW5nLkNvbG9yUG9pbnRlciwgQWx0dWEuT2FrLkNvcmWtAkxQUFD/tQJMUFBQ/7gCAgEAvAIOAQa0A7gDvAPAA8QDyAPAAgQBAcwDxAICAQDIAgIBAMwCAgEA0AIQAQfQA9QD2APcA+AD5APoA9QCAgEA2AIOAQbsA/AD9AP4A/wDgATcAhQBCYQEiASMBJAElASYBJwEoASkBOACAgEA5AIEAQGoBOgCDAEFrASwBLQEuAS8BOwCAgEA8AICAQD0AgIBAPgCAgEA/AICAQCAAwUEAwXABIQDBQQDBcQEiAMHBAMEAQAIBIwDBQQBLggEkAMEAAEIBJQDBAAACASYAwQEAAgEnAMEBAAIBKADBAAACASkAwUEAwXIBKkDTD4+5f+tA0xQUFD/sAMCAQC0Aw4FzQSUAQsAAAAAAAAAALgDDgXVBJYBCwAAAAAAAAAAvAMOBd0EmAELAAAAAAAA4D/AAw4F5QSaAQsAAAAAAADgP8QDDgXtBJwBCwAAAAAAAOA/yAMOBfUEngELAAAAAAAA+D/MAwgF/QScAQ2ABdADCgWFBaIBDY0FpAHUAwoFlQWUAQ2ZBacB2AMKBaEFmAENpQWnAdwDCgWpBZoBDa0FpwHgAwkFsQWtAQ25BUzkAwkFvQWwAQ3FBUzoAwkFyQWwAQ3NBUzsAwcF0QW1AQkA8AMHBdkFtwEJAfQDBwXhBbkBCQH4AwcF6QW7AQkB/AMHBfEFvQEJAIAEBwX5Bb8BCQCEBAoFgQbBAQ2JBsMBiAQKBZEGxQENmQbHAYwECgWhBskBDakGywGQBAoFsQbJAQ21Bs4BlAQKBb0GvQENtQbOAZgECgXBBrUBDcUG0gGcBAoFzQa5AQ3FBtIBoAQKBdEGuwEN1QbWAaQECgXdBr8BDeEG2QGoBAoF6QbbAQ3xBt0BrAQKBfkGtQEN/QbgAbAECgWFB8UBDYkH4AG0BAoFjQe5AQ2RB+ABuAQKBZUHwQENmQfgAbwECgWdB+gBDaUH4AHABAYBAakH6wHEBAYBAbEH6wHIBAQBAgEE0gRTQWx0dWEuT2FrLkNvcmUuTW9kaWZpY2F0aW9uLlN0eWxpbmcuQWxsVmFsdWVBeGlzQ3VzdG9taXphdGlvblRhcmdldCwgQWx0dWEuT2FrLkNvcmXNBJQBANoEWUFsdHVhLk9hay5Db3JlLk1vZGlmaWNhdGlvbi5TdHlsaW5nLlZhbHVlQXhpc0dyaWRsaW5lc0N1c3RvbWl6YXRpb25UYXJnZXQsIEFsdHVhLk9hay5Db3Jl1QSWAQDiBFNBbHR1YS5PYWsuQ29yZS5Nb2RpZmljYXRpb24uU3R5bGluZy5DYXRlZ29yeUF4aXNDdXN0b21pemF0aW9uVGFyZ2V0LCBBbHR1YS5PYWsuQ29yZd0EmAEA6gRQQWx0dWEuT2FrLkNvcmUuTW9kaWZpY2F0aW9uLlN0eWxpbmcuT3JpZ29MaW5lQ3VzdG9taXphdGlvblRhcmdldCwgQWx0dWEuT2FrLkNvcmXlBJoBAPIEXUFsdHVhLk9hay5Db3JlLk1vZGlmaWNhdGlvbi5TdHlsaW5nLkFsbENvbm5lY3RvcnNBdXhpbGlhcnlDdXN0b21pemF0aW9uVGFyZ2V0LCBBbHR1YS5PYWsuQ29yZe0EnAEA+gRZQWx0dWEuT2FrLkNvcmUuTW9kaWZpY2F0aW9uLlN0eWxpbmcuU2VyaWVzV2l0aFBsb3RLaW5kQ3VzdG9taXphdGlvblRhcmdldCwgQWx0dWEuT2FrLkNvcmX1BJ4BAwW0B/0EnAEAgAUFDAMFuAeKBVZBbHR1YS5PYWsuQ29yZS5Nb2RpZmljYXRpb24uU3R5bGluZy5BbGxTZXJpZXNNYXJrZXJDdXN0b21pemF0aW9uVGFyZ2V0LCBBbHR1YS5PYWsuQ29yZYUFogEAkgU6QWx0dWEuT2FrLkNvcmUuVGhlbWluZy5CaW5kaW5nQ29sb3JQb2ludGVyLCBBbHR1YS5PYWsuQ29yZY0FpAEFBb0H8AGVBZQBAJ4FN0FsdHVhLk9hay5Db3JlLlRoZW1pbmcuUGFnZUNvbG9yUG9pbnRlciwgQWx0dWEuT2FrLkNvcmWZBacBBAAACAChBZgBAKUFpwEEAAAIAKkFmgEArQWnAQQAAAgAtgVTQWx0dWEuT2FrLkNvcmUuTW9kaWZpY2F0aW9uLlN0eWxpbmcuQWxsR3JpZGxpbmVzQ3VzdG9taXphdGlvblRhcmdldCwgQWx0dWEuT2FrLkNvcmWxBa0BALkFTICAgP/CBU1BbHR1YS5PYWsuQ29yZS5Nb2RpZmljYXRpb24uU3R5bGluZy5TZXJpZXNDdXN0b21pemF0aW9uVGFyZ2V0LCBBbHR1YS5PYWsuQ29yZb0FsAEUBBIEEDmuoUtj5ytRr/eHmSY96ajFBUxQsAD/yQWwARQEEgQQ3hL/oLfjmVGNga5GutPNVc0FTAAAwP/WBVhBbHR1YS5PYWsuQ29yZS5Nb2RpZmljYXRpb24uU3R5bGluZy5BbGxWYWx1ZUF4aXNMYWJlbEN1c3RvbWl6YXRpb25UYXJnZXQsIEFsdHVhLk9hay5Db3Jl0QW1AQDeBWZBbHR1YS5PYWsuQ29yZS5Nb2RpZmljYXRpb24uU3R5bGluZy5TdGFja2VkQmFyQXV0b21hdGljU2VnbWVudExhYmVsQ3VzdG9taXphdGlvblRhcmdldCwgQWx0dWEuT2FrLkNvcmXZBbcBAOYFV0FsdHVhLk9hay5Db3JlLk1vZGlmaWNhdGlvbi5TdHlsaW5nLkFsbENhdGVnb3J5TGFiZWxDdXN0b21pemF0aW9uVGFyZ2V0LCBBbHR1YS5PYWsuQ29yZeEFuQEA7gVYQWx0dWEuT2FrLkNvcmUuTW9kaWZpY2F0aW9uLlN0eWxpbmcuQWxsQXV4aWxpYXJ5TGFiZWxDdXN0b21pemF0aW9uVGFyZ2V0LCBBbHR1YS5PYWsuQ29yZekFuwEA9gVVQWx0dWEuT2FrLkNvcmUuTW9kaWZpY2F0aW9uLlN0eWxpbmcuQWxsVG90YWxMYWJlbHNDdXN0b21pemF0aW9uVGFyZ2V0LCBBbHR1YS5PYWsuQ29yZfEFvQEA/gVYQWx0dWEuT2FrLkNvcmUuTW9kaWZpY2F0aW9uLlN0eWxpbmcuU2VyaWVzTGFiZWxPZlR5cGVDdXN0b21pemF0aW9uVGFyZ2V0LCBBbHR1YS5PYWsuQ29yZfkFvwECAAKGBlhBbHR1YS5PYWsuQ29yZS5Nb2RpZmljYXRpb24uU3R5bGluZy5DYXRlZ29yeUF4aXNUaXRsZUN1c3RvbWl6YXRpb25UYXJnZXQsIEFsdHVhLk9hay5Db3JlgQbBAQCOBkJBbHR1YS5PYWsuQ29yZS5QbG90dGluZy5BeGlzVGl0bGVMYWJlbFBsYWNlbWVudEZhciwgQWx0dWEuT2FrLkNvcmWJBsMBAgAAlgZdQWx0dWEuT2FrLkNvcmUuTW9kaWZpY2F0aW9uLlN0eWxpbmcuQWxsVmFsdWVBeGlzVGl0bGVMYWJlbEN1c3RvbWl6YXRpb25UYXJnZXQsIEFsdHVhLk9hay5Db3JlkQbFAQCeBkZBbHR1YS5PYWsuQ29yZS5QbG90dGluZy5BeGlzVGl0bGVMYWJlbFBsYWNlbWVudE91dHNpZGUsIEFsdHVhLk9hay5Db3JlmQbHAQIAAaYGX0FsdHVhLk9hay5Db3JlLk1vZGlmaWNhdGlvbi5TdHlsaW5nLlNlcmllc0xhYmVsc1dpdGhQbG90S2luZEN1c3RvbWl6YXRpb25UYXJnZXQsIEFsdHVhLk9hay5Db3JloQbJAQUFxAcIAK4GPEFsdHVhLk9hay5Db3JlLlBsb3R0aW5nLkxhYmVsUGxhY2VtZW50SW5zaWRlLCBBbHR1YS5PYWsuQ29yZakGywEEAAEIAbEGyQEFBcgHCAC6Bj1BbHR1YS5PYWsuQ29yZS5QbG90dGluZy5MYWJlbFBsYWNlbWVudE91dHNpZGUsIEFsdHVhLk9hay5Db3JltQbOAQC9Br0BAMEGtQEAygZBQWx0dWEuT2FrLkNvcmUuUGxvdHRpbmcuQXhpc0xhYmVsUGxhY2VtZW50T3V0c2lkZSwgQWx0dWEuT2FrLkNvcmXFBtIBAgEAzQa5AQDRBrsBANoGRkFsdHVhLk9hay5Db3JlLlBsb3R0aW5nLkF1eGlsaWFyeUxhYmVsUGxhY2VtZW50RGVmYXVsdCwgQWx0dWEuT2FrLkNvcmXVBtYBAN0GvwECAALmBkNBbHR1YS5PYWsuQ29yZS5QbG90dGluZy5MYWJlbFBsYWNlbWVudFNlcmllc091dHNpZGUsIEFsdHVhLk9hay5Db3Jl4QbZAQIAAO4GUEFsdHVhLk9hay5Db3JlLk1vZGlmaWNhdGlvbi5TdHlsaW5nLkFsbExhYmVsc0N1c3RvbWl6YXRpb25UYXJnZXQsIEFsdHVhLk9hay5Db3Jl6QbbAQD2BkJBbHR1YS5PYWsuQ29yZS5TeW50YXhTdHJ1Y3R1cmUuQWN0dWFsRm9udFNpemVWYWx1ZSwgQWx0dWEuT2FrLkNvcmXxBt0BCQMAAAAAAAAoQPkGtQEAggdDQWx0dWEuT2FrLkNvcmUuU3ludGF4U3RydWN0dXJlLkFjdHVhbEZvbnRDb2xvclZhbHVlLCBBbHR1YS5PYWsuQ29yZf0G4AEFBc0HpwGFB8UBAIkH4AEFBdEHpwGNB7kBAJEH4AEFBdUHpwGVB8EBAJkH4AEFBdkHpwGiB1JBbHR1YS5PYWsuQ29yZS5Nb2RpZmljYXRpb24uU3R5bGluZy5TZXJpZXNMYWJlbEN1c3RvbWl6YXRpb25UYXJnZXQsIEFsdHVhLk9hay5Db3JlnQfoARYEEgQQOa6hS2PnK1Gv94eZJj3pqAgApQfgAQUF3QenAa4HL0FsdHVhLkRhdGEuSW5mcmFzdHJ1Y3R1cmUuUGFyYWdyYXBoLCBBbHR1YS5EYXRhqQfrAQUMAwXgB7EH6wEFDAMF5Ae0BwEFuAcKAQIAAIBAAABAQMIHSEFsdHVhLk9hay5Db3JlLlN5bnRheFN0cnVjdHVyZS5QbG90U2VyaWVzQmluZGluZ1N0cmF0ZWd5LCBBbHR1YS5PYWsuQ29yZb0H8AEAxAcCAAHIBwEFzQenAQQAAAgA0QenAQQAAAgA1QenAQQAAAgA2QenAQQAAAgA3QenAQQAAQgA4AcGAQHpB/sB5AcGAQHxB/sB7gctQWx0dWEuRGF0YS5JbmZyYXN0cnVjdHVyZS5UZXh0UnVuLCBBbHR1YS5EYXRh6Qf7ASwEJ0hhciBnam9ydCBvZyBlbGxlciBwbGFubGVnZ2VyIGVuZHJpbmdlcg30B/EH+wEIBANOZWkN+Af0BxIEABwAJAAsADQAPABMAFQAXQD4BxIEABwAJAAsADQAPABMAFQAXQA="/>
  <p:tag name="GRUNT-SYNC" val="f7a5aca777d740ceb0461e0374b3926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bbca5703-a3e6-4296-b1a1-2c74e6aaac36"/>
  <p:tag name="GRUNT-X-RESOURCES" val="AQIFBAQEAgEA"/>
  <p:tag name="GRUNT-VERSION" val="20.23.267.0"/>
  <p:tag name="GRUNT-RENDERHASH" val="5b05b33c568c1b1110e0b6d5ea7e6b84-svg"/>
  <p:tag name="GRUNT-X-SHAPEBOUNDS" val="ASIBBAAAACAACIFAAAAAgGb2YkAAAAAAAIB2QAAAAKD/PzlAAA=="/>
  <p:tag name="GRUNT-X-PAGEOBJECT" val="AQUCswIKPkFsdHVhLk9hay5Db3JlLkRvY3VtZW50TW9kZWwuQ2hhcnRMZWdlbmRPYmplY3QsIEFsdHVhLk9hay5Db3JlBQI5BBIEEANXyrvmo5ZCsaEsdOaqrDYUEgQQQb8BAuxYkkuBXtm2E5Yl0C0MNRBEAgUUSABVGQdlIG0kDAQEAgUoEAIFLBQCAQAeUEFsdHVhLk9hay5Db3JlLkRvY3VtZW50TW9kZWwuVGVtcGxhdGluZy5DdXN0b21Qb3NpdGlvbkRlZmluaXRpb24sIEFsdHVhLk9hay5Db3JlGQckBCIBBAAAACAACIFAVQBgfWb2YkAAAAAAAIB2QED+/5D/PzlAIAsFMAwFbmItTk8VNCQEAQEJASgCAQAsADAKBAEsDAEgFAJrcjQJBAVuYi1OTwgB"/>
  <p:tag name="GRUNT-SYNC" val="737eb36509a64aa1a82880dfb1d1ba2b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1f48641c-cf51-45b2-9f1d-72b1737ab65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SHAPEBOUNDS" val="ASIBBAAAAABYuT1AAAAAAACIYEAAAADAFpl4QAAAAAAAuHVAAA=="/>
  <p:tag name="GRUNT-X-PAGEOBJECT" val="AQUCxy4KOEFsdHVhLk9hay5Db3JlLkRvY3VtZW50TW9kZWwuQ2hhcnRPYmplY3QsIEFsdHVhLk9hay5Db3JlBQI1BBIEELS2pmzAYf9Dlqm1jGmkN/sMEgQQIrFwxLBA20OBUqh5sjnaGhUNBCUUNRg9HFUgZSQSUEFsdHVhLk9hay5Db3JlLkRvY3VtZW50TW9kZWwuVGVtcGxhdGluZy5DdXN0b21Qb3NpdGlvbkRlZmluaXRpb24sIEFsdHVhLk9hay5Db3JlDQQkBCIBBO7/P/z/z2hAAAAAAACQYEAAAACAAGBqQOP/P/n/r3VAFBMVKB0sNTA4AEU1DkwCBTxVQF1EGAQEAgVIHAIFTCALBVAMBW5iLU5PFVQkDgEBCQERARkBIQEpATEBKBYEEgQQAAAAAAAAAAAAAAAAAAAAAAgBLBYEEgQQAAAAAAAAAAAAAAAAAAAAAAgBMAA6R0FsdHVhLk9hay5Db3JlLkNoYXJ0LkNsdXN0ZXJlZEJhcldpdGhMaW5lUGxvdERlZmluaXRpb24sIEFsdHVhLk9hay5Db3JlNQ41BBIEEKW+7sC3L25At7Z9x+y9qtAcAgVYJVw1YDwCBWRJAG1ojQFspQFwtQF1HrkBAMUBfSA8BgEChAGIAUAFBYwBDQBEAgEASAIBAEwAUAoEASwMASAUAmtyVAkEBW5iLU5PCAFYBAEBkAFcDQAACAEUAwWUARwAJQBgJgQiAQQAAAAAAAAQQAAAAAAAABBAAAAAAAAAEEAAAAAAAAAQQAgEZAIBAGgLAwAAAAAAgE1ACCBsCwMAAAAAAAAUQAggcEo1mAE9nAFFoAFVpAFdqAF1rAGNAbABnQG0AaUBuAGtAbwBzQHAAdUBxAHdAcgB5QHMAe0B0AH1AdQB/QHYAYUC3AGNAuABlQLkAXpFQWx0dWEuT2FrLkNvcmUuUGxvdHRpbmcuQXV0b21hdGljQ2F0ZWdvcnlBeGlzU2V0dGluZ3MsIEFsdHVhLk9hay5Db3JldR4TAQEN6AEQABkBMAA97AFF8AFIAYIBPUFsdHVhLk9hay5Db3JlLlRoZW1pbmcuUGFnZUNvbG9yU2NoZW1lUG9pbnRlciwgQWx0dWEuT2FrLkNvcmV9IACEAUgEEgQQ6NwaFbIJ/EeQekLL/HFgWyQSBBA5rqFLY+crUa/3h5kmPemoLBIEEAbqEnwcUNdErxD6U6hM/4I99QE+RfwBSQFdgAKIAUgEEgQQ+SxZ/v3fb0W5/mfTI9KrIyQSBBDeEv+gt+OZUY2Brka6081VLBIEEAbqEnwcUNdErxD6U6hM/4I99QE+RYQCSQFdiAKMARSMApAClAKYApwCoAKkAqgCrAKwApABQgEAGAMltAIpADEAQANIAlW4Al28AmQSBBAG6hJ8HFDXRK8Q+lOoTP+CbcACdcQCjQHIApEBAZ0BzAKlAdACtQHUApQBAgEAmAEFBAMF2AKcAQUEAwXcAqABBQQDBeACpAEFBAMF5AKoAQUEAwXYAqwBBQQDBdgCsAEFBAMF6AK0AQUEAwXsArgBBQQDBfACvAEFBAMF9ALAAQUEAwX4AsQBBQQDBfwCyAEFBAMFgAPMAQUEAwWEA9ABBQQDBYgD1AEFBAMFjAPYAQUEAwWQA9wBBQQDBZQD4AEFBAMFmAPkAQUEAwWcA+gBAgEA7AEGBaEDaQgE8AEGBakDaQgE+gE+QWx0dWEuT2FrLkNvcmUuQ2hhcnQuRGVmYXVsdFBsb3RTZXJpZXNTZXR0aW5ncywgQWx0dWEuT2FrLkNvcmX1AT4A/AEEBQAIAYACBQWsAwgBhAIEBQAIAYgCBQWwAwgBjAIqBBIEELZ5fHLQQfJQqnl1ubK6ZJsMEgQQH+uMOKYhy0uJMhdCBN9YNBEBkAIqBBIEEK3xkaMagnVfuHWmb/AH5o0MEgQQdZ6YkVxDK0eAjaDLHe+U4xEBlAIqBBIEEOVLEF+yF9pDohnMaLJjm2YMEgQQjTNBoordaU+2MxHU0FK90hEBmAIqBBIEEI4LSy6D9KVBrAG0CINAOu4MEgQQNC2zw3cENEef+D3/sjNvLxEBnAIqBBIEEK931qBe4uxLtZoDdsWs2xsMEgQQwToW+linf0y/4S3E2fW0xxEBoAIqBBIEEM/JBt+HvutDntp4DvUxF9AMEgQQX7zQ3chJZEKZfYz8NsCAWxEBpAIqBBIEELIspLdBXpxDouGcUg/mG34MEgQQ/KlvBDhb20mXIhkokh9kDREBqAIqBBIEEFbuQ/bbg2FIrbEhSfQYpCkMEgQQMJdvGiJVdEe+dqTWICB7jhEBrAIqBBIEEHd2qRubLxlFs/slqT1YB00MEgQQaaSGShLhTUafbswYVa8lNxEBsAIqBBIEEJuXSz36ALJEq0ua8pAu/b0MEgQQkt20D10IMU6pZ2IEWgSoIREBtAILAwAAAAAAAAAACAK4AgsDAAAAAAAAAAAIAbwCCwMAAAAAAAAAAAgBwAIVBbQDDbgDFbwDHcADJcQDLcgDNcwDxAIHDdADFdUDacgCCwMAAAAAAAAAAAgEzAIGBdkDaQgE0AIGBdkDaQgE1AIFBAMF3APYAgIBANwCDgEG4APkA+gD7APwA/QD4AIEAQH4A+QCAgEA6AICAQDsAgIBAPACDAEF/AOABIQEiASMBPQCAgEA+AIOAQaQBJQEmAScBKAEpAT8AhABB6gErASwBLQEuAS8BMAEgAMCAQCEAwQBAcQEiAMKAQTIBMwE0ATUBIwDAgEAkAMCAQCUAwIBAJgDAgEAnAMCAQCmAzNBbHR1YS5PYWsuQ29yZS5UaGVtaW5nLkNvbG9yUG9pbnRlciwgQWx0dWEuT2FrLkNvcmWhA2lQUFD/qQNpUFBQ/6wDBQQDBdgEsAMFBAMF3AS0AwcEAwQBAAgEuAMFBAEuCAS8AwQAAQgEwAMEAAAIBMQDBAQACATIAwQEAAgEzAMEAAAIBNADBQQDBeAE1QNpPj7l/9kDaVBQUP/cAwIBAOADDgXlBJoBCwAAAAAAAAAA5AMOBe0EnAELAAAAAAAAAADoAw4F9QSeAQsAAAAAAADgP+wDDgX9BKABCwAAAAAAAOA/8AMOBYUFogELAAAAAAAA4D/0Aw4FjQWkAQsAAAAAAAD4P/gDCAWVBaIBDZgF/AMKBZ0FqAENpQWqAYAECgWtBZoBDbEFrQGEBAoFuQWeAQ29Ba0BiAQKBcEFoAENxQWtAYwECQXJBbMBDdEFaZAEBwXVBbYBCQGUBAcF3QW4AQkAmAQHBeUFtgEJAZwEBwXpBbsBCQGgBAcF8QW9AQkBpAQHBfkFvwEJAagECgWBBsEBDYkGwwGsBAoFkQbFAQ2ZBscBsAQKBaEGyQENqQbLAbQECgWxBskBDakGywG4BAoFtQa4AQ25Bs8BvAQKBcEGvQENuQbPAcAECgXFBr8BDckG0wHEBAoF0QbVAQ3ZBtcByAQKBeEGuAEN5QbaAcwECgXtBsUBDfEG2gHQBAoF9Qa9AQ35BtoB1AQKBf0GwQENgQfaAdgEBgEBhQfiAdwEBgEBjQfiAeAEBAECAQTqBFNBbHR1YS5PYWsuQ29yZS5Nb2RpZmljYXRpb24uU3R5bGluZy5BbGxWYWx1ZUF4aXNDdXN0b21pemF0aW9uVGFyZ2V0LCBBbHR1YS5PYWsuQ29yZeUEmgEA8gRZQWx0dWEuT2FrLkNvcmUuTW9kaWZpY2F0aW9uLlN0eWxpbmcuVmFsdWVBeGlzR3JpZGxpbmVzQ3VzdG9taXphdGlvblRhcmdldCwgQWx0dWEuT2FrLkNvcmXtBJwBAPoEU0FsdHVhLk9hay5Db3JlLk1vZGlmaWNhdGlvbi5TdHlsaW5nLkNhdGVnb3J5QXhpc0N1c3RvbWl6YXRpb25UYXJnZXQsIEFsdHVhLk9hay5Db3Jl9QSeAQCCBVBBbHR1YS5PYWsuQ29yZS5Nb2RpZmljYXRpb24uU3R5bGluZy5Pcmlnb0xpbmVDdXN0b21pemF0aW9uVGFyZ2V0LCBBbHR1YS5PYWsuQ29yZf0EoAEAigVdQWx0dWEuT2FrLkNvcmUuTW9kaWZpY2F0aW9uLlN0eWxpbmcuQWxsQ29ubmVjdG9yc0F1eGlsaWFyeUN1c3RvbWl6YXRpb25UYXJnZXQsIEFsdHVhLk9hay5Db3JlhQWiAQCSBVlBbHR1YS5PYWsuQ29yZS5Nb2RpZmljYXRpb24uU3R5bGluZy5TZXJpZXNXaXRoUGxvdEtpbmRDdXN0b21pemF0aW9uVGFyZ2V0LCBBbHR1YS5PYWsuQ29yZY0FpAEDBZAHlQWiAQCYBQUMAwWUB6IFVkFsdHVhLk9hay5Db3JlLk1vZGlmaWNhdGlvbi5TdHlsaW5nLkFsbFNlcmllc01hcmtlckN1c3RvbWl6YXRpb25UYXJnZXQsIEFsdHVhLk9hay5Db3JlnQWoAQCqBTpBbHR1YS5PYWsuQ29yZS5UaGVtaW5nLkJpbmRpbmdDb2xvclBvaW50ZXIsIEFsdHVhLk9hay5Db3JlpQWqAQUFmQfnAa0FmgEAtgU3QWx0dWEuT2FrLkNvcmUuVGhlbWluZy5QYWdlQ29sb3JQb2ludGVyLCBBbHR1YS5PYWsuQ29yZbEFrQEEAAAIALkFngEAvQWtAQQAAAgAwQWgAQDFBa0BBAAACADOBVNBbHR1YS5PYWsuQ29yZS5Nb2RpZmljYXRpb24uU3R5bGluZy5BbGxHcmlkbGluZXNDdXN0b21pemF0aW9uVGFyZ2V0LCBBbHR1YS5PYWsuQ29yZckFswEA0QVpgICA/9oFWEFsdHVhLk9hay5Db3JlLk1vZGlmaWNhdGlvbi5TdHlsaW5nLlNlcmllc0xhYmVsT2ZUeXBlQ3VzdG9taXphdGlvblRhcmdldCwgQWx0dWEuT2FrLkNvcmXVBbYBAgAC4gVYQWx0dWEuT2FrLkNvcmUuTW9kaWZpY2F0aW9uLlN0eWxpbmcuQWxsVmFsdWVBeGlzTGFiZWxDdXN0b21pemF0aW9uVGFyZ2V0LCBBbHR1YS5PYWsuQ29yZd0FuAEA5QW2AQIAAO4FVUFsdHVhLk9hay5Db3JlLk1vZGlmaWNhdGlvbi5TdHlsaW5nLkFsbFRvdGFsTGFiZWxzQ3VzdG9taXphdGlvblRhcmdldCwgQWx0dWEuT2FrLkNvcmXpBbsBAPYFV0FsdHVhLk9hay5Db3JlLk1vZGlmaWNhdGlvbi5TdHlsaW5nLkFsbENhdGVnb3J5TGFiZWxDdXN0b21pemF0aW9uVGFyZ2V0LCBBbHR1YS5PYWsuQ29yZfEFvQEA/gVYQWx0dWEuT2FrLkNvcmUuTW9kaWZpY2F0aW9uLlN0eWxpbmcuQWxsQXV4aWxpYXJ5TGFiZWxDdXN0b21pemF0aW9uVGFyZ2V0LCBBbHR1YS5PYWsuQ29yZfkFvwEAhgZYQWx0dWEuT2FrLkNvcmUuTW9kaWZpY2F0aW9uLlN0eWxpbmcuQ2F0ZWdvcnlBeGlzVGl0bGVDdXN0b21pemF0aW9uVGFyZ2V0LCBBbHR1YS5PYWsuQ29yZYEGwQEAjgZCQWx0dWEuT2FrLkNvcmUuUGxvdHRpbmcuQXhpc1RpdGxlTGFiZWxQbGFjZW1lbnRGYXIsIEFsdHVhLk9hay5Db3JliQbDAQIAAJYGXUFsdHVhLk9hay5Db3JlLk1vZGlmaWNhdGlvbi5TdHlsaW5nLkFsbFZhbHVlQXhpc1RpdGxlTGFiZWxDdXN0b21pemF0aW9uVGFyZ2V0LCBBbHR1YS5PYWsuQ29yZZEGxQEAngZGQWx0dWEuT2FrLkNvcmUuUGxvdHRpbmcuQXhpc1RpdGxlTGFiZWxQbGFjZW1lbnRPdXRzaWRlLCBBbHR1YS5PYWsuQ29yZZkGxwECAAGmBl9BbHR1YS5PYWsuQ29yZS5Nb2RpZmljYXRpb24uU3R5bGluZy5TZXJpZXNMYWJlbHNXaXRoUGxvdEtpbmRDdXN0b21pemF0aW9uVGFyZ2V0LCBBbHR1YS5PYWsuQ29yZaEGyQEFBaAHCACuBj1BbHR1YS5PYWsuQ29yZS5QbG90dGluZy5MYWJlbFBsYWNlbWVudE91dHNpZGUsIEFsdHVhLk9hay5Db3JlqQbLAQCxBskBBQWkBwgAtQa4AQC+BkFBbHR1YS5PYWsuQ29yZS5QbG90dGluZy5BeGlzTGFiZWxQbGFjZW1lbnRPdXRzaWRlLCBBbHR1YS5PYWsuQ29yZbkGzwECAQDBBr0BAMUGvwEAzgZGQWx0dWEuT2FrLkNvcmUuUGxvdHRpbmcuQXV4aWxpYXJ5TGFiZWxQbGFjZW1lbnREZWZhdWx0LCBBbHR1YS5PYWsuQ29yZckG0wEA1gZQQWx0dWEuT2FrLkNvcmUuTW9kaWZpY2F0aW9uLlN0eWxpbmcuQWxsTGFiZWxzQ3VzdG9taXphdGlvblRhcmdldCwgQWx0dWEuT2FrLkNvcmXRBtUBAN4GQkFsdHVhLk9hay5Db3JlLlN5bnRheFN0cnVjdHVyZS5BY3R1YWxGb250U2l6ZVZhbHVlLCBBbHR1YS5PYWsuQ29yZdkG1wEJAwAAAAAAACJA4Qa4AQDqBkNBbHR1YS5PYWsuQ29yZS5TeW50YXhTdHJ1Y3R1cmUuQWN0dWFsRm9udENvbG9yVmFsdWUsIEFsdHVhLk9hay5Db3Jl5QbaAQUFqQetAe0GxQEA8QbaAQUFrQetAfUGvQEA+QbaAQUFsQetAf0GwQEAgQfaAQUFtQetAYoHL0FsdHVhLkRhdGEuSW5mcmFzdHJ1Y3R1cmUuUGFyYWdyYXBoLCBBbHR1YS5EYXRhhQfiAQUMAwW4B40H4gEFDAMFvAeQBwEFlAcKAQIAAIBAAABAQJ4HSEFsdHVhLk9hay5Db3JlLlN5bnRheFN0cnVjdHVyZS5QbG90U2VyaWVzQmluZGluZ1N0cmF0ZWd5LCBBbHR1YS5PYWsuQ29yZZkH5wEAoAcCCQqkBwEFqQetAQQAAAgArQetAQQAAAgAsQetAQQAAAgAtQetAQQAAAgAuAcGAQHBB/EBvAcGAQHJB/EBxgcvQWx0dWEuRGF0YS5JbmZyYXN0cnVjdHVyZS5OdW1iZXJSdW4sIEFsdHVhLkRhdGHBB/EBEwQOAwAAAAAAnJ9AHc0H9AEN1AfJB/EBEwQOAwAAAAAAoJ9AHdkH9AEN3AfSBz1BbHR1YS5EYXRhLk51bWJlckZvcm1hdHRpbmcuQ29tcG9zaXRlTnVtYmVyRm9ybWF0LCBBbHR1YS5EYXRhzQf0AQsd4Acl5Ac16Ac9ANQHEgQAHAAkACwANAA8AEwAVABdANkH9AELHewHJfAHNfQHPQDcBxIEABwAJAAsADQAPABMAFQAXQDgBwkAAAwDBfgHEQDkBwkAAAwDBfwHEQDoBwoEASwMAS4UAmty7AcJAAAMAwWACBEA8AcJAAAMAwWECBEA9AcKBAEsDAEuFAJrcvgHBgEBiQiDAvwHCgECkQiFAokIgwKACAYBAZkIgwKECAoBAp0IhQKZCIMCjghAQWx0dWEuRGF0YS5OdW1iZXJGb3JtYXR0aW5nLk51bWJlckZvcm1hdFZhbHVlU2VnbWVudCwgQWx0dWEuRGF0YYkIgwIFBAMFoAiWCD9BbHR1YS5EYXRhLk51bWJlckZvcm1hdHRpbmcuTnVtYmVyRm9ybWF0VGV4dFNlZ21lbnQsIEFsdHVhLkRhdGGRCIUCBQQBLQkBmQiDAgUEAwWkCJ0IhQIFBAEtCQGgCAYBAakIiwKkCAYBAakIiwKuCDlBbHR1YS5EYXRhLk51bWJlckZvcm1hdHRpbmcuTnVtYmVyUGxhY2Vob2xkZXIsIEFsdHVhLkRhdGGpCIsCBQIwAAAA"/>
  <p:tag name="GRUNT-RENDERHASH" val="1b2a46ca0aed451eff8f8cf98948410b-svg"/>
  <p:tag name="GRUNT-X-DATASERVICE" val="AQUC1iYKN0FsdHVhLkRhdGEuRGF0YVNlcnZpY2VzLkVtYmVkZGVkRGF0YVNlcnZpY2UsIEFsdHVhLkRhdGEFAhkEEgQQIrFwxLBA20OBUqh5sjnaGg0MJREFDAYFGAgUEAUWQUFsdHVhLkRhdGEuRGF0YVNlcnZpY2VzLkVtYmVkZGVkRGF0YVNlcnZpY2VFZGl0b3JEYXRhLCBBbHR1YS5EYXRhEQUEBRwNIBgGBSQNKBUsHDwdBBIEEFmfYeZYkT9IhCqevPceZUYLAAAAAACAWkAdBBIEEB/rjDimIctLiTIXQgTfWDQLAAAAAAAgYkAgHh0EEgQQhB+R4huFNUGwuFZrPUlJDwsAAAAAAAAyQCQLMDQ4PEBESExQVFgoA1xgZCzoCywEKAQSBBDajSsQe0+aTJlGK/NOL/gcDBIEEF+XkJfEWrtCmxAwBnFOxVkNaCwEKAQSBBD8qW8EOFvbSZciGSiSH2QNDBIEEOjcGhWyCfxHkHpCy/xxYFsNbCwEKAQSBBB1npiRXEMrR4CNoMsd75TjDBIEEF+XkJfEWrtCmxAwBnFOxVkNcCwEKAQSBBAwl28aIlV0R752pNYgIHuODBIEEF+XkJfEWrtCmxAwBnFOxVkNdCwEKAQSBBAf64w4piHLS4kyF0IE31g0DBIEEOjcGhWyCfxHkHpCy/xxYFsNeCwEKAQSBBBfvNDdyElkQpl9jPw2wIBbDBIEEOjcGhWyCfxHkHpCy/xxYFsNfC0EKAQSBBA0LbPDdwQ0R5/4Pf+yM28vDBIEEF+XkJfEWrtCmxAwBnFOxVkNgAEtBCgEEgQQNC2zw3cENEef+D3/sjNvLwwSBBDo3BoVsgn8R5B6Qsv8cWBbDYQBLQQoBBIEEB/rjDimIctLiTIXQgTfWDQMEgQQX5eQl8Rau0KbEDAGcU7FWQ2IAS0EKAQSBBCNM0Giit1pT7YzEdTQUr3SDBIEEF+XkJfEWrtCmxAwBnFOxVkNjAEtBCgEEgQQkt20D10IMU6pZ2IEWgSoIQwSBBBfl5CXxFq7QpsQMAZxTsVZDZABLQQoBBIEEI0zQaKK3WlPtjMR1NBSvdIMEgQQ6NwaFbIJ/EeQekLL/HFgWw2UAS0EKAQSBBDBOhb6WKd/TL/hLcTZ9bTHDBIEEOjcGhWyCfxHkHpCy/xxYFsNmAEtBCgEEgQQaaSGShLhTUafbswYVa8lNwwSBBDo3BoVsgn8R5B6Qsv8cWBbDZwBLQQoBBIEENqNKxB7T5pMmUYr804v+BwMEgQQ+SxZ/v3fb0W5/mfTI9KrIw2gAS0EKAQSBBB1npiRXEMrR4CNoMsd75TjDBIEEPksWf79329Fuf5n0yPSqyMNpAEtBCgEEgQQaaSGShLhTUafbswYVa8lNwwSBBD5LFn+/d9vRbn+Z9Mj0qsjDagBLQQoBBIEEF+80N3ISWRCmX2M/DbAgFsMEgQQ+SxZ/v3fb0W5/mfTI9KrIw2sAS0EKAQSBBCS3bQPXQgxTqlnYgRaBKghDBIEEPksWf79329Fuf5n0yPSqyMNsAEtBCgEEgQQwToW+linf0y/4S3E2fW0xwwSBBBfl5CXxFq7QpsQMAZxTsVZDbQBLQQoBBIEEDCXbxoiVXRHvnak1iAge44MEgQQ+SxZ/v3fb0W5/mfTI9KrIw24AS0EKAQSBBA0LbPDdwQ0R5/4Pf+yM28vDBIEEPksWf79329Fuf5n0yPSqyMNvAEtBCgEEgQQaaSGShLhTUafbswYVa8lNwwSBBBfl5CXxFq7QpsQMAZxTsVZDcABLQQoBBIEEJLdtA9dCDFOqWdiBFoEqCEMEgQQ6NwaFbIJ/EeQekLL/HFgWw3EAS0EKAQSBBCNM0Giit1pT7YzEdTQUr3SDBIEEPksWf79329Fuf5n0yPSqyMNyAEtBCgEEgQQ/KlvBDhb20mXIhkokh9kDQwSBBD5LFn+/d9vRbn+Z9Mj0qsjDcwBLQQoBBIEEME6FvpYp39Mv+EtxNn1tMcMEgQQ+SxZ/v3fb0W5/mfTI9KrIw3QAS0EKAQSBBDajSsQe0+aTJlGK/NOL/gcDBIEEOjcGhWyCfxHkHpCy/xxYFsN1AEtBCgEEgQQX7zQ3chJZEKZfYz8NsCAWwwSBBBfl5CXxFq7QpsQMAZxTsVZDdgBLQQoBBIEEB/rjDimIctLiTIXQgTfWDQMEgQQ+SxZ/v3fb0W5/mfTI9KrIw3cAS0EKAQSBBD8qW8EOFvbSZciGSiSH2QNDBIEEF+XkJfEWrtCmxAwBnFOxVkN4AEtBCgEEgQQdZ6YkVxDK0eAjaDLHe+U4wwSBBDo3BoVsgn8R5B6Qsv8cWBbDeQBLQQoBBIEEDCXbxoiVXRHvnak1iAge44MEgQQ6NwaFbIJ/EeQekLL/HFgWw3oATAaBBIEENqNKxB7T5pMmUYr804v+BwMAkMxEAA0GgQSBBAf64w4piHLS4kyF0IE31g0DAJDMhAAOBoEEgQQdZ6YkVxDK0eAjaDLHe+U4wwCQzMQADwbBBIEEI0zQaKK3WlPtjMR1NBSvdIMA0MxMhAAQBsEEgQQNC2zw3cENEef+D3/sjNvLwwDQzEzEABEGwQSBBDBOhb6WKd/TL/hLcTZ9bTHDANDMTQQAEgbBBIEEF+80N3ISWRCmX2M/DbAgFsMA0MxNRAATBsEEgQQ/KlvBDhb20mXIhkokh9kDQwDQzE2EABQGwQSBBAwl28aIlV0R752pNYgIHuODANDMTcQAFQbBBIEEGmkhkoS4U1Gn27MGFWvJTcMA0MxOBAAWBsEEgQQkt20D10IMU6pZ2IEWgSoIQwDQzE5EABcGgQSBBBfl5CXxFq7QpsQMAZxTsVZDAJSMRAAYBoEEgQQ6NwaFbIJ/EeQekLL/HFgWwwCUjIQAGQaBBIEEPksWf79329Fuf5n0yPSqyMMAlIzEABoBg3sARXwAWwGDfQBFfgBcAYN7AEV/AF0Bg2AAhWEAngGDewBFYgCfAYN9AEVjAKAAQYNgAIVkAKEAQYN9AEVlAKIAQYN7AEVmAKMAQYNgAIVnAKQAQYN9AEVoAKUAQYN9AEVpAKYAQYN9AEVqAKcAQYN9AEVrAKgAQYN7AEVsAKkAQYN7AEVtAKoAQYN9AEVuAKsAQYN9AEVvAKwAQYN9AEVwAK0AQYNgAIVxAK4AQYN9AEVyAK8AQYN9AEVzALAAQYNgAIV0ALEAQYN9AEV1ALIAQYN9AEV2ALMAQYN9AEV3ALQAQYN9AEV4ALUAQYN7AEV5ALYAQYNgAIV6ALcAQYN7AEV7ALgAQYNgAIV8ALkAQYN7AEV9ALoAQYN9AEV+ALsAQIEAPABBQQDBfwC9AECBAD4AQUEAwWAA/wBBQQDBYQDgAICBACEAgUEAwWIA4gCBQQDBYwDjAIFBAMFkAOQAgUEAwWUA5QCBQQDBZgDmAIFBAMFnAOcAgUEAwWgA6ACBQQDBaQDpAIFBAMFqAOoAgUEAwWsA6wCBQQDBbADsAIFBAMFtAO0AgUEAwW4A7gCBQQDBbwDvAIFBAMFwAPAAgUEAwXEA8QCBQQDBcgDyAIFBAMFzAPMAgUEAwXQA9ACBQQDBdQD1AIFBAMF2APYAgUEAwXcA9wCBQQDBeAD4AIFBAMF5APkAgUEAwXoA+gCBQQDBewD7AIFBAMF8APwAgUEAwX0A/QCBQQDBfgD+AIFBAMF/AP8AgIBAIADBgEBgQSBAYQDBgEBiQSBAYgDBgEBjQSBAYwDBgEBkQSBAZADBgEBlQSBAZQDBgEBmQSBAZgDBgEBnQSBAZwDBgEBoQSBAaADBgEBpQSBAaQDBgEBqQSBAagDBgEBrQSBAawDBgEBsQSBAbADBgEBtQSBAbQDBgEBuQSBAbgDBgEBvQSBAbwDBgEBwQSBAcADBgEBxQSBAcQDBgEByQSBAcgDBgEBzQSBAcwDBgEB0QSBAdADBgEB1QSBAdQDBgEB2QSBAdgDBgEB3QSBAdwDBgEB4QSBAeADBgEB5QSBAeQDBgEB6QSBAegDBgEB7QSBAewDBgEB8QSBAfADBgEB9QSBAfQDBgEB+QSBAfgDBgEB/QSBAfwDBgEBgQWBAYYEL0FsdHVhLkRhdGEuSW5mcmFzdHJ1Y3R1cmUuUGFyYWdyYXBoLCBBbHR1YS5EYXRhgQSBAQUMAwWEBYkEgQEFDAMFiAWNBIEBBQwDBYwFkQSBAQUMAwWQBZUEgQEFDAMFlAWZBIEBBQwDBZgFnQSBAQUMAwWcBaEEgQEFDAMFoAWlBIEBBQwDBaQFqQSBAQUMAwWoBa0EgQEFDAMFrAWxBIEBBQwDBbAFtQSBAQUMAwW0BbkEgQEFDAMFuAW9BIEBBQwDBbwFwQSBAQUMAwXABcUEgQEFDAMFxAXJBIEBBQwDBcgFzQSBAQUMAwXMBdEEgQEFDAMF0AXVBIEBBQwDBdQF2QSBAQUMAwXYBd0EgQEFDAMF3AXhBIEBBQwDBeAF5QSBAQUMAwXkBekEgQEFDAMF6AXtBIEBBQwDBewF8QSBAQUMAwXwBfUEgQEFDAMF9AX5BIEBBQwDBfgF/QSBAQUMAwX8BYEFgQEFDAMFgAaEBQYBAYUGwgGIBQYBAY0GxAGMBQYBAZUGxAGQBQYBAZkGwgGUBQYBAZ0GwgGYBQYBAaEGxAGcBQYBAaUGwgGgBQYBAakGxAGkBQYBAa0GxAGoBQYBAbEGxAGsBQYBAbUGwgGwBQYBAbkGwgG0BQYBAb0GwgG4BQYBAcEGwgG8BQYBAcUGwgHABQYBAckGwgHEBQYBAc0GwgHIBQYBAdEGwgHMBQYBAdUGxAHQBQYBAdkGwgHUBQYBAd0GwgHYBQYBAeEGxAHcBQYBAeUGwgHgBQYBAekGwgHkBQYBAe0GwgHoBQYBAfEGwgHsBQYBAfUGwgHwBQYBAfkGxAH0BQYBAf0GwgH4BQYBAYEHxAH8BQYBAYUHwgGABgYBAYkHwgGKBi9BbHR1YS5EYXRhLkluZnJhc3RydWN0dXJlLk51bWJlclJ1biwgQWx0dWEuRGF0YYUGwgETBA4DAAAAAAAACEAdjQfkAQ2UB5IGLUFsdHVhLkRhdGEuSW5mcmFzdHJ1Y3R1cmUuVGV4dFJ1biwgQWx0dWEuRGF0YY0GxAEdBBhFdHRlcnNww7hyc2VsIGZyYSBrdW5kZXINmAeVBsQBDgQJVGVrbm9sb2dpDZgHmQbCARMEDgMAAAAAAIBCQB2NB+QBDZQHnQbCARMEDgMAAAAAAAAgQB2NB+QBDZQHoQbEARAEC0zDuG5uc29taGV0DZgHpQbCARMEDgMAAAAAAAAkQB2NB+QBDZQHqQbEAQoEBUFubmV0DZgHrQbEAQ0ECFZldCBpa2tlDZgHsQbEAQ8ECktvbXBldGFuc2UNmAe1BsIBEwQOAwAAAAAAADRAHY0H5AENlAe5BsIBEwQOAwAAAAAAACBAHY0H5AENlAe9BsIBEwQOAwAAAAAAAPA/HY0H5AENlAfBBsIBEwQOAwAAAAAAoJ9AHY0H5AENlAfFBsIBEwQOAwAAAAAAADNAHY0H5AENlAfJBsIBEwQOAwAAAAAAAPA/HY0H5AENlAfNBsIBEwQOAwAAAAAAACJAHY0H5AENlAfRBsIBEwQOAwAAAAAAAPA/HY0H5AENlAfVBsQBGQQUS3JhdiBmcmEgbXluZGlnaGV0ZXINmAfZBsIBEwQOAwAAAAAAAABAHY0H5AENlAfdBsIBEwQOAwAAAAAAAChAHY0H5AENlAfhBsQBHQQYVGlsZ2FuZyBww6UgZmluYW5zaWVyaW5nDZgH5QbCARMEDgMAAAAAAAAAAB2NB+QBDZQH6QbCARMEDgMAAAAAAAAuQB2NB+QBDZQH7QbCARMEDgMAAAAAAAAQQB2NB+QBDZQH8QbCARMEDgMAAAAAAAAiQB2NB+QBDZQH9QbCARMEDgMAAAAAAJyfQB2NB+QBDZQH+QbEAScEIkhvbGRuaW5nZXIvbWVuaW5nZXIgaG9zIGRlIGFuc2F0dGUNmAf9BsIBEwQOAwAAAAAAAD1AHY0H5AENlAeBB8QBGQQUS29ua3VycmFuc2VzaXRhdXNqb24NmAeFB8IBEwQOAwAAAAAAAChAHY0H5AENlAeJB8IBEwQOAwAAAAAAAPA/HY0H5AENlAeSBz1BbHR1YS5EYXRhLk51bWJlckZvcm1hdHRpbmcuQ29tcG9zaXRlTnVtYmVyRm9ybWF0LCBBbHR1YS5EYXRhjQfkAQsdnAcloAc1pAc9AJQHEgQAHAAkACwANAA8AEwAVABdAJgHEgQAHAAkACwANAA8AEwAVABdAJwHCQAADAMFqAcRAKAHCQAADAMFrAcRAKQHCgQBLAwBLhQCa3KoBwYBAbEH7QGsBwoBArkH7wHBB+0BtgdCQWx0dWEuRGF0YS5OdW1iZXJGb3JtYXR0aW5nLk51bWJlckZvcm1hdEdlbmVyYWxTZWdtZW50LCBBbHR1YS5EYXRhsQftAQC+Bz9BbHR1YS5EYXRhLk51bWJlckZvcm1hdHRpbmcuTnVtYmVyRm9ybWF0VGV4dFNlZ21lbnQsIEFsdHVhLkRhdGG5B+8BBQQBLQkBwQftAQA="/>
  <p:tag name="GRUNT-SYNC" val="21e238a34e4f45e3842a8b6b2a3e5d2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f7752fc0-647d-4981-a582-0bf11086f10f"/>
  <p:tag name="GRUNT-X-RESOURCES" val="AQIFBAQEAgEA"/>
  <p:tag name="GRUNT-VERSION" val="20.23.267.0"/>
  <p:tag name="GRUNT-RENDERHASH" val="7b714afa619c772ff586116916ca68a5-svg"/>
  <p:tag name="GRUNT-X-SHAPEBOUNDS" val="ASIBBAAAAEAA0HNAAAAAAADAb0AAAAAAAABZQAAAAAAAgEhAAA=="/>
  <p:tag name="GRUNT-X-PAGEOBJECT" val="AQUCswIKPkFsdHVhLk9hay5Db3JlLkRvY3VtZW50TW9kZWwuQ2hhcnRMZWdlbmRPYmplY3QsIEFsdHVhLk9hay5Db3JlBQI5BBIEEMAvdfd9ZIFJpYIL8RCG8Q8UEgQQpb7uwLcvbkC3tn3H7L2q0C0MNRBEAgUUSABVGQdlIG0kDAQEAgUoEAIFLBQCAQAeUEFsdHVhLk9hay5Db3JlLkRvY3VtZW50TW9kZWwuVGVtcGxhdGluZy5DdXN0b21Qb3NpdGlvbkRlZmluaXRpb24sIEFsdHVhLk9hay5Db3JlGQckBCIBBAAAAEAA0HNAAAAAAADAb0Bw/n+Y/x9IQMj/f/L/H0VAIAsFMAwFbmItTk8VNCQEAQEJASgCAQAsADAKBAEsDAEgFAJrcjQJBAVuYi1OTwgB"/>
  <p:tag name="GRUNT-SYNC" val="e70755159d31460cb7cc2a17a60ea9b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SHAPEBOUNDS" val="ASIBBAAAAKCVH39AAAAAAACIYEAAAABgXJd4QAAAAAAAuHVAAA=="/>
  <p:tag name="GRUNT-X-PAGEOBJECT" val="AQUCxy4KOEFsdHVhLk9hay5Db3JlLkRvY3VtZW50TW9kZWwuQ2hhcnRPYmplY3QsIEFsdHVhLk9hay5Db3JlBQI1BBIEEGulzHHJ1qNOovOdkWmwGKwMEgQQe/JLcMLrgUSyDvXf8Y2YnRUNBCUUNRg9HFUgZSQSUEFsdHVhLk9hay5Db3JlLkRvY3VtZW50TW9kZWwuVGVtcGxhdGluZy5DdXN0b21Qb3NpdGlvbkRlZmluaXRpb24sIEFsdHVhLk9hay5Db3JlDQQkBCIBBAYAOAkA1oRAAAAAAACQYEAAAACAAGBqQOL/P/n/r3VAFBMVKB0sNTA4AEU1DkwCBTxVQF1EGAQEAgVIHAIFTCALBVAMBW5iLU5PFVQkDgEBCQERARkBIQEpATEBKBYEEgQQAAAAAAAAAAAAAAAAAAAAAAgBLBYEEgQQAAAAAAAAAAAAAAAAAAAAAAgBMAA6R0FsdHVhLk9hay5Db3JlLkNoYXJ0LkNsdXN0ZXJlZEJhcldpdGhMaW5lUGxvdERlZmluaXRpb24sIEFsdHVhLk9hay5Db3JlNQ41BBIEEJY/I3OSU2NAlyLpXSiC0QscAgVYJVw1YDwCBWRJAG1ojQFspQFwtQF1HrkBAMUBfSA8BgEChAGIAUAFBYwBDQBEAgEASAIBAEwAUAoEASwMASAUAmtyVAkEBW5iLU5PCAFYBAEBkAFcDQAACAEUAwWUARwAJQBgJgQiAQQAAAAAAAAQQAAAAAAAABBAAAAAAAAAEEAAAAAAAAAQQAgEZAIBAGgLAwAAAAAAgE1ACCBsCwMAAAAAAAAUQAggcEo1mAE9nAFFoAFVpAFdqAF1rAGNAbABnQG0AaUBuAGtAbwBzQHAAdUBxAHdAcgB5QHMAe0B0AH1AdQB/QHYAYUC3AGNAuABlQLkAXpFQWx0dWEuT2FrLkNvcmUuUGxvdHRpbmcuQXV0b21hdGljQ2F0ZWdvcnlBeGlzU2V0dGluZ3MsIEFsdHVhLk9hay5Db3JldR4TAQEN6AEQABkBMAA97AFF8AFIAYIBPUFsdHVhLk9hay5Db3JlLlRoZW1pbmcuUGFnZUNvbG9yU2NoZW1lUG9pbnRlciwgQWx0dWEuT2FrLkNvcmV9IACEAUgEEgQQ6NwaFbIJ/EeQekLL/HFgWyQSBBA5rqFLY+crUa/3h5kmPemoLBIEEFJEdJJpBjxBri1hfBH0wgg99QE+RfwBSQFdgAKIAUgEEgQQ+SxZ/v3fb0W5/mfTI9KrIyQSBBDeEv+gt+OZUY2Brka6081VLBIEEFJEdJJpBjxBri1hfBH0wgg99QE+RYQCSQFdiAKMARSMApAClAKYApwCoAKkAqgCrAKwApABQgEAGAMltAIpADEAQANIAlW4Al28AmQSBBBSRHSSaQY8Qa4tYXwR9MIIbcACdcQCjQHIApEBAZ0BzAKlAdACtQHUApQBAgEAmAEFBAMF2AKcAQUEAwXcAqABBQQDBeACpAEFBAMF5AKoAQUEAwXYAqwBBQQDBdgCsAEFBAMF6AK0AQUEAwXsArgBBQQDBfACvAEFBAMF9ALAAQUEAwX4AsQBBQQDBfwCyAEFBAMFgAPMAQUEAwWEA9ABBQQDBYgD1AEFBAMFjAPYAQUEAwWQA9wBBQQDBZQD4AEFBAMFmAPkAQUEAwWcA+gBAgEA7AEGBaEDaQgE8AEGBakDaQgE+gE+QWx0dWEuT2FrLkNvcmUuQ2hhcnQuRGVmYXVsdFBsb3RTZXJpZXNTZXR0aW5ncywgQWx0dWEuT2FrLkNvcmX1AT4A/AEEBQAIAYACBQWsAwgBhAIEBQAIAYgCBQWwAwgBjAIqBBIEELZ5fHLQQfJQqnl1ubK6ZJsMEgQQH+uMOKYhy0uJMhdCBN9YNBEBkAIqBBIEEK3xkaMagnVfuHWmb/AH5o0MEgQQdZ6YkVxDK0eAjaDLHe+U4xEBlAIqBBIEEOVLEF+yF9pDohnMaLJjm2YMEgQQjTNBoordaU+2MxHU0FK90hEBmAIqBBIEEI4LSy6D9KVBrAG0CINAOu4MEgQQNC2zw3cENEef+D3/sjNvLxEBnAIqBBIEEK931qBe4uxLtZoDdsWs2xsMEgQQwToW+linf0y/4S3E2fW0xxEBoAIqBBIEEM/JBt+HvutDntp4DvUxF9AMEgQQX7zQ3chJZEKZfYz8NsCAWxEBpAIqBBIEELIspLdBXpxDouGcUg/mG34MEgQQ/KlvBDhb20mXIhkokh9kDREBqAIqBBIEEFbuQ/bbg2FIrbEhSfQYpCkMEgQQMJdvGiJVdEe+dqTWICB7jhEBrAIqBBIEEHd2qRubLxlFs/slqT1YB00MEgQQaaSGShLhTUafbswYVa8lNxEBsAIqBBIEEJuXSz36ALJEq0ua8pAu/b0MEgQQkt20D10IMU6pZ2IEWgSoIREBtAILAwAAAAAAAAAACAK4AgsDAAAAAAAAAAAIAbwCCwMAAAAAAAAAAAgBwAIVBbQDDbgDFbwDHcADJcQDLcgDNcwDxAIHDdADFdUDacgCCwMAAAAAAAAAAAgEzAIGBdkDaQgE0AIGBdkDaQgE1AIFBAMF3APYAgIBANwCDgEG4APkA+gD7APwA/QD4AIEAQH4A+QCAgEA6AICAQDsAgIBAPACDAEF/AOABIQEiASMBPQCAgEA+AIOAQaQBJQEmAScBKAEpAT8AhABB6gErASwBLQEuAS8BMAEgAMCAQCEAwQBAcQEiAMKAQTIBMwE0ATUBIwDAgEAkAMCAQCUAwIBAJgDAgEAnAMCAQCmAzNBbHR1YS5PYWsuQ29yZS5UaGVtaW5nLkNvbG9yUG9pbnRlciwgQWx0dWEuT2FrLkNvcmWhA2lQUFD/qQNpUFBQ/6wDBQQDBdgEsAMFBAMF3AS0AwcEAwQBAAgEuAMFBAEuCAS8AwQAAQgEwAMEAAAIBMQDBAQACATIAwQEAAgEzAMEAAAIBNADBQQDBeAE1QNpPj7l/9kDaVBQUP/cAwIBAOADDgXlBJoBCwAAAAAAAAAA5AMOBe0EnAELAAAAAAAAAADoAw4F9QSeAQsAAAAAAADgP+wDDgX9BKABCwAAAAAAAOA/8AMOBYUFogELAAAAAAAA4D/0Aw4FjQWkAQsAAAAAAAD4P/gDCAWVBaIBDZgF/AMKBZ0FqAENpQWqAYAECgWtBZoBDbEFrQGEBAoFuQWeAQ29Ba0BiAQKBcEFoAENxQWtAYwECQXJBbMBDdEFaZAEBwXVBbYBCQGUBAcF3QW4AQkAmAQHBeUFtgEJAZwEBwXpBbsBCQGgBAcF8QW9AQkBpAQHBfkFvwEJAagECgWBBsEBDYkGwwGsBAoFkQbFAQ2ZBscBsAQKBaEGyQENqQbLAbQECgWxBskBDakGywG4BAoFtQa4AQ25Bs8BvAQKBcEGvQENuQbPAcAECgXFBr8BDckG0wHEBAoF0QbVAQ3ZBtcByAQKBeEGuAEN5QbaAcwECgXtBsUBDfEG2gHQBAoF9Qa9AQ35BtoB1AQKBf0GwQENgQfaAdgEBgEBhQfiAdwEBgEBjQfiAeAEBAECAQTqBFNBbHR1YS5PYWsuQ29yZS5Nb2RpZmljYXRpb24uU3R5bGluZy5BbGxWYWx1ZUF4aXNDdXN0b21pemF0aW9uVGFyZ2V0LCBBbHR1YS5PYWsuQ29yZeUEmgEA8gRZQWx0dWEuT2FrLkNvcmUuTW9kaWZpY2F0aW9uLlN0eWxpbmcuVmFsdWVBeGlzR3JpZGxpbmVzQ3VzdG9taXphdGlvblRhcmdldCwgQWx0dWEuT2FrLkNvcmXtBJwBAPoEU0FsdHVhLk9hay5Db3JlLk1vZGlmaWNhdGlvbi5TdHlsaW5nLkNhdGVnb3J5QXhpc0N1c3RvbWl6YXRpb25UYXJnZXQsIEFsdHVhLk9hay5Db3Jl9QSeAQCCBVBBbHR1YS5PYWsuQ29yZS5Nb2RpZmljYXRpb24uU3R5bGluZy5Pcmlnb0xpbmVDdXN0b21pemF0aW9uVGFyZ2V0LCBBbHR1YS5PYWsuQ29yZf0EoAEAigVdQWx0dWEuT2FrLkNvcmUuTW9kaWZpY2F0aW9uLlN0eWxpbmcuQWxsQ29ubmVjdG9yc0F1eGlsaWFyeUN1c3RvbWl6YXRpb25UYXJnZXQsIEFsdHVhLk9hay5Db3JlhQWiAQCSBVlBbHR1YS5PYWsuQ29yZS5Nb2RpZmljYXRpb24uU3R5bGluZy5TZXJpZXNXaXRoUGxvdEtpbmRDdXN0b21pemF0aW9uVGFyZ2V0LCBBbHR1YS5PYWsuQ29yZY0FpAEDBZAHlQWiAQCYBQUMAwWUB6IFVkFsdHVhLk9hay5Db3JlLk1vZGlmaWNhdGlvbi5TdHlsaW5nLkFsbFNlcmllc01hcmtlckN1c3RvbWl6YXRpb25UYXJnZXQsIEFsdHVhLk9hay5Db3JlnQWoAQCqBTpBbHR1YS5PYWsuQ29yZS5UaGVtaW5nLkJpbmRpbmdDb2xvclBvaW50ZXIsIEFsdHVhLk9hay5Db3JlpQWqAQUFmQfnAa0FmgEAtgU3QWx0dWEuT2FrLkNvcmUuVGhlbWluZy5QYWdlQ29sb3JQb2ludGVyLCBBbHR1YS5PYWsuQ29yZbEFrQEEAAAIALkFngEAvQWtAQQAAAgAwQWgAQDFBa0BBAAACADOBVNBbHR1YS5PYWsuQ29yZS5Nb2RpZmljYXRpb24uU3R5bGluZy5BbGxHcmlkbGluZXNDdXN0b21pemF0aW9uVGFyZ2V0LCBBbHR1YS5PYWsuQ29yZckFswEA0QVpgICA/9oFWEFsdHVhLk9hay5Db3JlLk1vZGlmaWNhdGlvbi5TdHlsaW5nLlNlcmllc0xhYmVsT2ZUeXBlQ3VzdG9taXphdGlvblRhcmdldCwgQWx0dWEuT2FrLkNvcmXVBbYBAgAC4gVYQWx0dWEuT2FrLkNvcmUuTW9kaWZpY2F0aW9uLlN0eWxpbmcuQWxsVmFsdWVBeGlzTGFiZWxDdXN0b21pemF0aW9uVGFyZ2V0LCBBbHR1YS5PYWsuQ29yZd0FuAEA5QW2AQIAAO4FVUFsdHVhLk9hay5Db3JlLk1vZGlmaWNhdGlvbi5TdHlsaW5nLkFsbFRvdGFsTGFiZWxzQ3VzdG9taXphdGlvblRhcmdldCwgQWx0dWEuT2FrLkNvcmXpBbsBAPYFV0FsdHVhLk9hay5Db3JlLk1vZGlmaWNhdGlvbi5TdHlsaW5nLkFsbENhdGVnb3J5TGFiZWxDdXN0b21pemF0aW9uVGFyZ2V0LCBBbHR1YS5PYWsuQ29yZfEFvQEA/gVYQWx0dWEuT2FrLkNvcmUuTW9kaWZpY2F0aW9uLlN0eWxpbmcuQWxsQXV4aWxpYXJ5TGFiZWxDdXN0b21pemF0aW9uVGFyZ2V0LCBBbHR1YS5PYWsuQ29yZfkFvwEAhgZYQWx0dWEuT2FrLkNvcmUuTW9kaWZpY2F0aW9uLlN0eWxpbmcuQ2F0ZWdvcnlBeGlzVGl0bGVDdXN0b21pemF0aW9uVGFyZ2V0LCBBbHR1YS5PYWsuQ29yZYEGwQEAjgZCQWx0dWEuT2FrLkNvcmUuUGxvdHRpbmcuQXhpc1RpdGxlTGFiZWxQbGFjZW1lbnRGYXIsIEFsdHVhLk9hay5Db3JliQbDAQIAAJYGXUFsdHVhLk9hay5Db3JlLk1vZGlmaWNhdGlvbi5TdHlsaW5nLkFsbFZhbHVlQXhpc1RpdGxlTGFiZWxDdXN0b21pemF0aW9uVGFyZ2V0LCBBbHR1YS5PYWsuQ29yZZEGxQEAngZGQWx0dWEuT2FrLkNvcmUuUGxvdHRpbmcuQXhpc1RpdGxlTGFiZWxQbGFjZW1lbnRPdXRzaWRlLCBBbHR1YS5PYWsuQ29yZZkGxwECAAGmBl9BbHR1YS5PYWsuQ29yZS5Nb2RpZmljYXRpb24uU3R5bGluZy5TZXJpZXNMYWJlbHNXaXRoUGxvdEtpbmRDdXN0b21pemF0aW9uVGFyZ2V0LCBBbHR1YS5PYWsuQ29yZaEGyQEFBaAHCACuBj1BbHR1YS5PYWsuQ29yZS5QbG90dGluZy5MYWJlbFBsYWNlbWVudE91dHNpZGUsIEFsdHVhLk9hay5Db3JlqQbLAQCxBskBBQWkBwgAtQa4AQC+BkFBbHR1YS5PYWsuQ29yZS5QbG90dGluZy5BeGlzTGFiZWxQbGFjZW1lbnRPdXRzaWRlLCBBbHR1YS5PYWsuQ29yZbkGzwECAQDBBr0BAMUGvwEAzgZGQWx0dWEuT2FrLkNvcmUuUGxvdHRpbmcuQXV4aWxpYXJ5TGFiZWxQbGFjZW1lbnREZWZhdWx0LCBBbHR1YS5PYWsuQ29yZckG0wEA1gZQQWx0dWEuT2FrLkNvcmUuTW9kaWZpY2F0aW9uLlN0eWxpbmcuQWxsTGFiZWxzQ3VzdG9taXphdGlvblRhcmdldCwgQWx0dWEuT2FrLkNvcmXRBtUBAN4GQkFsdHVhLk9hay5Db3JlLlN5bnRheFN0cnVjdHVyZS5BY3R1YWxGb250U2l6ZVZhbHVlLCBBbHR1YS5PYWsuQ29yZdkG1wEJAwAAAAAAACJA4Qa4AQDqBkNBbHR1YS5PYWsuQ29yZS5TeW50YXhTdHJ1Y3R1cmUuQWN0dWFsRm9udENvbG9yVmFsdWUsIEFsdHVhLk9hay5Db3Jl5QbaAQUFqQetAe0GxQEA8QbaAQUFrQetAfUGvQEA+QbaAQUFsQetAf0GwQEAgQfaAQUFtQetAYoHL0FsdHVhLkRhdGEuSW5mcmFzdHJ1Y3R1cmUuUGFyYWdyYXBoLCBBbHR1YS5EYXRhhQfiAQUMAwW4B40H4gEFDAMFvAeQBwEFlAcKAQIAAIBAAABAQJ4HSEFsdHVhLk9hay5Db3JlLlN5bnRheFN0cnVjdHVyZS5QbG90U2VyaWVzQmluZGluZ1N0cmF0ZWd5LCBBbHR1YS5PYWsuQ29yZZkH5wEAoAcCCQqkBwEFqQetAQQAAAgArQetAQQAAAgAsQetAQQAAAgAtQetAQQAAAgAuAcGAQHBB/EBvAcGAQHJB/EBxgcvQWx0dWEuRGF0YS5JbmZyYXN0cnVjdHVyZS5OdW1iZXJSdW4sIEFsdHVhLkRhdGHBB/EBEwQOAwAAAAAAnJ9AHc0H9AEN1AfJB/EBEwQOAwAAAAAAoJ9AHdkH9AEN3AfSBz1BbHR1YS5EYXRhLk51bWJlckZvcm1hdHRpbmcuQ29tcG9zaXRlTnVtYmVyRm9ybWF0LCBBbHR1YS5EYXRhzQf0AQsd4Acl5Ac16Ac9ANQHEgQAHAAkACwANAA8AEwAVABdANkH9AELHewHJfAHNfQHPQDcBxIEABwAJAAsADQAPABMAFQAXQDgBwkAAAwDBfgHEQDkBwkAAAwDBfwHEQDoBwoEASwMAS4UAmty7AcJAAAMAwWACBEA8AcJAAAMAwWECBEA9AcKBAEsDAEuFAJrcvgHBgEBiQiDAvwHCgECkQiFAokIgwKACAYBAZkIgwKECAoBAp0IhQKZCIMCjghAQWx0dWEuRGF0YS5OdW1iZXJGb3JtYXR0aW5nLk51bWJlckZvcm1hdFZhbHVlU2VnbWVudCwgQWx0dWEuRGF0YYkIgwIFBAMFoAiWCD9BbHR1YS5EYXRhLk51bWJlckZvcm1hdHRpbmcuTnVtYmVyRm9ybWF0VGV4dFNlZ21lbnQsIEFsdHVhLkRhdGGRCIUCBQQBLQkBmQiDAgUEAwWkCJ0IhQIFBAEtCQGgCAYBAakIiwKkCAYBAakIiwKuCDlBbHR1YS5EYXRhLk51bWJlckZvcm1hdHRpbmcuTnVtYmVyUGxhY2Vob2xkZXIsIEFsdHVhLkRhdGGpCIsCBQIwAAAA"/>
  <p:tag name="GRUNT-RENDERHASH" val="8d2c6f6ece49cd7b44d33c85dc004617-svg"/>
  <p:tag name="GRUNT-X-DATASERVICE" val="AQUC6yYKN0FsdHVhLkRhdGEuRGF0YVNlcnZpY2VzLkVtYmVkZGVkRGF0YVNlcnZpY2UsIEFsdHVhLkRhdGEFAhkEEgQQe/JLcMLrgUSyDvXf8Y2YnQ0MJREFDAYFGAgUEAUWQUFsdHVhLkRhdGEuRGF0YVNlcnZpY2VzLkVtYmVkZGVkRGF0YVNlcnZpY2VFZGl0b3JEYXRhLCBBbHR1YS5EYXRhEQUEBRwNIBgGBSQNKBUsHDwdBBIEEFmfYeZYkT9IhCqevPceZUYLAAAAAACAWkAdBBIEEB/rjDimIctLiTIXQgTfWDQLAAAAAAAgYkAgHh0EEgQQhB+R4huFNUGwuFZrPUlJDwsAAAAAAAAyQCQLMDQ4PEBESExQVFgoA1xgZCzoCywEKAQSBBDajSsQe0+aTJlGK/NOL/gcDBIEEF+XkJfEWrtCmxAwBnFOxVkNaCwEKAQSBBD8qW8EOFvbSZciGSiSH2QNDBIEEOjcGhWyCfxHkHpCy/xxYFsNbCwEKAQSBBB1npiRXEMrR4CNoMsd75TjDBIEEF+XkJfEWrtCmxAwBnFOxVkNcCwEKAQSBBAwl28aIlV0R752pNYgIHuODBIEEF+XkJfEWrtCmxAwBnFOxVkNdCwEKAQSBBAf64w4piHLS4kyF0IE31g0DBIEEOjcGhWyCfxHkHpCy/xxYFsNeCwEKAQSBBBfvNDdyElkQpl9jPw2wIBbDBIEEOjcGhWyCfxHkHpCy/xxYFsNfC0EKAQSBBA0LbPDdwQ0R5/4Pf+yM28vDBIEEF+XkJfEWrtCmxAwBnFOxVkNgAEtBCgEEgQQNC2zw3cENEef+D3/sjNvLwwSBBDo3BoVsgn8R5B6Qsv8cWBbDYQBLQQoBBIEEB/rjDimIctLiTIXQgTfWDQMEgQQX5eQl8Rau0KbEDAGcU7FWQ2IAS0EKAQSBBCNM0Giit1pT7YzEdTQUr3SDBIEEF+XkJfEWrtCmxAwBnFOxVkNjAEtBCgEEgQQkt20D10IMU6pZ2IEWgSoIQwSBBBfl5CXxFq7QpsQMAZxTsVZDZABLQQoBBIEEI0zQaKK3WlPtjMR1NBSvdIMEgQQ6NwaFbIJ/EeQekLL/HFgWw2UAS0EKAQSBBDBOhb6WKd/TL/hLcTZ9bTHDBIEEOjcGhWyCfxHkHpCy/xxYFsNmAEtBCgEEgQQaaSGShLhTUafbswYVa8lNwwSBBDo3BoVsgn8R5B6Qsv8cWBbDZwBLQQoBBIEENqNKxB7T5pMmUYr804v+BwMEgQQ+SxZ/v3fb0W5/mfTI9KrIw2gAS0EKAQSBBB1npiRXEMrR4CNoMsd75TjDBIEEPksWf79329Fuf5n0yPSqyMNpAEtBCgEEgQQaaSGShLhTUafbswYVa8lNwwSBBD5LFn+/d9vRbn+Z9Mj0qsjDagBLQQoBBIEEF+80N3ISWRCmX2M/DbAgFsMEgQQ+SxZ/v3fb0W5/mfTI9KrIw2sAS0EKAQSBBCS3bQPXQgxTqlnYgRaBKghDBIEEPksWf79329Fuf5n0yPSqyMNsAEtBCgEEgQQwToW+linf0y/4S3E2fW0xwwSBBBfl5CXxFq7QpsQMAZxTsVZDbQBLQQoBBIEEDCXbxoiVXRHvnak1iAge44MEgQQ+SxZ/v3fb0W5/mfTI9KrIw24AS0EKAQSBBA0LbPDdwQ0R5/4Pf+yM28vDBIEEPksWf79329Fuf5n0yPSqyMNvAEtBCgEEgQQaaSGShLhTUafbswYVa8lNwwSBBBfl5CXxFq7QpsQMAZxTsVZDcABLQQoBBIEEJLdtA9dCDFOqWdiBFoEqCEMEgQQ6NwaFbIJ/EeQekLL/HFgWw3EAS0EKAQSBBCNM0Giit1pT7YzEdTQUr3SDBIEEPksWf79329Fuf5n0yPSqyMNyAEtBCgEEgQQ/KlvBDhb20mXIhkokh9kDQwSBBD5LFn+/d9vRbn+Z9Mj0qsjDcwBLQQoBBIEEME6FvpYp39Mv+EtxNn1tMcMEgQQ+SxZ/v3fb0W5/mfTI9KrIw3QAS0EKAQSBBDajSsQe0+aTJlGK/NOL/gcDBIEEOjcGhWyCfxHkHpCy/xxYFsN1AEtBCgEEgQQX7zQ3chJZEKZfYz8NsCAWwwSBBBfl5CXxFq7QpsQMAZxTsVZDdgBLQQoBBIEEB/rjDimIctLiTIXQgTfWDQMEgQQ+SxZ/v3fb0W5/mfTI9KrIw3cAS0EKAQSBBD8qW8EOFvbSZciGSiSH2QNDBIEEF+XkJfEWrtCmxAwBnFOxVkN4AEtBCgEEgQQdZ6YkVxDK0eAjaDLHe+U4wwSBBDo3BoVsgn8R5B6Qsv8cWBbDeQBLQQoBBIEEDCXbxoiVXRHvnak1iAge44MEgQQ6NwaFbIJ/EeQekLL/HFgWw3oATAaBBIEENqNKxB7T5pMmUYr804v+BwMAkMxEAA0GgQSBBAf64w4piHLS4kyF0IE31g0DAJDMhAAOBoEEgQQdZ6YkVxDK0eAjaDLHe+U4wwCQzMQADwbBBIEEI0zQaKK3WlPtjMR1NBSvdIMA0MxMhAAQBsEEgQQNC2zw3cENEef+D3/sjNvLwwDQzEzEABEGwQSBBDBOhb6WKd/TL/hLcTZ9bTHDANDMTQQAEgbBBIEEF+80N3ISWRCmX2M/DbAgFsMA0MxNRAATBsEEgQQ/KlvBDhb20mXIhkokh9kDQwDQzE2EABQGwQSBBAwl28aIlV0R752pNYgIHuODANDMTcQAFQbBBIEEGmkhkoS4U1Gn27MGFWvJTcMA0MxOBAAWBsEEgQQkt20D10IMU6pZ2IEWgSoIQwDQzE5EABcGgQSBBBfl5CXxFq7QpsQMAZxTsVZDAJSMRAAYBoEEgQQ6NwaFbIJ/EeQekLL/HFgWwwCUjIQAGQaBBIEEPksWf79329Fuf5n0yPSqyMMAlIzEABoBg3sARXwAWwGDfQBFfgBcAYN7AEV/AF0Bg2AAhWEAngGDewBFYgCfAYN9AEVjAKAAQYNgAIVkAKEAQYN9AEVlAKIAQYN7AEVmAKMAQYNgAIVnAKQAQYN9AEVoAKUAQYN9AEVpAKYAQYN9AEVqAKcAQYN9AEVrAKgAQYN7AEVsAKkAQYN7AEVtAKoAQYN9AEVuAKsAQYN9AEVvAKwAQYN9AEVwAK0AQYNgAIVxAK4AQYN9AEVyAK8AQYN9AEVzALAAQYNgAIV0ALEAQYN9AEV1ALIAQYN9AEV2ALMAQYN9AEV3ALQAQYN9AEV4ALUAQYN7AEV5ALYAQYNgAIV6ALcAQYN7AEV7ALgAQYNgAIV8ALkAQYN7AEV9ALoAQYN9AEV+ALsAQIEAPABBQQDBfwC9AECBAD4AQUEAwWAA/wBBQQDBYQDgAICBACEAgUEAwWIA4gCBQQDBYwDjAIFBAMFkAOQAgUEAwWUA5QCBQQDBZgDmAIFBAMFnAOcAgUEAwWgA6ACBQQDBaQDpAIFBAMFqAOoAgUEAwWsA6wCBQQDBbADsAIFBAMFtAO0AgUEAwW4A7gCBQQDBbwDvAIFBAMFwAPAAgUEAwXEA8QCBQQDBcgDyAIFBAMFzAPMAgUEAwXQA9ACBQQDBdQD1AIFBAMF2APYAgUEAwXcA9wCBQQDBeAD4AIFBAMF5APkAgUEAwXoA+gCBQQDBewD7AIFBAMF8APwAgUEAwX0A/QCBQQDBfgD+AIFBAMF/AP8AgIBAIADBgEBgQSBAYQDBgEBiQSBAYgDBgEBjQSBAYwDBgEBkQSBAZADBgEBlQSBAZQDBgEBmQSBAZgDBgEBnQSBAZwDBgEBoQSBAaADBgEBpQSBAaQDBgEBqQSBAagDBgEBrQSBAawDBgEBsQSBAbADBgEBtQSBAbQDBgEBuQSBAbgDBgEBvQSBAbwDBgEBwQSBAcADBgEBxQSBAcQDBgEByQSBAcgDBgEBzQSBAcwDBgEB0QSBAdADBgEB1QSBAdQDBgEB2QSBAdgDBgEB3QSBAdwDBgEB4QSBAeADBgEB5QSBAeQDBgEB6QSBAegDBgEB7QSBAewDBgEB8QSBAfADBgEB9QSBAfQDBgEB+QSBAfgDBgEB/QSBAfwDBgEBgQWBAYYEL0FsdHVhLkRhdGEuSW5mcmFzdHJ1Y3R1cmUuUGFyYWdyYXBoLCBBbHR1YS5EYXRhgQSBAQUMAwWEBYkEgQEFDAMFiAWNBIEBBQwDBYwFkQSBAQUMAwWQBZUEgQEFDAMFlAWZBIEBBQwDBZgFnQSBAQUMAwWcBaEEgQEFDAMFoAWlBIEBBQwDBaQFqQSBAQUMAwWoBa0EgQEFDAMFrAWxBIEBBQwDBbAFtQSBAQUMAwW0BbkEgQEFDAMFuAW9BIEBBQwDBbwFwQSBAQUMAwXABcUEgQEFDAMFxAXJBIEBBQwDBcgFzQSBAQUMAwXMBdEEgQEFDAMF0AXVBIEBBQwDBdQF2QSBAQUMAwXYBd0EgQEFDAMF3AXhBIEBBQwDBeAF5QSBAQUMAwXkBekEgQEFDAMF6AXtBIEBBQwDBewF8QSBAQUMAwXwBfUEgQEFDAMF9AX5BIEBBQwDBfgF/QSBAQUMAwX8BYEFgQEFDAMFgAaEBQYBAYUGwgGIBQYBAY0GxAGMBQYBAZUGxAGQBQYBAZkGwgGUBQYBAZ0GwgGYBQYBAaEGxAGcBQYBAaUGwgGgBQYBAakGxAGkBQYBAa0GxAGoBQYBAbEGxAGsBQYBAbUGwgGwBQYBAbkGwgG0BQYBAb0GwgG4BQYBAcEGwgG8BQYBAcUGwgHABQYBAckGwgHEBQYBAc0GwgHIBQYBAdEGwgHMBQYBAdUGxAHQBQYBAdkGwgHUBQYBAd0GwgHYBQYBAeEGxAHcBQYBAeUGwgHgBQYBAekGwgHkBQYBAe0GwgHoBQYBAfEGwgHsBQYBAfUGwgHwBQYBAfkGxAH0BQYBAf0GwgH4BQYBAYEHxAH8BQYBAYUHwgGABgYBAYkHwgGKBi9BbHR1YS5EYXRhLkluZnJhc3RydWN0dXJlLk51bWJlclJ1biwgQWx0dWEuRGF0YYUGwgETBA4DAAAAAAAAHEAdjQfkAQ2UB5IGLUFsdHVhLkRhdGEuSW5mcmFzdHJ1Y3R1cmUuVGV4dFJ1biwgQWx0dWEuRGF0YY0GxAEKBAVBbm5ldA2YB5UGxAEnBCJIb2xkbmluZ2VyL21lbmluZ2VyIGhvcyBkZSBhbnNhdHRlDZgHmQbCARMEDgMAAAAAAAA5QB2NB+QBDZQHnQbCARMEDgMAAAAAAAAIQB2NB+QBDZQHoQbEAR0EGEV0dGVyc3DDuHJzZWwgZnJhIGt1bmRlcg2YB6UGwgETBA4DAAAAAAAAFEAdjQfkAQ2UB6kGxAEQBAtMw7hubnNvbWhldA2YB60GxAENBAhWZXQgaWtrZQ2YB7EGxAEPBApLb21wZXRhbnNlDZgHtQbCARMEDgMAAAAAAAA2QB2NB+QBDZQHuQbCARMEDgMAAAAAAAAUQB2NB+QBDZQHvQbCARMEDgMAAAAAAAAAQB2NB+QBDZQHwQbCARMEDgMAAAAAAKCfQB2NB+QBDZQHxQbCARMEDgMAAAAAAAA3QB2NB+QBDZQHyQbCARMEDgMAAAAAAAAAQB2NB+QBDZQHzQbCARMEDgMAAAAAAAAQQB2NB+QBDZQH0QbCARMEDgMAAAAAAADwPx2NB+QBDZQH1QbEARkEFEtyYXYgZnJhIG15bmRpZ2hldGVyDZgH2QbCARMEDgMAAAAAAAAIQB2NB+QBDZQH3QbCARMEDgMAAAAAAAAcQB2NB+QBDZQH4QbEARkEFEtvbmt1cnJhbnNlc2l0YXVzam9uDZgH5QbCARMEDgMAAAAAAADwPx2NB+QBDZQH6QbCARMEDgMAAAAAAAAyQB2NB+QBDZQH7QbCARMEDgMAAAAAAAAIQB2NB+QBDZQH8QbCARMEDgMAAAAAAAAQQB2NB+QBDZQH9QbCARMEDgMAAAAAAJyfQB2NB+QBDZQH+QbEAQ4ECVRla25vbG9naQ2cB/0GwgETBA4DAAAAAACAQUAdjQfkAQ2UB4EHxAEdBBhUaWxnYW5nIHDDpSBmaW5hbnNpZXJpbmcNmAeFB8IBEwQOAwAAAAAAAD1AHY0H5AENlAeJB8IBEwQOAwAAAAAAAABAHY0H5AENlAeSBz1BbHR1YS5EYXRhLk51bWJlckZvcm1hdHRpbmcuQ29tcG9zaXRlTnVtYmVyRm9ybWF0LCBBbHR1YS5EYXRhjQfkAQsdoAclpAc1qAc9AJQHEgQAHAAkACwANAA8AEwAVABdAJgHEgQAHAAkACwANAA8AEwAVABdAJwHEgQAHAAkACwANAA8AEwAVABdAKAHCQAADAMFrAcRAKQHCQAADAMFsAcRAKgHCgQBLAwBLhQCa3KsBwYBAbUH7gGwBwoBAr0H8AHFB+4BugdCQWx0dWEuRGF0YS5OdW1iZXJGb3JtYXR0aW5nLk51bWJlckZvcm1hdEdlbmVyYWxTZWdtZW50LCBBbHR1YS5EYXRhtQfuAQDCBz9BbHR1YS5EYXRhLk51bWJlckZvcm1hdHRpbmcuTnVtYmVyRm9ybWF0VGV4dFNlZ21lbnQsIEFsdHVhLkRhdGG9B/ABBQQBLQkBxQfuAQA="/>
  <p:tag name="GRUNT-SYNC" val="d032947e2f024617af1eaca5d48be419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30be1b3a-c3ec-4b6e-bccf-d93d7f7d9285"/>
  <p:tag name="GRUNT-X-RESOURCES" val="AQIFBAQEAgEA"/>
  <p:tag name="GRUNT-VERSION" val="20.23.267.0"/>
  <p:tag name="GRUNT-RENDERHASH" val="02c592b12947e313e34fc1b255ad13ac-svg"/>
  <p:tag name="GRUNT-X-SHAPEBOUNDS" val="ASIBBAAAACAAtohAAAAAAADobkAAAACA/R9PQAAAAAAAgEhAAA=="/>
  <p:tag name="GRUNT-X-PAGEOBJECT" val="AQUCswIKPkFsdHVhLk9hay5Db3JlLkRvY3VtZW50TW9kZWwuQ2hhcnRMZWdlbmRPYmplY3QsIEFsdHVhLk9hay5Db3JlBQI5BBIEEDobvjDsw25LvM/ZPX99koUUEgQQlj8jc5JTY0CXIuldKILRCy0MNRBEAgUUSABVGQdlIG0kDAQEAgUoEAIFLBQCAQAeUEFsdHVhLk9hay5Db3JlLkRvY3VtZW50TW9kZWwuVGVtcGxhdGluZy5DdXN0b21Qb3NpdGlvbkRlZmluaXRpb24sIEFsdHVhLk9hay5Db3JlGQckBCIBBNj/Vx4AtohA8v9f/f/nbkAAAACA/R9PQAAAAP3/f0hAIAsFMAwFbmItTk8VNCQEAQEJASgCAQAsADAKBAEsDAEgFAJrcjQJBAVuYi1OTwgB"/>
  <p:tag name="GRUNT-SYNC" val="0ed678da46b64ba48e3b86e97533d73c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ZTBcFCF2hJ_mchy26Ot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b74ad72f-10cd-46f3-8657-73186206f75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8hwKN0FsdHVhLkRhdGEuRGF0YVNlcnZpY2VzLkVtYmVkZGVkRGF0YVNlcnZpY2UsIEFsdHVhLkRhdGEFAhkEEgQQBwASxSX2sEusOcCm+8jKdQ0MJREFDAYFGAgQEAcWQUFsdHVhLkRhdGEuRGF0YVNlcnZpY2VzLkVtYmVkZGVkRGF0YVNlcnZpY2VFZGl0b3JEYXRhLCBBbHR1YS5EYXRhEQUEBRwNIBgGBSQNKBUsHDwdBBIEENNz8cQb9wFOoDLwDWItJDkLAAAAAAAAHEAdBBIEEB/rjDimIctLiTIXQgTfWDQLAAAAAAAgYkAgWh0EEgQQhB+R4huFNUGwuFZrPUlJDwsAAAAAAAAyQB0EEgQQ+SxZ/v3fb0W5/mfTI9KrIwsAAAAAAAAyQB0EEgQQF/fU+/rkS0KjMEQe6grewwsAAAAAAAAyQCQKMDQ4PEBESExQVCgCWFwskAcsBCgEEgQQ2o0rEHtPmkyZRivzTi/4HAwSBBBfl5CXxFq7QpsQMAZxTsVZDWAsBCgEEgQQH+uMOKYhy0uJMhdCBN9YNAwSBBAFt7nTtw70SZFkGE1GbkWsDWQsBCgEEgQQdZ6YkVxDK0eAjaDLHe+U4wwSBBBfl5CXxFq7QpsQMAZxTsVZDWgsBCgEEgQQM3YuVsqsz0O4n/jX90PyIgwSBBBfl5CXxFq7QpsQMAZxTsVZDWwsBCgEEgQQH+uMOKYhy0uJMhdCBN9YNAwSBBBfl5CXxFq7QpsQMAZxTsVZDXAsBCgEEgQQhNMdpfij0kW1lVAOUNmN7wwSBBAFt7nTtw70SZFkGE1GbkWsDXQsBCgEEgQQM3YuVsqsz0O4n/jX90PyIgwSBBAFt7nTtw70SZFkGE1GbkWsDXgsBCgEEgQQWZ9h5liRP0iEKp689x5lRgwSBBBfl5CXxFq7QpsQMAZxTsVZDXwtBCgEEgQQwqHEVOV/GEKGOrIB1QvRAQwSBBBfl5CXxFq7QpsQMAZxTsVZDYABLQQoBBIEEKdh9z01oLFOkZoVjd7b+A8MEgQQBbe507cO9EmRZBhNRm5FrA2EAS0EKAQSBBDajSsQe0+aTJlGK/NOL/gcDBIEEAW3udO3DvRJkWQYTUZuRawNiAEtBCgEEgQQV2/6nOFUqkSiexK7LSgnuwwSBBBfl5CXxFq7QpsQMAZxTsVZDYwBLQQoBBIEEKdh9z01oLFOkZoVjd7b+A8MEgQQX5eQl8Rau0KbEDAGcU7FWQ2QAS0EKAQSBBBXb/qc4VSqRKJ7ErstKCe7DBIEEAW3udO3DvRJkWQYTUZuRawNlAEtBCgEEgQQdZ6YkVxDK0eAjaDLHe+U4wwSBBAFt7nTtw70SZFkGE1GbkWsDZgBLQQoBBIEEFmfYeZYkT9IhCqevPceZUYMEgQQBbe507cO9EmRZBhNRm5FrA2cAS0EKAQSBBDk8iexzvF6Q5k1eqa4h8NSDBIEEAW3udO3DvRJkWQYTUZuRawNoAEtBCgEEgQQ5PInsc7xekOZNXqmuIfDUgwSBBBfl5CXxFq7QpsQMAZxTsVZDaQBLQQoBBIEEITTHaX4o9JFtZVQDlDZje8MEgQQX5eQl8Rau0KbEDAGcU7FWQ2oAS0EKAQSBBDCocRU5X8YQoY6sgHVC9EBDBIEEAW3udO3DvRJkWQYTUZuRawNrAEwGgQSBBDajSsQe0+aTJlGK/NOL/gcDAJDMRAANBoEEgQQH+uMOKYhy0uJMhdCBN9YNAwCQzIQADgaBBIEEHWemJFcQytHgI2gyx3vlOMMAkMzEAA8GgQSBBAzdi5WyqzPQ7if+Nf3Q/IiDAJDNBAAQBoEEgQQWZ9h5liRP0iEKp689x5lRgwCQzUQAEQaBBIEEOTyJ7HO8XpDmTV6priHw1IMAkM2EABIGwQSBBDCocRU5X8YQoY6sgHVC9EBDANDMTIQAEwbBBIEEKdh9z01oLFOkZoVjd7b+A8MA0MxMxAAUBsEEgQQhNMdpfij0kW1lVAOUNmN7wwDQzE0EABUGwQSBBBXb/qc4VSqRKJ7ErstKCe7DANDMTUQAFgaBBIEEF+XkJfEWrtCmxAwBnFOxVkMAlIxEABcGgQSBBAFt7nTtw70SZFkGE1GbkWsDAJSNhAAYAYNsAEVtAFkBg24ARW8AWgGDbABFcABbAYNsAEVxAFwBg2wARXIAXQGDcwBFdABeAYNuAEV1AF8Bg2wARXYAYABBg3cARXgAYQBBg3MARXkAYgBBg3oARXsAYwBBg3MARXwAZABBg3MARX0AZQBBg3MARX4AZgBBg24ARX8AZwBBg24ARWAAqABBg24ARWEAqQBBg2wARWIAqgBBg3MARWMAqwBBg3cARWQArABAgQAtAEFBAMFlAK4AQIEALwBBQQDBZgCwAEFBAMFnALEAQUEAwWgAsgBBQQDBaQCzAECBADQAQUEAwWoAtQBBQQDBawC2AEFBAMFsALcAQIEAOABBQQDBbQC5AEFBAMFuALoAQIEAOwBBQQDBbwC8AEFBAMFwAL0AQUEAwXEAvgBBQQDBcgC/AEFBAMFzAKAAgUEAwXQAoQCBQQDBdQCiAIFBAMF2AKMAgUEAwXcApACBQQDBeAClAICAQCYAgUBAeUCWpwCBQEB7QJaoAIFAQHxAlqkAgUBAfUCWqgCBQEB+QJarAIFAQH9AlqwAgUBAYEDWrQCBQEBhQNauAIFAQGJA1q8AgUBAY0DWsACBQEBkQNaxAIFAQGVA1rIAgUBAZkDWswCBQEBnQNa0AIFAQGhA1rUAgUBAaUDWtgCBQEBqQNa3AIFAQGtA1rgAgUBAbEDWuoCL0FsdHVhLkRhdGEuSW5mcmFzdHJ1Y3R1cmUuUGFyYWdyYXBoLCBBbHR1YS5EYXRh5QJaBQwDBbQD7QJaBQwDBbgD8QJaBQwDBbwD9QJaBQwDBcAD+QJaBQwDBcQD/QJaBQwDBcgDgQNaBQwDBcwDhQNaBQwDBdADiQNaBQwDBdQDjQNaBQwDBdgDkQNaBQwDBdwDlQNaBQwDBeADmQNaBQwDBeQDnQNaBQwDBegDoQNaBQwDBewDpQNaBQwDBfADqQNaBQwDBfQDrQNaBQwDBfgDsQNaBQwDBfwDtAMGAQGBBIEBuAMGAQGJBIMBvAMGAQGRBIMBwAMGAQGVBIMBxAMGAQGZBIEByAMGAQGdBIEBzAMGAQGhBIMB0AMGAQGlBIMB1AMGAQGpBIEB2AMGAQGtBIEB3AMGAQGxBIMB4AMGAQG1BIMB5AMGAQG5BIEB6AMGAQG9BIEB7AMGAQHBBIEB8AMGAQHFBIEB9AMGAQHJBIMB+AMGAQHNBIMB/AMGAQHRBIEBhgQvQWx0dWEuRGF0YS5JbmZyYXN0cnVjdHVyZS5OdW1iZXJSdW4sIEFsdHVhLkRhdGGBBIEBEwQOAwAAAAAAgEFAHdUElgEN3ASOBC1BbHR1YS5EYXRhLkluZnJhc3RydWN0dXJlLlRleHRSdW4sIEFsdHVhLkRhdGGJBIMBFgQRRmlza2VyaSAvIGhhdmJydWsN4ASRBIMBDwQKVmFyZWhhbmRlbA3kBJUEgwEYBBNIb3RlbGwgLyByZXN0YXVyYW50DeQEmQSBARMEDgMAAAAAAAAoQB3VBJYBDdwEnQSBARMEDgMAAAAAAAA+QB3VBJYBDdwEoQSDARkEFEpvcmRicnVrIG9nIHNrb2dicnVrDeQEpQSDAQ0ECEluZHVzdHJpDeQEqQSBARMEDgMAAAAAAAAuQB3VBJYBDdwErQSBARMEDgMAAAAAAKCfQB3pBJYBDewEsQSDAQwEB0VpZW5kb20N5AS1BIMBIwQeVGplbmVzdGV5dGluZyBvZyBrb21tdW5pa2Fzam9uDeQEuQSBARMEDgMAAAAAAAAmQB3VBJYBDdwEvQSBARMEDgMAAAAAAIBAQB3VBJYBDdwEwQSBARMEDgMAAAAAAAA5QB3VBJYBDdwExQSBARMEDgMAAAAAAAAzQB3VBJYBDdwEyQSDARMEDkJ5Z2cgb2cgYW5sZWdnDeAEzQSDARkEFFRyYW5zcG9ydCBvZyBsYWdyaW5nDeQE0QSBARMEDgMAAAAAAAAxQB3VBJYBDdwE2gQ9QWx0dWEuRGF0YS5OdW1iZXJGb3JtYXR0aW5nLkNvbXBvc2l0ZU51bWJlckZvcm1hdCwgQWx0dWEuRGF0YdUElgELHfAEJfQENfgEPQDcBBIEABwAJAAsADQAPABMAFQAXQDgBBIEABwAJAAsADQAPABMAFQAXQDkBBIEABwAJAAsADQAPABMAFQAXQDpBJYBCx38BCWABTWEBT0A7AQSBAAcACQALAA0ADwATABUAF0A8AQJAAAMAwWIBREA9AQJAAAMAwWMBREA+AQKBAEsDAEuFAJrcvwECQAADAMFkAURAIAFCQAADAMFlAURAIQFCgQBLAwBLhQCa3KIBQYBAZkFpwGMBQoBAqEFqQGpBacBkAUGAQGtBawBlAUKAQK1BakBrQWsAZ4FQkFsdHVhLkRhdGEuTnVtYmVyRm9ybWF0dGluZy5OdW1iZXJGb3JtYXRHZW5lcmFsU2VnbWVudCwgQWx0dWEuRGF0YZkFpwEApgU/QWx0dWEuRGF0YS5OdW1iZXJGb3JtYXR0aW5nLk51bWJlckZvcm1hdFRleHRTZWdtZW50LCBBbHR1YS5EYXRhoQWpAQUEAS0JAakFpwEAsgVAQWx0dWEuRGF0YS5OdW1iZXJGb3JtYXR0aW5nLk51bWJlckZvcm1hdFZhbHVlU2VnbWVudCwgQWx0dWEuRGF0Ya0FrAEFBAMFuAW1BakBBQQBLQkBuAUGAQG9BbABwgU5QWx0dWEuRGF0YS5OdW1iZXJGb3JtYXR0aW5nLk51bWJlclBsYWNlaG9sZGVyLCBBbHR1YS5EYXRhvQWwAQUCMAAAAA=="/>
  <p:tag name="GRUNT-RENDERHASH" val="55a14e13b09d161ac138bde922b08469-svg"/>
  <p:tag name="GRUNT-X-SHAPEBOUNDS" val="ASIBBAAAACDb1k1AAAAA4FcObEAAAACAEmCKQAAAAEAHjHBAAA=="/>
  <p:tag name="GRUNT-X-PAGEOBJECT" val="AQUC7yoKOEFsdHVhLk9hay5Db3JlLkRvY3VtZW50TW9kZWwuQ2hhcnRPYmplY3QsIEFsdHVhLk9hay5Db3JlBQI1BBIEEIWxO2i1KnpOoO61zw20DI8MEgQQBwASxSX2sEusOcCm+8jKdRUNBCUUNRg9HFUgZSQSUEFsdHVhLk9hay5Db3JlLkRvY3VtZW50TW9kZWwuVGVtcGxhdGluZy5DdXN0b21Qb3NpdGlvbkRlZmluaXRpb24sIEFsdHVhLk9hay5Db3JlDQQkBCIBBID4/ynb9k1AFACgpSQbbkB4AGB5ElyKQCgAgGrbJGlAFBMVKB0sNTA4AEU1DkwCBTxVQF1EGAQEAgVIHAIFTCALBVAMBW5iLU5PFVQkDgEBCQERARkBIQEpATEBKBYEEgQQAAAAAAAAAAAAAAAAAAAAAAgBLBYEEgQQAAAAAAAAAAAAAAAAAAAAAAgBMAA6RUFsdHVhLk9hay5Db3JlLkNoYXJ0LlN0YWNrZWRCYXJXaXRoTGluZVBsb3REZWZpbml0aW9uLCBBbHR1YS5PYWsuQ29yZTUOMgQSBBD4dFmjhgQnRL+FTDbt+4gVHAIFWCVcNWA8AgVkSQFtaKUBbRypAQC1AXUevQF8PAQBAYABQAUFhAENAEQCAQBIAgEATABQCgQBLAwBIBQCa3JUCQQFbmItTk8IAVgEAQGIAVwNAAAIARQDBYwBHAAlAGAmBCIBBAAAAAAAABBAAAAAAAAAEEAAAAAAAAAQQAAAAAAAABBACARkAgEAaAsDAAAAAAAATEAIIHJFQWx0dWEuT2FrLkNvcmUuUGxvdHRpbmcuQXV0b21hdGljQ2F0ZWdvcnlBeGlzU2V0dGluZ3MsIEFsdHVhLk9hay5Db3JlbRwTAQENkAEQABkBMAA9lAFFmAFIAXo9QWx0dWEuT2FrLkNvcmUuVGhlbWluZy5QYWdlQ29sb3JTY2hlbWVQb2ludGVyLCBBbHR1YS5PYWsuQ29yZXUeAHxKNZwBPaABRaQBVagBXawBdbABjQG0AZ0BuAGlAbwBrQHAAc0BxAHVAcgB3QHMAeUB0AHtAdQB9QHYAf0B3AGFAuABjQLkAZUC6AGAAUgEEgQQBbe507cO9EmRZBhNRm5FrCQSBBB9aSDeSXU3TZNMOE19FbqrLBIEEOmcinu/9GtGu9NWpFUK3Bc97QE8RfQBSQFd+AGEAQCIAUIBABgDJfwBKQAxAEACSAJVgAJdhAJkEgQQ6ZyKe7/0a0a701akVQrcF22IAnWMAo0BkAKRAQGdAZQCpQGYArUBnAKMAQIBAJABAgEAlAEGBaECSQgEmAEGBakCSQgEnAEFBAMFrAKgAQUEAwWwAqQBBQQDBbQCqAEFBAMFuAKsAQUEAwWsArABBQQDBawCtAEFBAMFvAK4AQUEAwXAArwBBQQDBcQCwAEFBAMFyALEAQUEAwXMAsgBBQQDBdACzAEFBAMF1ALQAQUEAwXYAtQBBQQDBdwC2AEFBAMF4ALcAQUEAwXkAuABBQQDBegC5AEFBAMF7ALoAQUEAwXwAvIBPkFsdHVhLk9hay5Db3JlLkNoYXJ0LkRlZmF1bHRQbG90U2VyaWVzU2V0dGluZ3MsIEFsdHVhLk9hay5Db3Jl7QE8APQBBAUACAH4AQUF9AIIAfwBCwMAAAAAAAAAAAgCgAILAwAAAAAAAAAACAGEAgsDAAAAAAAAAAAIAYgCFQX4Ag38AhWAAx2EAyWIAy2MAzWQA4wCBw2UAxWZA0mQAgsDAAAAAAAAAAAIBJQCBgWdA0kIBJgCBgWdA0kIBJwCBQQDBaADpgIzQWx0dWEuT2FrLkNvcmUuVGhlbWluZy5Db2xvclBvaW50ZXIsIEFsdHVhLk9hay5Db3JloQJJUFBQ/6kCSVBQUP+sAgIBALACDgEGpAOoA6wDsAO0A7gDtAIEAQG8A7gCAgEAvAICAQDAAgIBAMQCDAEFwAPEA8gDzAPQA8gCAgEAzAIOAQbUA9gD3APgA+QD6APQAhQBCewD8AP0A/gD/AOABIQEiASMBNQCAgEA2AIEAQGQBNwCCgEElASYBJwEoATgAgIBAOQCAgEA6AICAQDsAgIBAPACAgEA9AIFBAMFpAT4AgcEAwQBAAgE/AIFBAEuCASAAwQAAQgEhAMEAAAIBIgDBAQACASMAwQEAAgEkAMEAAAIBJQDBQQDBagEmQNJPj7l/50DSVBQUP+gAwIBAKQDDgWtBIwBCwAAAAAAAAAAqAMOBbUEjgELAAAAAAAAAACsAw4FvQSQAQsAAAAAAADgP7ADDgXFBJIBCwAAAAAAAOA/tAMOBc0ElAELAAAAAAAA4D+4Aw4F1QSWAQsAAAAAAAD4P7wDCAXdBJQBDeAEwAMKBeUEmgEN7QScAcQDCgX1BIwBDfkEnwHIAwoFgQWQAQ2FBZ8BzAMKBYkFkgENjQWfAdADCQWRBaUBDZkFSdQDBwWdBagBCQDYAwcFpQWqAQkB3AMHBa0FrAEJAeADBwW1Ba4BCQHkAwcFvQWwAQkB6AMHBcUFsgEJAOwDCgXNBbQBDdUFtgHwAwoF3QW4AQ3lBboB9AMKBe0FvAEN9QW+AfgDCgX9BbwBDYEGwQH8AwoFiQasAQ2BBsEBgAQKBY0GqAENkQbFAYQECgWZBq4BDZEGxQGIBAoFnQawAQ2hBskBjAQKBakGsgENrQbMAZAECgW1Bs4BDb0G0AGUBAoFxQaoAQ3JBtMBmAQKBdEGuAEN1QbTAZwECgXZBq4BDd0G0wGgBAoF4Qa0AQ3lBtMBpAQGAQHpBtsBqAQEAQIBBLIEU0FsdHVhLk9hay5Db3JlLk1vZGlmaWNhdGlvbi5TdHlsaW5nLkFsbFZhbHVlQXhpc0N1c3RvbWl6YXRpb25UYXJnZXQsIEFsdHVhLk9hay5Db3JlrQSMAQC6BFlBbHR1YS5PYWsuQ29yZS5Nb2RpZmljYXRpb24uU3R5bGluZy5WYWx1ZUF4aXNHcmlkbGluZXNDdXN0b21pemF0aW9uVGFyZ2V0LCBBbHR1YS5PYWsuQ29yZbUEjgEAwgRTQWx0dWEuT2FrLkNvcmUuTW9kaWZpY2F0aW9uLlN0eWxpbmcuQ2F0ZWdvcnlBeGlzQ3VzdG9taXphdGlvblRhcmdldCwgQWx0dWEuT2FrLkNvcmW9BJABAMoEUEFsdHVhLk9hay5Db3JlLk1vZGlmaWNhdGlvbi5TdHlsaW5nLk9yaWdvTGluZUN1c3RvbWl6YXRpb25UYXJnZXQsIEFsdHVhLk9hay5Db3JlxQSSAQDSBF1BbHR1YS5PYWsuQ29yZS5Nb2RpZmljYXRpb24uU3R5bGluZy5BbGxDb25uZWN0b3JzQXV4aWxpYXJ5Q3VzdG9taXphdGlvblRhcmdldCwgQWx0dWEuT2FrLkNvcmXNBJQBANoEWUFsdHVhLk9hay5Db3JlLk1vZGlmaWNhdGlvbi5TdHlsaW5nLlNlcmllc1dpdGhQbG90S2luZEN1c3RvbWl6YXRpb25UYXJnZXQsIEFsdHVhLk9hay5Db3Jl1QSWAQMF8AbdBJQBAOAEBQwDBfQG6gRWQWx0dWEuT2FrLkNvcmUuTW9kaWZpY2F0aW9uLlN0eWxpbmcuQWxsU2VyaWVzTWFya2VyQ3VzdG9taXphdGlvblRhcmdldCwgQWx0dWEuT2FrLkNvcmXlBJoBAPIEOkFsdHVhLk9hay5Db3JlLlRoZW1pbmcuQmluZGluZ0NvbG9yUG9pbnRlciwgQWx0dWEuT2FrLkNvcmXtBJwBBQX5Bt8B9QSMAQD+BDdBbHR1YS5PYWsuQ29yZS5UaGVtaW5nLlBhZ2VDb2xvclBvaW50ZXIsIEFsdHVhLk9hay5Db3Jl+QSfAQQAAAgAgQWQAQCFBZ8BBAAACACJBZIBAI0FnwEEAAAIAJYFU0FsdHVhLk9hay5Db3JlLk1vZGlmaWNhdGlvbi5TdHlsaW5nLkFsbEdyaWRsaW5lc0N1c3RvbWl6YXRpb25UYXJnZXQsIEFsdHVhLk9hay5Db3JlkQWlAQCZBUmAgID/ogVYQWx0dWEuT2FrLkNvcmUuTW9kaWZpY2F0aW9uLlN0eWxpbmcuQWxsVmFsdWVBeGlzTGFiZWxDdXN0b21pemF0aW9uVGFyZ2V0LCBBbHR1YS5PYWsuQ29yZZ0FqAEAqgVmQWx0dWEuT2FrLkNvcmUuTW9kaWZpY2F0aW9uLlN0eWxpbmcuU3RhY2tlZEJhckF1dG9tYXRpY1NlZ21lbnRMYWJlbEN1c3RvbWl6YXRpb25UYXJnZXQsIEFsdHVhLk9hay5Db3JlpQWqAQCyBVVBbHR1YS5PYWsuQ29yZS5Nb2RpZmljYXRpb24uU3R5bGluZy5BbGxUb3RhbExhYmVsc0N1c3RvbWl6YXRpb25UYXJnZXQsIEFsdHVhLk9hay5Db3JlrQWsAQC6BVdBbHR1YS5PYWsuQ29yZS5Nb2RpZmljYXRpb24uU3R5bGluZy5BbGxDYXRlZ29yeUxhYmVsQ3VzdG9taXphdGlvblRhcmdldCwgQWx0dWEuT2FrLkNvcmW1Ba4BAMIFWEFsdHVhLk9hay5Db3JlLk1vZGlmaWNhdGlvbi5TdHlsaW5nLkFsbEF1eGlsaWFyeUxhYmVsQ3VzdG9taXphdGlvblRhcmdldCwgQWx0dWEuT2FrLkNvcmW9BbABAMoFWEFsdHVhLk9hay5Db3JlLk1vZGlmaWNhdGlvbi5TdHlsaW5nLlNlcmllc0xhYmVsT2ZUeXBlQ3VzdG9taXphdGlvblRhcmdldCwgQWx0dWEuT2FrLkNvcmXFBbIBAgAC0gVYQWx0dWEuT2FrLkNvcmUuTW9kaWZpY2F0aW9uLlN0eWxpbmcuQ2F0ZWdvcnlBeGlzVGl0bGVDdXN0b21pemF0aW9uVGFyZ2V0LCBBbHR1YS5PYWsuQ29yZc0FtAEA2gVGQWx0dWEuT2FrLkNvcmUuUGxvdHRpbmcuQXhpc1RpdGxlTGFiZWxQbGFjZW1lbnRPdXRzaWRlLCBBbHR1YS5PYWsuQ29yZdUFtgECAAHiBV1BbHR1YS5PYWsuQ29yZS5Nb2RpZmljYXRpb24uU3R5bGluZy5BbGxWYWx1ZUF4aXNUaXRsZUxhYmVsQ3VzdG9taXphdGlvblRhcmdldCwgQWx0dWEuT2FrLkNvcmXdBbgBAOoFQkFsdHVhLk9hay5Db3JlLlBsb3R0aW5nLkF4aXNUaXRsZUxhYmVsUGxhY2VtZW50RmFyLCBBbHR1YS5PYWsuQ29yZeUFugECAADyBV9BbHR1YS5PYWsuQ29yZS5Nb2RpZmljYXRpb24uU3R5bGluZy5TZXJpZXNMYWJlbHNXaXRoUGxvdEtpbmRDdXN0b21pemF0aW9uVGFyZ2V0LCBBbHR1YS5PYWsuQ29yZe0FvAEFBYAHCAD6BTxBbHR1YS5PYWsuQ29yZS5QbG90dGluZy5MYWJlbFBsYWNlbWVudEluc2lkZSwgQWx0dWEuT2FrLkNvcmX1Bb4BBAABCAH9BbwBBQWEBwgAhgY9QWx0dWEuT2FrLkNvcmUuUGxvdHRpbmcuTGFiZWxQbGFjZW1lbnRPdXRzaWRlLCBBbHR1YS5PYWsuQ29yZYEGwQEAiQasAQCNBqgBAJYGQUFsdHVhLk9hay5Db3JlLlBsb3R0aW5nLkF4aXNMYWJlbFBsYWNlbWVudE91dHNpZGUsIEFsdHVhLk9hay5Db3JlkQbFAQIBAJkGrgEAnQawAQCmBkZBbHR1YS5PYWsuQ29yZS5QbG90dGluZy5BdXhpbGlhcnlMYWJlbFBsYWNlbWVudERlZmF1bHQsIEFsdHVhLk9hay5Db3JloQbJAQCpBrIBAgACsgZDQWx0dWEuT2FrLkNvcmUuUGxvdHRpbmcuTGFiZWxQbGFjZW1lbnRTZXJpZXNPdXRzaWRlLCBBbHR1YS5PYWsuQ29yZa0GzAECAAC6BlBBbHR1YS5PYWsuQ29yZS5Nb2RpZmljYXRpb24uU3R5bGluZy5BbGxMYWJlbHNDdXN0b21pemF0aW9uVGFyZ2V0LCBBbHR1YS5PYWsuQ29yZbUGzgEAwgZCQWx0dWEuT2FrLkNvcmUuU3ludGF4U3RydWN0dXJlLkFjdHVhbEZvbnRTaXplVmFsdWUsIEFsdHVhLk9hay5Db3JlvQbQAQkDAAAAAAAAKEDFBqgBAM4GQ0FsdHVhLk9hay5Db3JlLlN5bnRheFN0cnVjdHVyZS5BY3R1YWxGb250Q29sb3JWYWx1ZSwgQWx0dWEuT2FrLkNvcmXJBtMBBQWJB58B0Qa4AQDVBtMBBQWNB58B2QauAQDdBtMBBQWRB58B4Qa0AQDlBtMBBQWVB58B7gYvQWx0dWEuRGF0YS5JbmZyYXN0cnVjdHVyZS5QYXJhZ3JhcGgsIEFsdHVhLkRhdGHpBtsBBQwDBZgH8AYBBfQGCgECAACAQAAAQED+BkhBbHR1YS5PYWsuQ29yZS5TeW50YXhTdHJ1Y3R1cmUuUGxvdFNlcmllc0JpbmRpbmdTdHJhdGVneSwgQWx0dWEuT2FrLkNvcmX5Bt8BAIAHAgABhAcBBYkHnwEEAAAIAI0HnwEEAAAIAJEHnwEEAAAIAJUHnwEEAAAIAJgHBgEBnQfoAaIHL0FsdHVhLkRhdGEuSW5mcmFzdHJ1Y3R1cmUuTnVtYmVyUnVuLCBBbHR1YS5EYXRhnQfoARMEDgMAAAAAAKCfQB2lB+oBDawHqgc9QWx0dWEuRGF0YS5OdW1iZXJGb3JtYXR0aW5nLkNvbXBvc2l0ZU51bWJlckZvcm1hdCwgQWx0dWEuRGF0YaUH6gELHbAHJbQHNbgHPQCsBxIEABwAJAAsADQAPABMAFQAXQCwBwkAAAwDBbwHEQC0BwkAAAwDBcAHEQC4BwoEASwMAS4UAmtyvAcGAQHFB/IBwAcKAQLNB/QBxQfyAcoHQEFsdHVhLkRhdGEuTnVtYmVyRm9ybWF0dGluZy5OdW1iZXJGb3JtYXRWYWx1ZVNlZ21lbnQsIEFsdHVhLkRhdGHFB/IBBQQDBdQH0gc/QWx0dWEuRGF0YS5OdW1iZXJGb3JtYXR0aW5nLk51bWJlckZvcm1hdFRleHRTZWdtZW50LCBBbHR1YS5EYXRhzQf0AQUEAS0JAdQHBgEB2Qf3Ad4HOUFsdHVhLkRhdGEuTnVtYmVyRm9ybWF0dGluZy5OdW1iZXJQbGFjZWhvbGRlciwgQWx0dWEuRGF0YdkH9wEFAjAAAAA="/>
  <p:tag name="GRUNT-SYNC" val="56dccafe42354ccda732b86c4d445cc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76b96a03-8804-4298-b8fe-78e3a22022f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9f4faf7e-d35f-4491-9cd0-abc960c7de9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3RwKN0FsdHVhLkRhdGEuRGF0YVNlcnZpY2VzLkVtYmVkZGVkRGF0YVNlcnZpY2UsIEFsdHVhLkRhdGEFAhkEEgQQQEKWRyOkmkmj5stM+J+Udg0MJREFDAYFGAgQEAcWQUFsdHVhLkRhdGEuRGF0YVNlcnZpY2VzLkVtYmVkZGVkRGF0YVNlcnZpY2VFZGl0b3JEYXRhLCBBbHR1YS5EYXRhEQUEBRwNIBgGBSQNKBUsHDwdBBIEENNz8cQb9wFOoDLwDWItJDkLAAAAAAAAHEAdBBIEEB/rjDimIctLiTIXQgTfWDQLAAAAAAAgYkAgWh0EEgQQhB+R4huFNUGwuFZrPUlJDwsAAAAAAAAyQB0EEgQQ+SxZ/v3fb0W5/mfTI9KrIwsAAAAAAAAyQB0EEgQQF/fU+/rkS0KjMEQe6grewwsAAAAAAAAyQCQKMDQ4PEBESExQVCgCWFwskAcsBCgEEgQQ2o0rEHtPmkyZRivzTi/4HAwSBBBfl5CXxFq7QpsQMAZxTsVZDWAsBCgEEgQQH+uMOKYhy0uJMhdCBN9YNAwSBBAFt7nTtw70SZFkGE1GbkWsDWQsBCgEEgQQdZ6YkVxDK0eAjaDLHe+U4wwSBBBfl5CXxFq7QpsQMAZxTsVZDWgsBCgEEgQQM3YuVsqsz0O4n/jX90PyIgwSBBBfl5CXxFq7QpsQMAZxTsVZDWwsBCgEEgQQH+uMOKYhy0uJMhdCBN9YNAwSBBBfl5CXxFq7QpsQMAZxTsVZDXAsBCgEEgQQhNMdpfij0kW1lVAOUNmN7wwSBBAFt7nTtw70SZFkGE1GbkWsDXQsBCgEEgQQM3YuVsqsz0O4n/jX90PyIgwSBBAFt7nTtw70SZFkGE1GbkWsDXgsBCgEEgQQWZ9h5liRP0iEKp689x5lRgwSBBBfl5CXxFq7QpsQMAZxTsVZDXwtBCgEEgQQwqHEVOV/GEKGOrIB1QvRAQwSBBBfl5CXxFq7QpsQMAZxTsVZDYABLQQoBBIEEKdh9z01oLFOkZoVjd7b+A8MEgQQBbe507cO9EmRZBhNRm5FrA2EAS0EKAQSBBDajSsQe0+aTJlGK/NOL/gcDBIEEAW3udO3DvRJkWQYTUZuRawNiAEtBCgEEgQQV2/6nOFUqkSiexK7LSgnuwwSBBBfl5CXxFq7QpsQMAZxTsVZDYwBLQQoBBIEEKdh9z01oLFOkZoVjd7b+A8MEgQQX5eQl8Rau0KbEDAGcU7FWQ2QAS0EKAQSBBBXb/qc4VSqRKJ7ErstKCe7DBIEEAW3udO3DvRJkWQYTUZuRawNlAEtBCgEEgQQdZ6YkVxDK0eAjaDLHe+U4wwSBBAFt7nTtw70SZFkGE1GbkWsDZgBLQQoBBIEEFmfYeZYkT9IhCqevPceZUYMEgQQBbe507cO9EmRZBhNRm5FrA2cAS0EKAQSBBDk8iexzvF6Q5k1eqa4h8NSDBIEEAW3udO3DvRJkWQYTUZuRawNoAEtBCgEEgQQ5PInsc7xekOZNXqmuIfDUgwSBBBfl5CXxFq7QpsQMAZxTsVZDaQBLQQoBBIEEITTHaX4o9JFtZVQDlDZje8MEgQQX5eQl8Rau0KbEDAGcU7FWQ2oAS0EKAQSBBDCocRU5X8YQoY6sgHVC9EBDBIEEAW3udO3DvRJkWQYTUZuRawNrAEwGgQSBBDajSsQe0+aTJlGK/NOL/gcDAJDMRAANBoEEgQQH+uMOKYhy0uJMhdCBN9YNAwCQzIQADgaBBIEEHWemJFcQytHgI2gyx3vlOMMAkMzEAA8GgQSBBAzdi5WyqzPQ7if+Nf3Q/IiDAJDNBAAQBoEEgQQWZ9h5liRP0iEKp689x5lRgwCQzUQAEQaBBIEEOTyJ7HO8XpDmTV6priHw1IMAkM2EABIGwQSBBDCocRU5X8YQoY6sgHVC9EBDANDMTIQAEwbBBIEEKdh9z01oLFOkZoVjd7b+A8MA0MxMxAAUBsEEgQQhNMdpfij0kW1lVAOUNmN7wwDQzE0EABUGwQSBBBXb/qc4VSqRKJ7ErstKCe7DANDMTUQAFgaBBIEEF+XkJfEWrtCmxAwBnFOxVkMAlIxEABcGgQSBBAFt7nTtw70SZFkGE1GbkWsDAJSNhAAYAYNsAEVtAFkBg24ARW8AWgGDbABFcABbAYNsAEVxAFwBg2wARXIAXQGDcwBFdABeAYNuAEV1AF8Bg2wARXYAYABBg3cARXgAYQBBg3MARXkAYgBBg3oARXsAYwBBg3MARXwAZABBg3MARX0AZQBBg3MARX4AZgBBg24ARX8AZwBBg24ARWAAqABBg24ARWEAqQBBg2wARWIAqgBBg3MARWMAqwBBg3cARWQArABAgQAtAEFBAMFlAK4AQIEALwBBQQDBZgCwAEFBAMFnALEAQUEAwWgAsgBBQQDBaQCzAECBADQAQUEAwWoAtQBBQQDBawC2AEFBAMFsALcAQIEAOABBQQDBbQC5AEFBAMFuALoAQIEAOwBBQQDBbwC8AEFBAMFwAL0AQUEAwXEAvgBBQQDBcgC/AEFBAMFzAKAAgUEAwXQAoQCBQQDBdQCiAIFBAMF2AKMAgUEAwXcApACBQQDBeAClAICAQCYAgUBAeUCWpwCBQEB7QJaoAIFAQHxAlqkAgUBAfUCWqgCBQEB+QJarAIFAQH9AlqwAgUBAYEDWrQCBQEBhQNauAIFAQGJA1q8AgUBAY0DWsACBQEBkQNaxAIFAQGVA1rIAgUBAZkDWswCBQEBnQNa0AIFAQGhA1rUAgUBAaUDWtgCBQEBqQNa3AIFAQGtA1rgAgUBAbEDWuoCL0FsdHVhLkRhdGEuSW5mcmFzdHJ1Y3R1cmUuUGFyYWdyYXBoLCBBbHR1YS5EYXRh5QJaBQwDBbQD7QJaBQwDBbgD8QJaBQwDBbwD9QJaBQwDBcAD+QJaBQwDBcQD/QJaBQwDBcgDgQNaBQwDBcwDhQNaBQwDBdADiQNaBQwDBdQDjQNaBQwDBdgDkQNaBQwDBdwDlQNaBQwDBeADmQNaBQwDBeQDnQNaBQwDBegDoQNaBQwDBewDpQNaBQwDBfADqQNaBQwDBfQDrQNaBQwDBfgDsQNaBQwDBfwDtAMGAQGBBIEBuAMGAQGJBIMBvAMGAQGRBIMBwAMGAQGVBIMBxAMGAQGZBIEByAMGAQGdBIEBzAMGAQGhBIMB0AMGAQGlBIMB1AMGAQGpBIEB2AMGAQGtBIEB3AMGAQGxBIMB4AMGAQG1BIMB5AMGAQG5BIEB6AMGAQG9BIEB7AMGAQHBBIEB8AMGAQHFBIEB9AMGAQHJBIMB+AMGAQHNBIMB/AMGAQHRBIEBhgQvQWx0dWEuRGF0YS5JbmZyYXN0cnVjdHVyZS5OdW1iZXJSdW4sIEFsdHVhLkRhdGGBBIEBEwQOAwAAAAAAgEhAHdUElgEN3ASOBC1BbHR1YS5EYXRhLkluZnJhc3RydWN0dXJlLlRleHRSdW4sIEFsdHVhLkRhdGGJBIMBGQQUSm9yZGJydWsgb2cgc2tvZ2JydWsN4ASRBIMBGAQTSG90ZWxsIC8gcmVzdGF1cmFudA3gBJUEgwEWBBFGaXNrZXJpIC8gaGF2YnJ1aw3gBJkEgQETBA4DAAAAAAAALkAd1QSWAQ3cBJ0EgQETBA4DAAAAAAAAQUAd1QSWAQ3cBKEEgwEZBBRUcmFuc3BvcnQgb2cgbGFncmluZw3gBKUEgwENBAhJbmR1c3RyaQ3gBKkEgQETBA4DAAAAAAAAMkAd1QSWAQ3cBK0EgQETBA4DAAAAAACgn0Ad5QSWAQ3oBLEEgwEMBAdFaWVuZG9tDeAEtQSDARMEDkJ5Z2cgb2cgYW5sZWdnDeAEuQSBARMEDgMAAAAAAAAoQB3VBJYBDdwEvQSBARMEDgMAAAAAAIBHQB3VBJYBDdwEwQSBARMEDgMAAAAAAAA3QB3VBJYBDdwExQSBARMEDgMAAAAAAAA2QB3VBJYBDdwEyQSDAQ8EClZhcmVoYW5kZWwN4ATNBIMBIwQeVGplbmVzdGV5dGluZyBvZyBrb21tdW5pa2Fzam9uDeAE0QSBARMEDgMAAAAAAAAyQB3VBJYBDdwE2gQ9QWx0dWEuRGF0YS5OdW1iZXJGb3JtYXR0aW5nLkNvbXBvc2l0ZU51bWJlckZvcm1hdCwgQWx0dWEuRGF0YdUElgELHewEJfAENfQEPQDcBBIEABwAJAAsADQAPABMAFQAXQDgBBIEABwAJAAsADQAPABMAFQAXQDlBJYBCx34BCX8BDWABT0A6AQSBAAcACQALAA0ADwATABUAF0A7AQJAAAMAwWEBREA8AQJAAAMAwWIBREA9AQKBAEsDAEuFAJrcvgECQAADAMFjAURAPwECQAADAMFkAURAIAFCgQBLAwBLhQCa3KEBQYBAZUFpgGIBQoBAp0FqAGlBaYBjAUGAQGpBasBkAUKAQKxBagBqQWrAZoFQkFsdHVhLkRhdGEuTnVtYmVyRm9ybWF0dGluZy5OdW1iZXJGb3JtYXRHZW5lcmFsU2VnbWVudCwgQWx0dWEuRGF0YZUFpgEAogU/QWx0dWEuRGF0YS5OdW1iZXJGb3JtYXR0aW5nLk51bWJlckZvcm1hdFRleHRTZWdtZW50LCBBbHR1YS5EYXRhnQWoAQUEAS0JAaUFpgEArgVAQWx0dWEuRGF0YS5OdW1iZXJGb3JtYXR0aW5nLk51bWJlckZvcm1hdFZhbHVlU2VnbWVudCwgQWx0dWEuRGF0YakFqwEFBAMFtAWxBagBBQQBLQkBtAUGAQG5Ba8BvgU5QWx0dWEuRGF0YS5OdW1iZXJGb3JtYXR0aW5nLk51bWJlclBsYWNlaG9sZGVyLCBBbHR1YS5EYXRhuQWvAQUCMAAAAA=="/>
  <p:tag name="GRUNT-SYNC" val="c20c363e510d41fbbc1075a2b3b97533"/>
  <p:tag name="GRUNT-X-PAGEOBJECT" val="AQUC7yoKOEFsdHVhLk9hay5Db3JlLkRvY3VtZW50TW9kZWwuQ2hhcnRPYmplY3QsIEFsdHVhLk9hay5Db3JlBQI1BBIEEET02oMLMVlNqKQaAqktM/wMEgQQQEKWRyOkmkmj5stM+J+UdhUNBCUUNRg9HFUgZSQSUEFsdHVhLk9hay5Db3JlLkRvY3VtZW50TW9kZWwuVGVtcGxhdGluZy5DdXN0b21Qb3NpdGlvbkRlZmluaXRpb24sIEFsdHVhLk9hay5Db3JlDQQkBCIBBDBm2+DY9k1AgNtWU0lkaUCdSfKdElyKQCgAgGrbJGxAFBMVKB0sNTA4AEU1DkwCBTxVQF1EGAQEAgVIHAIFTCALBVAMBW5iLU5PFVQkDgEBCQERARkBIQEpATEBKBYEEgQQAAAAAAAAAAAAAAAAAAAAAAgBLBYEEgQQAAAAAAAAAAAAAAAAAAAAAAgBMAA6RUFsdHVhLk9hay5Db3JlLkNoYXJ0LlN0YWNrZWRCYXJXaXRoTGluZVBsb3REZWZpbml0aW9uLCBBbHR1YS5PYWsuQ29yZTUOMgQSBBAWBReqS9pnSYDR5zorufmnHAIFWCVcNWA8AgVkSQFtaKUBbRypAQC1AXUevQF8PAQBAYABQAUFhAENAEQCAQBIAgEATABQCgQBLAwBIBQCa3JUCQQFbmItTk8IAVgEAQGIAVwNAAAIARQDBYwBHAAlAGAmBCIBBAAAAAAAABBAAAAAAAAAEEAAAAAAAAAQQAAAAAAAABBACARkAgEAaAsDAAAAAAAATEAIIHJFQWx0dWEuT2FrLkNvcmUuUGxvdHRpbmcuQXV0b21hdGljQ2F0ZWdvcnlBeGlzU2V0dGluZ3MsIEFsdHVhLk9hay5Db3JlbRwTAQENkAEQABkBMAA9lAFFmAFIAXo9QWx0dWEuT2FrLkNvcmUuVGhlbWluZy5QYWdlQ29sb3JTY2hlbWVQb2ludGVyLCBBbHR1YS5PYWsuQ29yZXUeAHxKNZwBPaABRaQBVagBXawBdbABjQG0AZ0BuAGlAbwBrQHAAc0BxAHVAcgB3QHMAeUB0AHtAdQB9QHYAf0B3AGFAuABjQLkAZUC6AGAAUgEEgQQBbe507cO9EmRZBhNRm5FrCQSBBB9aSDeSXU3TZNMOE19FbqrLBIEEH8z9lTQixFCvIj99GbF5us97QE8RfQBSQFd+AGEAQCIAUIBABgDJfwBKQAxAEACSAJVgAJdhAJkEgQQfzP2VNCLEUK8iP30ZsXm622IAnWMAo0BkAKRAQGdAZQCpQGYArUBnAKMAQIBAJABAgEAlAEGBaECSQgEmAEGBakCSQgEnAEFBAMFrAKgAQUEAwWwAqQBBQQDBbQCqAEFBAMFuAKsAQUEAwWsArABBQQDBawCtAEFBAMFvAK4AQUEAwXAArwBBQQDBcQCwAEFBAMFyALEAQUEAwXMAsgBBQQDBdACzAEFBAMF1ALQAQUEAwXYAtQBBQQDBdwC2AEFBAMF4ALcAQUEAwXkAuABBQQDBegC5AEFBAMF7ALoAQUEAwXwAvIBPkFsdHVhLk9hay5Db3JlLkNoYXJ0LkRlZmF1bHRQbG90U2VyaWVzU2V0dGluZ3MsIEFsdHVhLk9hay5Db3Jl7QE8APQBBAUACAH4AQUF9AIIAfwBCwMAAAAAAAAAAAgCgAILAwAAAAAAAAAACAGEAgsDAAAAAAAAAAAIAYgCFQX4Ag38AhWAAx2EAyWIAy2MAzWQA4wCBw2UAxWZA0mQAgsDAAAAAAAAAAAIBJQCBgWdA0kIBJgCBgWdA0kIBJwCBQQDBaADpgIzQWx0dWEuT2FrLkNvcmUuVGhlbWluZy5Db2xvclBvaW50ZXIsIEFsdHVhLk9hay5Db3JloQJJUFBQ/6kCSVBQUP+sAgIBALACDgEGpAOoA6wDsAO0A7gDtAIEAQG8A7gCAgEAvAICAQDAAgIBAMQCDAEFwAPEA8gDzAPQA8gCAgEAzAIOAQbUA9gD3APgA+QD6APQAhQBCewD8AP0A/gD/AOABIQEiASMBNQCAgEA2AIEAQGQBNwCCgEElASYBJwEoATgAgIBAOQCAgEA6AICAQDsAgIBAPACAgEA9AIFBAMFpAT4AgcEAwQBAAgE/AIFBAEuCASAAwQAAQgEhAMEAAAIBIgDBAQACASMAwQEAAgEkAMEAAAIBJQDBQQDBagEmQNJPj7l/50DSVBQUP+gAwIBAKQDDgWtBIwBCwAAAAAAAAAAqAMOBbUEjgELAAAAAAAAAACsAw4FvQSQAQsAAAAAAADgP7ADDgXFBJIBCwAAAAAAAOA/tAMOBc0ElAELAAAAAAAA4D+4Aw4F1QSWAQsAAAAAAAD4P7wDCAXdBJQBDeAEwAMKBeUEmgEN7QScAcQDCgX1BIwBDfkEnwHIAwoFgQWQAQ2FBZ8BzAMKBYkFkgENjQWfAdADCQWRBaUBDZkFSdQDBwWdBagBCQDYAwcFpQWqAQkB3AMHBa0FrAEJAeADBwW1Ba4BCQHkAwcFvQWwAQkB6AMHBcUFsgEJAOwDCgXNBbQBDdUFtgHwAwoF3QW4AQ3lBboB9AMKBe0FvAEN9QW+AfgDCgX9BbwBDYEGwQH8AwoFiQasAQ2BBsEBgAQKBY0GqAENkQbFAYQECgWZBq4BDZEGxQGIBAoFnQawAQ2hBskBjAQKBakGsgENrQbMAZAECgW1Bs4BDb0G0AGUBAoFxQaoAQ3JBtMBmAQKBdEGuAEN1QbTAZwECgXZBq4BDd0G0wGgBAoF4Qa0AQ3lBtMBpAQGAQHpBtsBqAQEAQIBBLIEU0FsdHVhLk9hay5Db3JlLk1vZGlmaWNhdGlvbi5TdHlsaW5nLkFsbFZhbHVlQXhpc0N1c3RvbWl6YXRpb25UYXJnZXQsIEFsdHVhLk9hay5Db3JlrQSMAQC6BFlBbHR1YS5PYWsuQ29yZS5Nb2RpZmljYXRpb24uU3R5bGluZy5WYWx1ZUF4aXNHcmlkbGluZXNDdXN0b21pemF0aW9uVGFyZ2V0LCBBbHR1YS5PYWsuQ29yZbUEjgEAwgRTQWx0dWEuT2FrLkNvcmUuTW9kaWZpY2F0aW9uLlN0eWxpbmcuQ2F0ZWdvcnlBeGlzQ3VzdG9taXphdGlvblRhcmdldCwgQWx0dWEuT2FrLkNvcmW9BJABAMoEUEFsdHVhLk9hay5Db3JlLk1vZGlmaWNhdGlvbi5TdHlsaW5nLk9yaWdvTGluZUN1c3RvbWl6YXRpb25UYXJnZXQsIEFsdHVhLk9hay5Db3JlxQSSAQDSBF1BbHR1YS5PYWsuQ29yZS5Nb2RpZmljYXRpb24uU3R5bGluZy5BbGxDb25uZWN0b3JzQXV4aWxpYXJ5Q3VzdG9taXphdGlvblRhcmdldCwgQWx0dWEuT2FrLkNvcmXNBJQBANoEWUFsdHVhLk9hay5Db3JlLk1vZGlmaWNhdGlvbi5TdHlsaW5nLlNlcmllc1dpdGhQbG90S2luZEN1c3RvbWl6YXRpb25UYXJnZXQsIEFsdHVhLk9hay5Db3Jl1QSWAQMF8AbdBJQBAOAEBQwDBfQG6gRWQWx0dWEuT2FrLkNvcmUuTW9kaWZpY2F0aW9uLlN0eWxpbmcuQWxsU2VyaWVzTWFya2VyQ3VzdG9taXphdGlvblRhcmdldCwgQWx0dWEuT2FrLkNvcmXlBJoBAPIEOkFsdHVhLk9hay5Db3JlLlRoZW1pbmcuQmluZGluZ0NvbG9yUG9pbnRlciwgQWx0dWEuT2FrLkNvcmXtBJwBBQX5Bt8B9QSMAQD+BDdBbHR1YS5PYWsuQ29yZS5UaGVtaW5nLlBhZ2VDb2xvclBvaW50ZXIsIEFsdHVhLk9hay5Db3Jl+QSfAQQAAAgAgQWQAQCFBZ8BBAAACACJBZIBAI0FnwEEAAAIAJYFU0FsdHVhLk9hay5Db3JlLk1vZGlmaWNhdGlvbi5TdHlsaW5nLkFsbEdyaWRsaW5lc0N1c3RvbWl6YXRpb25UYXJnZXQsIEFsdHVhLk9hay5Db3JlkQWlAQCZBUmAgID/ogVYQWx0dWEuT2FrLkNvcmUuTW9kaWZpY2F0aW9uLlN0eWxpbmcuQWxsVmFsdWVBeGlzTGFiZWxDdXN0b21pemF0aW9uVGFyZ2V0LCBBbHR1YS5PYWsuQ29yZZ0FqAEAqgVmQWx0dWEuT2FrLkNvcmUuTW9kaWZpY2F0aW9uLlN0eWxpbmcuU3RhY2tlZEJhckF1dG9tYXRpY1NlZ21lbnRMYWJlbEN1c3RvbWl6YXRpb25UYXJnZXQsIEFsdHVhLk9hay5Db3JlpQWqAQCyBVVBbHR1YS5PYWsuQ29yZS5Nb2RpZmljYXRpb24uU3R5bGluZy5BbGxUb3RhbExhYmVsc0N1c3RvbWl6YXRpb25UYXJnZXQsIEFsdHVhLk9hay5Db3JlrQWsAQC6BVdBbHR1YS5PYWsuQ29yZS5Nb2RpZmljYXRpb24uU3R5bGluZy5BbGxDYXRlZ29yeUxhYmVsQ3VzdG9taXphdGlvblRhcmdldCwgQWx0dWEuT2FrLkNvcmW1Ba4BAMIFWEFsdHVhLk9hay5Db3JlLk1vZGlmaWNhdGlvbi5TdHlsaW5nLkFsbEF1eGlsaWFyeUxhYmVsQ3VzdG9taXphdGlvblRhcmdldCwgQWx0dWEuT2FrLkNvcmW9BbABAMoFWEFsdHVhLk9hay5Db3JlLk1vZGlmaWNhdGlvbi5TdHlsaW5nLlNlcmllc0xhYmVsT2ZUeXBlQ3VzdG9taXphdGlvblRhcmdldCwgQWx0dWEuT2FrLkNvcmXFBbIBAgAC0gVYQWx0dWEuT2FrLkNvcmUuTW9kaWZpY2F0aW9uLlN0eWxpbmcuQ2F0ZWdvcnlBeGlzVGl0bGVDdXN0b21pemF0aW9uVGFyZ2V0LCBBbHR1YS5PYWsuQ29yZc0FtAEA2gVGQWx0dWEuT2FrLkNvcmUuUGxvdHRpbmcuQXhpc1RpdGxlTGFiZWxQbGFjZW1lbnRPdXRzaWRlLCBBbHR1YS5PYWsuQ29yZdUFtgECAAHiBV1BbHR1YS5PYWsuQ29yZS5Nb2RpZmljYXRpb24uU3R5bGluZy5BbGxWYWx1ZUF4aXNUaXRsZUxhYmVsQ3VzdG9taXphdGlvblRhcmdldCwgQWx0dWEuT2FrLkNvcmXdBbgBAOoFQkFsdHVhLk9hay5Db3JlLlBsb3R0aW5nLkF4aXNUaXRsZUxhYmVsUGxhY2VtZW50RmFyLCBBbHR1YS5PYWsuQ29yZeUFugECAADyBV9BbHR1YS5PYWsuQ29yZS5Nb2RpZmljYXRpb24uU3R5bGluZy5TZXJpZXNMYWJlbHNXaXRoUGxvdEtpbmRDdXN0b21pemF0aW9uVGFyZ2V0LCBBbHR1YS5PYWsuQ29yZe0FvAEFBYAHCAD6BTxBbHR1YS5PYWsuQ29yZS5QbG90dGluZy5MYWJlbFBsYWNlbWVudEluc2lkZSwgQWx0dWEuT2FrLkNvcmX1Bb4BBAABCAH9BbwBBQWEBwgAhgY9QWx0dWEuT2FrLkNvcmUuUGxvdHRpbmcuTGFiZWxQbGFjZW1lbnRPdXRzaWRlLCBBbHR1YS5PYWsuQ29yZYEGwQEAiQasAQCNBqgBAJYGQUFsdHVhLk9hay5Db3JlLlBsb3R0aW5nLkF4aXNMYWJlbFBsYWNlbWVudE91dHNpZGUsIEFsdHVhLk9hay5Db3JlkQbFAQIBAJkGrgEAnQawAQCmBkZBbHR1YS5PYWsuQ29yZS5QbG90dGluZy5BdXhpbGlhcnlMYWJlbFBsYWNlbWVudERlZmF1bHQsIEFsdHVhLk9hay5Db3JloQbJAQCpBrIBAgACsgZDQWx0dWEuT2FrLkNvcmUuUGxvdHRpbmcuTGFiZWxQbGFjZW1lbnRTZXJpZXNPdXRzaWRlLCBBbHR1YS5PYWsuQ29yZa0GzAECAAC6BlBBbHR1YS5PYWsuQ29yZS5Nb2RpZmljYXRpb24uU3R5bGluZy5BbGxMYWJlbHNDdXN0b21pemF0aW9uVGFyZ2V0LCBBbHR1YS5PYWsuQ29yZbUGzgEAwgZCQWx0dWEuT2FrLkNvcmUuU3ludGF4U3RydWN0dXJlLkFjdHVhbEZvbnRTaXplVmFsdWUsIEFsdHVhLk9hay5Db3JlvQbQAQkDAAAAAAAAKEDFBqgBAM4GQ0FsdHVhLk9hay5Db3JlLlN5bnRheFN0cnVjdHVyZS5BY3R1YWxGb250Q29sb3JWYWx1ZSwgQWx0dWEuT2FrLkNvcmXJBtMBBQWJB58B0Qa4AQDVBtMBBQWNB58B2QauAQDdBtMBBQWRB58B4Qa0AQDlBtMBBQWVB58B7gYvQWx0dWEuRGF0YS5JbmZyYXN0cnVjdHVyZS5QYXJhZ3JhcGgsIEFsdHVhLkRhdGHpBtsBBQwDBZgH8AYBBfQGCgECAACAQAAAQED+BkhBbHR1YS5PYWsuQ29yZS5TeW50YXhTdHJ1Y3R1cmUuUGxvdFNlcmllc0JpbmRpbmdTdHJhdGVneSwgQWx0dWEuT2FrLkNvcmX5Bt8BAIAHAgABhAcBBYkHnwEEAAAIAI0HnwEEAAAIAJEHnwEEAAAIAJUHnwEEAAAIAJgHBgEBnQfoAaIHL0FsdHVhLkRhdGEuSW5mcmFzdHJ1Y3R1cmUuTnVtYmVyUnVuLCBBbHR1YS5EYXRhnQfoARMEDgMAAAAAAKCfQB2lB+oBDawHqgc9QWx0dWEuRGF0YS5OdW1iZXJGb3JtYXR0aW5nLkNvbXBvc2l0ZU51bWJlckZvcm1hdCwgQWx0dWEuRGF0YaUH6gELHbAHJbQHNbgHPQCsBxIEABwAJAAsADQAPABMAFQAXQCwBwkAAAwDBbwHEQC0BwkAAAwDBcAHEQC4BwoEASwMAS4UAmtyvAcGAQHFB/IBwAcKAQLNB/QBxQfyAcoHQEFsdHVhLkRhdGEuTnVtYmVyRm9ybWF0dGluZy5OdW1iZXJGb3JtYXRWYWx1ZVNlZ21lbnQsIEFsdHVhLkRhdGHFB/IBBQQDBdQH0gc/QWx0dWEuRGF0YS5OdW1iZXJGb3JtYXR0aW5nLk51bWJlckZvcm1hdFRleHRTZWdtZW50LCBBbHR1YS5EYXRhzQf0AQUEAS0JAdQHBgEB2Qf3Ad4HOUFsdHVhLkRhdGEuTnVtYmVyRm9ybWF0dGluZy5OdW1iZXJQbGFjZWhvbGRlciwgQWx0dWEuRGF0YdkH9wEFAjAAAAA="/>
  <p:tag name="GRUNT-X-SHAPEBOUNDS" val="ASIBBAAAAODY1k1AAAAAgHxXZ0AAAACgEmCKQAAAAEAHDHJAAA=="/>
  <p:tag name="GRUNT-RENDERHASH" val="02e4edc122666acafb202a21643bf69a-sv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ZTBcFCF2hJ_mchy26Ot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7ed4c832-f703-4fc1-9930-6102adf286c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4xEKN0FsdHVhLkRhdGEuRGF0YVNlcnZpY2VzLkVtYmVkZGVkRGF0YVNlcnZpY2UsIEFsdHVhLkRhdGEFAhkEEgQQCPbIaKpo3Ue1VbDoNncQXA0MJREFDAYFGAgUEAcWQUFsdHVhLkRhdGEuRGF0YVNlcnZpY2VzLkVtYmVkZGVkRGF0YVNlcnZpY2VFZGl0b3JEYXRhLCBBbHR1YS5EYXRhEQUEBRwNIBgGBSQNKBUsHB4dBBIEEB/rjDimIctLiTIXQgTfWDQLAAAAAAAgYkAgHh0EEgQQhB+R4huFNUGwuFZrPUlJDwsAAAAAAAAyQCQEMDQ4PCgCQEQs6AIsBCgEEgQQ2o0rEHtPmkyZRivzTi/4HAwSBBBfl5CXxFq7QpsQMAZxTsVZDUgsBCgEEgQQH+uMOKYhy0uJMhdCBN9YNAwSBBBfl5CXxFq7QpsQMAZxTsVZDUwsBCgEEgQQlJCa45USdUiMfWXS4u7tNQwSBBD5LFn+/d9vRbn+Z9Mj0qsjDVAsBCgEEgQQ2o0rEHtPmkyZRivzTi/4HAwSBBD5LFn+/d9vRbn+Z9Mj0qsjDVQsBCgEEgQQ6DZfv7FkHkOMacLBZsR3wgwSBBD5LFn+/d9vRbn+Z9Mj0qsjDVgsBCgEEgQQlJCa45USdUiMfWXS4u7tNQwSBBBfl5CXxFq7QpsQMAZxTsVZDVwsBCgEEgQQH+uMOKYhy0uJMhdCBN9YNAwSBBD5LFn+/d9vRbn+Z9Mj0qsjDWAsBCgEEgQQ6DZfv7FkHkOMacLBZsR3wgwSBBBfl5CXxFq7QpsQMAZxTsVZDWQwGgQSBBDajSsQe0+aTJlGK/NOL/gcDAJDMRAANBoEEgQQH+uMOKYhy0uJMhdCBN9YNAwCQzIQADgbBBIEEJSQmuOVEnVIjH1l0uLu7TUMA0MxOBAAPBsEEgQQ6DZfv7FkHkOMacLBZsR3wgwDQzE5EABAGgQSBBBfl5CXxFq7QpsQMAZxTsVZDAJSMRAARBoEEgQQ+SxZ/v3fb0W5/mfTI9KrIwwCUjMQAEgEDWgVbEwEDWgVcFAEDXQVeFQEDWgVfFgFDXQVgAFcBQ10FYQBYAUNaBWIAWQFDXQVjAFoAgQAbAUEAwWQAXAFBAMFlAF0AgQAeAUEAwWYAXwFBAMFnAGAAQUEAwWgAYQBBQQDBaQBiAEFBAMFqAGMAQUEAwWsAZABAgEAlAEFAQGxAS2YAQUBAbkBLZwBAgEAoAEFAQG9AS2kAQUBAcEBLagBBQEBxQEtrAEFAQHJAS22AS9BbHR1YS5EYXRhLkluZnJhc3RydWN0dXJlLlBhcmFncmFwaCwgQWx0dWEuRGF0YbEBLQUMAwXMAbkBLQUMAwXQAb0BLQUMAwXUAcEBLQUMAwXYAcUBLQUMAwXcAckBLQUMAwXgAcwBBQEB5QE60AEFAQHtATrUAQUBAfEBOtgBBQEB9QE63AEFAQH5ATrgAQUBAf0BOuoBL0FsdHVhLkRhdGEuSW5mcmFzdHJ1Y3R1cmUuTnVtYmVyUnVuLCBBbHR1YS5EYXRh5QE6EgQNAwAAAAAAlJ9AHYECQQ2IAu0BOhIEDQMAAAAAAAA8QB2NAkENkALxAToSBA0DAAAAAAAAOkAdlQJBDZgC9QE6EgQNAwAAAAAAnJ9AHZ0CQQ2gAvkBOhIEDQMAAAAAAAA8QB2lAkENqAL9AToSBA0DAAAAAACgn0AdrQJBDbAChgI9QWx0dWEuRGF0YS5OdW1iZXJGb3JtYXR0aW5nLkNvbXBvc2l0ZU51bWJlckZvcm1hdCwgQWx0dWEuRGF0YYECQQsdtAIluAI1vAI9AIgCEgQAHAAkACwANAA8AEwAVABdAI0CQQsdwAIlxAI1yAI9AJACEgQAHAAkACwANAA8AEwAVABdAJUCQQsdzAIl0AI11AI9AJgCEgQAHAAkACwANAA8AEwAVABdAJ0CQQsd2AIl3AI14AI9AKACEgQAHAAkACwANAA8AEwAVABdAKUCQQsd5AIl6AI17AI9AKgCEgQAHAAkACwANAA8AEwAVABdAK0CQQsd8AIl9AI1+AI9ALACEgQAHAAkACwANAA8AEwAVABdALQCCQAADAMF/AIRALgCCQAADAMFgAMRALwCCgQBLAwBLhQCa3LAAgkAAAwDBYQDEQDEAgkAAAwDBYgDEQDIAgoEASwMAS4UAmtyzAIJAAAMAwWMAxEA0AIJAAAMAwWQAxEA1AIKBAEsDAEuFAJrctgCCQAADAMFlAMRANwCCQAADAMFmAMRAOACCgQBLAwBLhQCa3LkAgkAAAwDBZwDEQDoAgkAAAwDBaADEQDsAgoEASwMAS4UAmty8AIJAAAMAwWkAxEA9AIJAAAMAwWoAxEA+AIKBAEsDAEuFAJrcvwCBQEBrQNsgAMIAQK1A26tA2yEAwUBAb0DbIgDCAECwQNuvQNsjAMFAQHFA2yQAwgBAskDbsUDbJQDBQEBzQNsmAMIAQLRA27NA2ycAwUBAdUDbKADCAEC2QNu1QNspAMFAQHdA2yoAwgBAuEDbt0DbLIDQEFsdHVhLkRhdGEuTnVtYmVyRm9ybWF0dGluZy5OdW1iZXJGb3JtYXRWYWx1ZVNlZ21lbnQsIEFsdHVhLkRhdGGtA2wFBAMF5AO6Az9BbHR1YS5EYXRhLk51bWJlckZvcm1hdHRpbmcuTnVtYmVyRm9ybWF0VGV4dFNlZ21lbnQsIEFsdHVhLkRhdGG1A24FBAEtCQG9A2wFBAMF6APBA24FBAEtCQHFA2wFBAMF7APJA24FBAEtCQHNA2wFBAMF8APRA24FBAEtCQHVA2wFBAMF9APZA24FBAEtCQHdA2wFBAMF+APhA24FBAEtCQHkAwYBAf0DgAHoAwYBAf0DgAHsAwYBAf0DgAHwAwYBAf0DgAH0AwYBAf0DgAH4AwYBAf0DgAGCBDlBbHR1YS5EYXRhLk51bWJlckZvcm1hdHRpbmcuTnVtYmVyUGxhY2Vob2xkZXIsIEFsdHVhLkRhdGH9A4ABBQIwAAAA"/>
  <p:tag name="GRUNT-RENDERHASH" val="5927ff8861133352bd99e50f02264d3c-svg"/>
  <p:tag name="GRUNT-X-SHAPEBOUNDS" val="ASIBBAAAAOD+70BAAAAAQLYadUAAAAAgfQJnQAAAAOBoMFlAAA=="/>
  <p:tag name="GRUNT-X-PAGEOBJECT" val="AQUCszAKOEFsdHVhLk9hay5Db3JlLkRvY3VtZW50TW9kZWwuQ2hhcnRPYmplY3QsIEFsdHVhLk9hay5Db3JlBQI1BBIEEN8qHnnJKvdPmepgPvbyhTwMEgQQCPbIaKpo3Ue1VbDoNncQXBUNBCUUNRg9HFUgZSQSUEFsdHVhLk9hay5Db3JlLkRvY3VtZW50TW9kZWwuVGVtcGxhdGluZy5DdXN0b21Qb3NpdGlvbkRlZmluaXRpb24sIEFsdHVhLk9hay5Db3JlDQQkBCIBBGgAgNn+D0FAduTuMrYadUCC/78vffJmQBhRt1TPllRAFBMVKB0sNTA4AEU1DkwCBTxVQF1EGAQEAgVIHAIFTCALBVAMBW5iLU5PFVQkDgEBCQERARkBIQEpATEBKBYEEgQQAAAAAAAAAAAAAAAAAAAAAAgBLBYEEgQQAAAAAAAAAAAAAAAAAAAAAAgBMAA6RUFsdHVhLk9hay5Db3JlLkNoYXJ0LlN0YWNrZWRCYXJXaXRoTGluZVBsb3REZWZpbml0aW9uLCBBbHR1YS5PYWsuQ29yZTUOMgQSBBAkh/ttrPlNRaoaQoOYH3h9HAIFWCVcNWA8AgVkSQFtaKUBbRypAQC1AXUevQF8PAgBA4ABhAGIAUAFBYwBDQBEAgEASAIBAEwAUAoEASwMASAUAmtyVAkEBW5iLU5PCAFYBAEBkAFcDQAACAEUAwWUARwAJQBgJgQiAQQAAAAAAAAQQAAAAAAAABBAAAAAAAAAEEAAAAAAAAAQQAgEZAIBAGgLAwAAAAAAAExACCByRUFsdHVhLk9hay5Db3JlLlBsb3R0aW5nLkF1dG9tYXRpY0NhdGVnb3J5QXhpc1NldHRpbmdzLCBBbHR1YS5PYWsuQ29yZW0cEwEBDZgBEAAZATAAPZwBRaABSAF6PUFsdHVhLk9hay5Db3JlLlRoZW1pbmcuUGFnZUNvbG9yU2NoZW1lUG9pbnRlciwgQWx0dWEuT2FrLkNvcmV1HgB8SjWkAT2oAUWsAVWwAV20AXW4AY0BvAGdAcABpQHEAa0ByAHNAcwB1QHQAd0B1AHlAdgB7QHcAfUB4AH9AeQBhQLoAY0C7AGVAvABgAFIBBIEEPksWf79329Fuf5n0yPSqyMkEgQQ3hL/oLfjmVGNga5GutPNVSwSBBAK/RMLl2qsRKF37zLnyvGhPfUBPkX8AUkBXYAChAFIBBIEEDcGo+sqLPlEoN7fVizMk+kkEgQQMJ2TYTolGkK3RQAIzlWRyCwSBBAK/RMLl2qsRKF37zLnyvGhPfUBPkWEAkkBXYgCiAFIBBIEEAGyzXmkVClLgqXavEFNH6IkEgQQAD5WEZ5ML02lAL46Aub+8CwSBBAK/RMLl2qsRKF37zLnyvGhPfUBPkWMAkkBXZACjAEGlAKYApwCkAFCAQEYAyWgAikAMQBAAEgCVaQCXagCZBIEEAr9EwuXaqxEoXfvMufK8aFtrAJ1sAKNAbQCkQEBnQG4AqUBvAK1AcAClAECAQCYAQIBAJwBBgXFAlIIBKABBgXNAlIIBKQBBQQDBdACqAEFBAMF1AKsAQUEAwXYArABBQQDBdwCtAEFBAMF0AK4AQUEAwXQArwBBQQDBeACwAEFBAMF5ALEAQUEAwXoAsgBBQQDBewCzAEFBAMF8ALQAQUEAwX0AtQBBQQDBfgC2AEFBAMF/ALcAQUEAwWAA+ABBQQDBYQD5AEFBAMFiAPoAQUEAwWMA+wBBQQDBZAD8AEFBAMFlAP6AT5BbHR1YS5PYWsuQ29yZS5DaGFydC5EZWZhdWx0UGxvdFNlcmllc1NldHRpbmdzLCBBbHR1YS5PYWsuQ29yZfUBPgD8AQQFAAgBgAIFBZgDCAGEAgQFAAgBiAIFBZwDCAGMAgQFAAgBkAIFBaADCAGUAioEEgQQtnl8ctBB8lCqeXW5srpkmwwSBBAf64w4piHLS4kyF0IE31g0EQGYAioEEgQQAr/yvDh4IEqYZ3XiBjL4FwwSBBCUkJrjlRJ1SIx9ZdLi7u01EQGcAioEEgQQEjRGWHB8Q0GamGaB9neQzQwSBBDoNl+/sWQeQ4xpwsFmxHfCEQGgAgsDAAAAAAAAAAAIAaQCCwMAAAAAAAAAAAgBqAILAwAAAAAAAAAACAGsAhUFpAMNqAMVrAMdsAMltAMtuAM1vAOwAgcNwAMVxQNStAILAwAAAAAAAAAACAS4AgYFyQNSCAS8AgYFyQNSCATAAgUEAwXMA8oCM0FsdHVhLk9hay5Db3JlLlRoZW1pbmcuQ29sb3JQb2ludGVyLCBBbHR1YS5PYWsuQ29yZcUCUlBQUP/NAlJQUFD/0AICAQDUAg4BBtAD1APYA9wD4APkA9gCBAEB6APcAgIBAOACAgEA5AICAQDoAgwBBewD8AP0A/gD/APsAgIBAPACDgEGgASEBIgEjASQBJQE9AIUAQmYBJwEoASkBKgErASwBLQEuAT4AgIBAPwCBAEBvASAAwoBBMAExATIBMwEhAMCAQCIAwIBAIwDAgEAkAMCAQCUAwIBAJgDBQQDBdAEnAMFBAMF1ASgAwUEAwXYBKQDBwQDBAEACASoAwUEAS4IBKwDBAABCASwAwQAAAgEtAMEBAAIBLgDBAQACAS8AwQAAAgEwAMFBAMF3ATFA1I+PuX/yQNSUFBQ/8wDAgEA0AMOBeEEmQELAAAAAAAAAADUAw4F6QSbAQsAAAAAAAAAANgDDgXxBJ0BCwAAAAAAAOA/3AMOBfkEnwELAAAAAAAA4D/gAw4FgQWhAQsAAAAAAADgP+QDDgWJBaMBCwAAAAAAAPg/6AMIBZEFoQENlAXsAwoFmQWnAQ2hBakB8AMKBakFmQENrQWsAfQDCgW1BZ0BDbkFrAH4AwoFvQWfAQ3BBawB/AMJBcUFsgENzQVSgAQHBdEFtQEJAIQEBwXZBbcBCQGIBAcF4QW5AQkBjAQHBekFuwEJAZAEBwXxBb0BCQGUBAcF+QW/AQkBmAQKBYEGwQENiQbDAZwECgWRBsUBDZkGxwGgBAoFoQbJAQ2pBssBpAQKBbEGyQENtQbOAagECgW9BrkBDbUGzgGsBAoFwQa1AQ3FBtIBsAQKBc0GuwENxQbSAbQECgXRBr0BDdUG1gG4BAoF+QW/AQ3dBtgBvAQKBeUG2gEN7QbcAcAECgX1BrUBDfkG3wHEBAoFgQfFAQ2FB98ByAQKBYkHuwENjQffAcwECgWRB8EBDZUH3wHQBAYBAZkH5wHUBAYBAaEH5wHYBAYBAaUH5wHcBAQBAgEE5gRTQWx0dWEuT2FrLkNvcmUuTW9kaWZpY2F0aW9uLlN0eWxpbmcuQWxsVmFsdWVBeGlzQ3VzdG9taXphdGlvblRhcmdldCwgQWx0dWEuT2FrLkNvcmXhBJkBAO4EWUFsdHVhLk9hay5Db3JlLk1vZGlmaWNhdGlvbi5TdHlsaW5nLlZhbHVlQXhpc0dyaWRsaW5lc0N1c3RvbWl6YXRpb25UYXJnZXQsIEFsdHVhLk9hay5Db3Jl6QSbAQD2BFNBbHR1YS5PYWsuQ29yZS5Nb2RpZmljYXRpb24uU3R5bGluZy5DYXRlZ29yeUF4aXNDdXN0b21pemF0aW9uVGFyZ2V0LCBBbHR1YS5PYWsuQ29yZfEEnQEA/gRQQWx0dWEuT2FrLkNvcmUuTW9kaWZpY2F0aW9uLlN0eWxpbmcuT3JpZ29MaW5lQ3VzdG9taXphdGlvblRhcmdldCwgQWx0dWEuT2FrLkNvcmX5BJ8BAIYFXUFsdHVhLk9hay5Db3JlLk1vZGlmaWNhdGlvbi5TdHlsaW5nLkFsbENvbm5lY3RvcnNBdXhpbGlhcnlDdXN0b21pemF0aW9uVGFyZ2V0LCBBbHR1YS5PYWsuQ29yZYEFoQEAjgVZQWx0dWEuT2FrLkNvcmUuTW9kaWZpY2F0aW9uLlN0eWxpbmcuU2VyaWVzV2l0aFBsb3RLaW5kQ3VzdG9taXphdGlvblRhcmdldCwgQWx0dWEuT2FrLkNvcmWJBaMBAwWoB5EFoQEAlAUFDAMFrAeeBVZBbHR1YS5PYWsuQ29yZS5Nb2RpZmljYXRpb24uU3R5bGluZy5BbGxTZXJpZXNNYXJrZXJDdXN0b21pemF0aW9uVGFyZ2V0LCBBbHR1YS5PYWsuQ29yZZkFpwEApgU6QWx0dWEuT2FrLkNvcmUuVGhlbWluZy5CaW5kaW5nQ29sb3JQb2ludGVyLCBBbHR1YS5PYWsuQ29yZaEFqQEFBbEH7QGpBZkBALIFN0FsdHVhLk9hay5Db3JlLlRoZW1pbmcuUGFnZUNvbG9yUG9pbnRlciwgQWx0dWEuT2FrLkNvcmWtBawBBAAACAC1BZ0BALkFrAEEAAAIAL0FnwEAwQWsAQQAAAgAygVTQWx0dWEuT2FrLkNvcmUuTW9kaWZpY2F0aW9uLlN0eWxpbmcuQWxsR3JpZGxpbmVzQ3VzdG9taXphdGlvblRhcmdldCwgQWx0dWEuT2FrLkNvcmXFBbIBAM0FUoCAgP/WBVhBbHR1YS5PYWsuQ29yZS5Nb2RpZmljYXRpb24uU3R5bGluZy5BbGxWYWx1ZUF4aXNMYWJlbEN1c3RvbWl6YXRpb25UYXJnZXQsIEFsdHVhLk9hay5Db3Jl0QW1AQDeBWZBbHR1YS5PYWsuQ29yZS5Nb2RpZmljYXRpb24uU3R5bGluZy5TdGFja2VkQmFyQXV0b21hdGljU2VnbWVudExhYmVsQ3VzdG9taXphdGlvblRhcmdldCwgQWx0dWEuT2FrLkNvcmXZBbcBAOYFVUFsdHVhLk9hay5Db3JlLk1vZGlmaWNhdGlvbi5TdHlsaW5nLkFsbFRvdGFsTGFiZWxzQ3VzdG9taXphdGlvblRhcmdldCwgQWx0dWEuT2FrLkNvcmXhBbkBAO4FV0FsdHVhLk9hay5Db3JlLk1vZGlmaWNhdGlvbi5TdHlsaW5nLkFsbENhdGVnb3J5TGFiZWxDdXN0b21pemF0aW9uVGFyZ2V0LCBBbHR1YS5PYWsuQ29yZekFuwEA9gVYQWx0dWEuT2FrLkNvcmUuTW9kaWZpY2F0aW9uLlN0eWxpbmcuQWxsQXV4aWxpYXJ5TGFiZWxDdXN0b21pemF0aW9uVGFyZ2V0LCBBbHR1YS5PYWsuQ29yZfEFvQEA/gVYQWx0dWEuT2FrLkNvcmUuTW9kaWZpY2F0aW9uLlN0eWxpbmcuU2VyaWVzTGFiZWxPZlR5cGVDdXN0b21pemF0aW9uVGFyZ2V0LCBBbHR1YS5PYWsuQ29yZfkFvwECAAKGBlhBbHR1YS5PYWsuQ29yZS5Nb2RpZmljYXRpb24uU3R5bGluZy5DYXRlZ29yeUF4aXNUaXRsZUN1c3RvbWl6YXRpb25UYXJnZXQsIEFsdHVhLk9hay5Db3JlgQbBAQCOBkZBbHR1YS5PYWsuQ29yZS5QbG90dGluZy5BeGlzVGl0bGVMYWJlbFBsYWNlbWVudE91dHNpZGUsIEFsdHVhLk9hay5Db3JliQbDAQIAAZYGXUFsdHVhLk9hay5Db3JlLk1vZGlmaWNhdGlvbi5TdHlsaW5nLkFsbFZhbHVlQXhpc1RpdGxlTGFiZWxDdXN0b21pemF0aW9uVGFyZ2V0LCBBbHR1YS5PYWsuQ29yZZEGxQEAngZCQWx0dWEuT2FrLkNvcmUuUGxvdHRpbmcuQXhpc1RpdGxlTGFiZWxQbGFjZW1lbnRGYXIsIEFsdHVhLk9hay5Db3JlmQbHAQIAAKYGX0FsdHVhLk9hay5Db3JlLk1vZGlmaWNhdGlvbi5TdHlsaW5nLlNlcmllc0xhYmVsc1dpdGhQbG90S2luZEN1c3RvbWl6YXRpb25UYXJnZXQsIEFsdHVhLk9hay5Db3JloQbJAQUFuAcIAK4GPEFsdHVhLk9hay5Db3JlLlBsb3R0aW5nLkxhYmVsUGxhY2VtZW50SW5zaWRlLCBBbHR1YS5PYWsuQ29yZakGywEEAAEIAbEGyQEFBbwHCAC6Bj1BbHR1YS5PYWsuQ29yZS5QbG90dGluZy5MYWJlbFBsYWNlbWVudE91dHNpZGUsIEFsdHVhLk9hay5Db3JltQbOAQC9BrkBAMEGtQEAygZBQWx0dWEuT2FrLkNvcmUuUGxvdHRpbmcuQXhpc0xhYmVsUGxhY2VtZW50T3V0c2lkZSwgQWx0dWEuT2FrLkNvcmXFBtIBAgEAzQa7AQDRBr0BANoGRkFsdHVhLk9hay5Db3JlLlBsb3R0aW5nLkF1eGlsaWFyeUxhYmVsUGxhY2VtZW50RGVmYXVsdCwgQWx0dWEuT2FrLkNvcmXVBtYBAOIGQ0FsdHVhLk9hay5Db3JlLlBsb3R0aW5nLkxhYmVsUGxhY2VtZW50U2VyaWVzT3V0c2lkZSwgQWx0dWEuT2FrLkNvcmXdBtgBAgAA6gZQQWx0dWEuT2FrLkNvcmUuTW9kaWZpY2F0aW9uLlN0eWxpbmcuQWxsTGFiZWxzQ3VzdG9taXphdGlvblRhcmdldCwgQWx0dWEuT2FrLkNvcmXlBtoBAPIGQkFsdHVhLk9hay5Db3JlLlN5bnRheFN0cnVjdHVyZS5BY3R1YWxGb250U2l6ZVZhbHVlLCBBbHR1YS5PYWsuQ29yZe0G3AEJAwAAAAAAAChA9Qa1AQD+BkNBbHR1YS5PYWsuQ29yZS5TeW50YXhTdHJ1Y3R1cmUuQWN0dWFsRm9udENvbG9yVmFsdWUsIEFsdHVhLk9hay5Db3Jl+QbfAQUFwQesAYEHxQEAhQffAQUFxQesAYkHuwEAjQffAQUFyQesAZEHwQEAlQffAQUFzQesAZ4HL0FsdHVhLkRhdGEuSW5mcmFzdHJ1Y3R1cmUuUGFyYWdyYXBoLCBBbHR1YS5EYXRhmQfnAQUMAwXQB6EH5wEFDAMF1AelB+cBBQwDBdgHqAcBBawHCgECAACAQAAAQEC2B0hBbHR1YS5PYWsuQ29yZS5TeW50YXhTdHJ1Y3R1cmUuUGxvdFNlcmllc0JpbmRpbmdTdHJhdGVneSwgQWx0dWEuT2FrLkNvcmWxB+0BALgHAgABvAcBBcEHrAEEAAAIAMUHrAEEAAAIAMkHrAEEAAAIAM0HrAEEAAAIANAHBgEB3Qf4AdQHBgEB5Qf4AdgHBgEB6Qf4AeIHL0FsdHVhLkRhdGEuSW5mcmFzdHJ1Y3R1cmUuTnVtYmVyUnVuLCBBbHR1YS5EYXRh3Qf4ARMEDgMAAAAAAKCfQB3tB/wBDfQH5Qf4ARMEDgMAAAAAAJyfQB35B/wBDfwH6Qf4ARMEDgMAAAAAAJSfQB2BCPwBDYQI8gc9QWx0dWEuRGF0YS5OdW1iZXJGb3JtYXR0aW5nLkNvbXBvc2l0ZU51bWJlckZvcm1hdCwgQWx0dWEuRGF0Ye0H/AELHYgIJYwINZAIPQD0BxIEABwAJAAsADQAPABMAFQAXQD5B/wBCx2UCCWYCDWcCD0A/AcSBAAcACQALAA0ADwATABUAF0AgQj8AQsdoAglpAg1qAg9AIQIEgQAHAAkACwANAA8AEwAVABdAIgICQAADAMFrAgRAIwICQAADAMFsAgRAJAICgQBLAwBLhQCa3KUCAkAAAwDBbQIEQCYCAkAAAwDBbgIEQCcCAoEASwMAS4UAmtyoAgJAAAMAwW8CBEApAgJAAAMAwXACBEAqAgKBAEsDAEuFAJrcqwIBgEBxQiSArAICgECzQiUAsUIkgK0CAYBAdUIkgK4CAoBAtkIlALVCJICvAgGAQHdCJICwAgKAQLhCJQC3QiSAsoIQEFsdHVhLkRhdGEuTnVtYmVyRm9ybWF0dGluZy5OdW1iZXJGb3JtYXRWYWx1ZVNlZ21lbnQsIEFsdHVhLkRhdGHFCJICBQQDBeQI0gg/QWx0dWEuRGF0YS5OdW1iZXJGb3JtYXR0aW5nLk51bWJlckZvcm1hdFRleHRTZWdtZW50LCBBbHR1YS5EYXRhzQiUAgUEAS0JAdUIkgIFBAMF6AjZCJQCBQQBLQkB3QiSAgUEAwXsCOEIlAIFBAEtCQHkCAYBAfEInQLoCAYBAfkInQLsCAYBAf0InQL2CDlBbHR1YS5EYXRhLk51bWJlckZvcm1hdHRpbmcuTnVtYmVyUGxhY2Vob2xkZXIsIEFsdHVhLkRhdGHxCJ0CBQIwAAAA+QidAgUCMAAAAP0InQIFAjAAAAA="/>
  <p:tag name="GRUNT-SYNC" val="93574fef5a2e41f2b07bd4c92047af9f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7REKN0FsdHVhLkRhdGEuRGF0YVNlcnZpY2VzLkVtYmVkZGVkRGF0YVNlcnZpY2UsIEFsdHVhLkRhdGEFAhkEEgQQhD0iNi/+3Eq1kT6D67Jzbw0MJREFDAYFGAgUEAcWQUFsdHVhLkRhdGEuRGF0YVNlcnZpY2VzLkVtYmVkZGVkRGF0YVNlcnZpY2VFZGl0b3JEYXRhLCBBbHR1YS5EYXRhEQUEBRwNIBgGBSQNKBUsHB4dBBIEEB/rjDimIctLiTIXQgTfWDQLAAAAAAAgYkAgHh0EEgQQhB+R4huFNUGwuFZrPUlJDwsAAAAAAAAyQCQEMDQ4PCgCQEQs6AIsBCgEEgQQ2o0rEHtPmkyZRivzTi/4HAwSBBBfl5CXxFq7QpsQMAZxTsVZDUgsBCgEEgQQH+uMOKYhy0uJMhdCBN9YNAwSBBBfl5CXxFq7QpsQMAZxTsVZDUwsBCgEEgQQlJCa45USdUiMfWXS4u7tNQwSBBD5LFn+/d9vRbn+Z9Mj0qsjDVAsBCgEEgQQ2o0rEHtPmkyZRivzTi/4HAwSBBD5LFn+/d9vRbn+Z9Mj0qsjDVQsBCgEEgQQ6DZfv7FkHkOMacLBZsR3wgwSBBD5LFn+/d9vRbn+Z9Mj0qsjDVgsBCgEEgQQlJCa45USdUiMfWXS4u7tNQwSBBBfl5CXxFq7QpsQMAZxTsVZDVwsBCgEEgQQH+uMOKYhy0uJMhdCBN9YNAwSBBD5LFn+/d9vRbn+Z9Mj0qsjDWAsBCgEEgQQ6DZfv7FkHkOMacLBZsR3wgwSBBBfl5CXxFq7QpsQMAZxTsVZDWQwGgQSBBDajSsQe0+aTJlGK/NOL/gcDAJDMRAANBoEEgQQH+uMOKYhy0uJMhdCBN9YNAwCQzIQADgbBBIEEJSQmuOVEnVIjH1l0uLu7TUMA0MxOBAAPBsEEgQQ6DZfv7FkHkOMacLBZsR3wgwDQzE5EABAGgQSBBBfl5CXxFq7QpsQMAZxTsVZDAJSMRAARBoEEgQQ+SxZ/v3fb0W5/mfTI9KrIwwCUjMQAEgEDWgVbEwEDWgVcFAEDXQVeFQEDWgVfFgFDXQVgAFcBQ10FYQBYAUNaBWIAWQFDXQVjAFoAgQAbAUEAwWQAXAFBAMFlAF0AgQAeAUEAwWYAXwFBAMFnAGAAQUEAwWgAYQBBQQDBaQBiAEFBAMFqAGMAQUEAwWsAZABAgEAlAEFAQGxAS2YAQUBAbkBLZwBAgEAoAEFAQG9AS2kAQUBAcEBLagBBQEBxQEtrAEFAQHJAS22AS9BbHR1YS5EYXRhLkluZnJhc3RydWN0dXJlLlBhcmFncmFwaCwgQWx0dWEuRGF0YbEBLQUMAwXMAbkBLQUMAwXQAb0BLQUMAwXUAcEBLQUMAwXYAcUBLQUMAwXcAckBLQUMAwXgAcwBBQEB5QE60AEFAQHtATrUAQUBAfEBOtgBBQEB9QE63AEFAQH5ATrgAQUBAf0BOuoBL0FsdHVhLkRhdGEuSW5mcmFzdHJ1Y3R1cmUuTnVtYmVyUnVuLCBBbHR1YS5EYXRh5QE6EgQNAwAAAAAAlJ9AHYECQQ2IAu0BOhIEDQMAAAAAAAAyQB2NAkENkALxAToSBA0DAAAAAAAAM0AdlQJBDZgC9QE6EgQNAwAAAAAAnJ9AHZ0CQQ2gAvkBOhIEDQMAAAAAAAAyQB2lAkENqAL9AToSBA0DAAAAAACgn0AdrQJBDbAChgI9QWx0dWEuRGF0YS5OdW1iZXJGb3JtYXR0aW5nLkNvbXBvc2l0ZU51bWJlckZvcm1hdCwgQWx0dWEuRGF0YYECQQsdtAIluAI1vAI9AIgCEgQAHAAkACwANAA8AEwAVABdAI0CQQsdwAIlxAI1yAI9AJACEgQAHAAkACwANAA8AEwAVABdAJUCQQsdzAIl0AI11AI9AJgCEgQAHAAkACwANAA8AEwAVABdAJ0CQQsd2AIl3AI14AI9AKACEgQAHAAkACwANAA8AEwAVABdAKUCQQsd5AIl6AI17AI9AKgCEgQAHAAkACwANAA8AEwAVABdAK0CQQsd8AIl9AI1+AI9ALACEgQAHAAkACwANAA8AEwAVABdALQCCQAADAMF/AIRALgCCQAADAMFgAMRALwCCgQBLAwBLhQCa3LAAgkAAAwDBYQDEQDEAgkAAAwDBYgDEQDIAgoEASwMAS4UAmtyzAIJAAAMAwWMAxEA0AIJAAAMAwWQAxEA1AIKBAEsDAEuFAJrctgCCQAADAMFlAMRANwCCQAADAMFmAMRAOACCgQBLAwBLhQCa3LkAgkAAAwDBZwDEQDoAgkAAAwDBaADEQDsAgoEASwMAS4UAmty8AIJAAAMAwWkAxEA9AIJAAAMAwWoAxEA+AIKBAEsDAEuFAJrcvwCBQEBrQNsgAMIAQK1A26tA2yEAwUBAb0DbIgDCAECwQNuvQNsjAMFAQHFA2yQAwgBAskDbsUDbJQDBQEBzQNsmAMIAQLRA27NA2ycAwUBAdUDbKADCAEC2QNu1QNspAMFAQHdA2yoAwgBAuEDbt0DbLIDQEFsdHVhLkRhdGEuTnVtYmVyRm9ybWF0dGluZy5OdW1iZXJGb3JtYXRWYWx1ZVNlZ21lbnQsIEFsdHVhLkRhdGGtA2wFBAMF5AO6Az9BbHR1YS5EYXRhLk51bWJlckZvcm1hdHRpbmcuTnVtYmVyRm9ybWF0VGV4dFNlZ21lbnQsIEFsdHVhLkRhdGG1A24FBAEtCQG9A2wFBAMF6APBA24FBAEtCQHFA2wFBAMF7APJA24FBAEtCQHNA2wFBAMF8APRA24FBAEtCQHVA2wFBAMF9APZA24FBAEtCQHdA2wFBAMF+APhA24FBAEtCQHkAwYBAf0DgAHoAwYBAYUEgAHsAwYBAYUEgAHwAwYBAf0DgAH0AwYBAYUEgAH4AwYBAf0DgAGCBDlBbHR1YS5EYXRhLk51bWJlckZvcm1hdHRpbmcuTnVtYmVyUGxhY2Vob2xkZXIsIEFsdHVhLkRhdGH9A4ABBQIwAAAAhQSAAQUCMAAAAA=="/>
  <p:tag name="GRUNT-RENDERHASH" val="7216bcfb401d2a2977469af97f629e13-svg"/>
  <p:tag name="GRUNT-X-SHAPEBOUNDS" val="ASIBBAAAACD1+HBAAAAAYFmldkAAAAAgfapkQAAAAADcBVNAAA=="/>
  <p:tag name="GRUNT-X-PAGEOBJECT" val="AQUCszAKOEFsdHVhLk9hay5Db3JlLkRvY3VtZW50TW9kZWwuQ2hhcnRPYmplY3QsIEFsdHVhLk9hay5Db3JlBQI1BBIEEFqr+XkiG7pGlfKQXRlhQcoMEgQQhD0iNi/+3Eq1kT6D67JzbxUNBCUUNRg9HFUgZSQSUEFsdHVhLk9hay5Db3JlLkRvY3VtZW50TW9kZWwuVGVtcGxhdGluZy5DdXN0b21Qb3NpdGlvbkRlZmluaXRpb24sIEFsdHVhLk9hay5Db3JlDQQkBCIBBChJkiT1/HBAXkKbOvqId0Ba/18mfZpkQPCyC2x+u0VAFBMVKB0sNTA4AEU1DkwCBTxVQF1EGAQEAgVIHAIFTCALBVAMBW5iLU5PFVQkDgEBCQERARkBIQEpATEBKBYEEgQQAAAAAAAAAAAAAAAAAAAAAAgBLBYEEgQQAAAAAAAAAAAAAAAAAAAAAAgBMAA6RUFsdHVhLk9hay5Db3JlLkNoYXJ0LlN0YWNrZWRCYXJXaXRoTGluZVBsb3REZWZpbml0aW9uLCBBbHR1YS5PYWsuQ29yZTUOMgQSBBAKl8Ny3mRYQLcnjRQEiSOdHAIFWCVcNWA8AgVkSQFtaKUBbRypAQC1AXUevQF8PAgBA4ABhAGIAUAFBYwBDQBEAgEASAIBAEwAUAoEASwMASAUAmtyVAkEBW5iLU5PCAFYBAEBkAFcDQAACAEUAwWUARwAJQBgJgQiAQQAAAAAAAAQQAAAAAAAABBAAAAAAAAAEEAAAAAAAAAQQAgEZAIBAGgLAwAAAAAAAExACCByRUFsdHVhLk9hay5Db3JlLlBsb3R0aW5nLkF1dG9tYXRpY0NhdGVnb3J5QXhpc1NldHRpbmdzLCBBbHR1YS5PYWsuQ29yZW0cEwEBDZgBEAAZATAAPZwBRaABSAF6PUFsdHVhLk9hay5Db3JlLlRoZW1pbmcuUGFnZUNvbG9yU2NoZW1lUG9pbnRlciwgQWx0dWEuT2FrLkNvcmV1HgB8SjWkAT2oAUWsAVWwAV20AXW4AY0BvAGdAcABpQHEAa0ByAHNAcwB1QHQAd0B1AHlAdgB7QHcAfUB4AH9AeQBhQLoAY0C7AGVAvABgAFIBBIEEPksWf79329Fuf5n0yPSqyMkEgQQ3hL/oLfjmVGNga5GutPNVSwSBBCgkklBg1LmQb9Jzr35kQB3PfUBPkX8AUkBXYAChAFIBBIEEDcGo+sqLPlEoN7fVizMk+kkEgQQMJ2TYTolGkK3RQAIzlWRyCwSBBCgkklBg1LmQb9Jzr35kQB3PfUBPkWEAkkBXYgCiAFIBBIEEAGyzXmkVClLgqXavEFNH6IkEgQQAD5WEZ5ML02lAL46Aub+8CwSBBCgkklBg1LmQb9Jzr35kQB3PfUBPkWMAkkBXZACjAEGlAKYApwCkAFCAQEYAyWgAikAMQBAAEgCVaQCXagCZBIEEKCSSUGDUuZBv0nOvfmRAHdtrAJ1sAKNAbQCkQEBnQG4AqUBvAK1AcAClAECAQCYAQIBAJwBBgXFAlIIBKABBgXNAlIIBKQBBQQDBdACqAEFBAMF1AKsAQUEAwXYArABBQQDBdwCtAEFBAMF0AK4AQUEAwXQArwBBQQDBeACwAEFBAMF5ALEAQUEAwXoAsgBBQQDBewCzAEFBAMF8ALQAQUEAwX0AtQBBQQDBfgC2AEFBAMF/ALcAQUEAwWAA+ABBQQDBYQD5AEFBAMFiAPoAQUEAwWMA+wBBQQDBZAD8AEFBAMFlAP6AT5BbHR1YS5PYWsuQ29yZS5DaGFydC5EZWZhdWx0UGxvdFNlcmllc1NldHRpbmdzLCBBbHR1YS5PYWsuQ29yZfUBPgD8AQQFAAgBgAIFBZgDCAGEAgQFAAgBiAIFBZwDCAGMAgQFAAgBkAIFBaADCAGUAioEEgQQtnl8ctBB8lCqeXW5srpkmwwSBBAf64w4piHLS4kyF0IE31g0EQGYAioEEgQQAr/yvDh4IEqYZ3XiBjL4FwwSBBCUkJrjlRJ1SIx9ZdLi7u01EQGcAioEEgQQEjRGWHB8Q0GamGaB9neQzQwSBBDoNl+/sWQeQ4xpwsFmxHfCEQGgAgsDAAAAAAAAAAAIAaQCCwMAAAAAAAAAAAgBqAILAwAAAAAAAAAACAGsAhUFpAMNqAMVrAMdsAMltAMtuAM1vAOwAgcNwAMVxQNStAILAwAAAAAAAAAACAS4AgYFyQNSCAS8AgYFyQNSCATAAgUEAwXMA8oCM0FsdHVhLk9hay5Db3JlLlRoZW1pbmcuQ29sb3JQb2ludGVyLCBBbHR1YS5PYWsuQ29yZcUCUlBQUP/NAlJQUFD/0AICAQDUAg4BBtAD1APYA9wD4APkA9gCBAEB6APcAgIBAOACAgEA5AICAQDoAgwBBewD8AP0A/gD/APsAgIBAPACDgEGgASEBIgEjASQBJQE9AIUAQmYBJwEoASkBKgErASwBLQEuAT4AgIBAPwCBAEBvASAAwoBBMAExATIBMwEhAMCAQCIAwIBAIwDAgEAkAMCAQCUAwIBAJgDBQQDBdAEnAMFBAMF1ASgAwUEAwXYBKQDBwQDBAEACASoAwUEAS4IBKwDBAABCASwAwQAAAgEtAMEBAAIBLgDBAQACAS8AwQAAAgEwAMFBAMF3ATFA1I+PuX/yQNSUFBQ/8wDAgEA0AMOBeEEmQELAAAAAAAAAADUAw4F6QSbAQsAAAAAAAAAANgDDgXxBJ0BCwAAAAAAAOA/3AMOBfkEnwELAAAAAAAA4D/gAw4FgQWhAQsAAAAAAADgP+QDDgWJBaMBCwAAAAAAAPg/6AMIBZEFoQENlAXsAwoFmQWnAQ2hBakB8AMKBakFmQENrQWsAfQDCgW1BZ0BDbkFrAH4AwoFvQWfAQ3BBawB/AMJBcUFsgENzQVSgAQHBdEFtQEJAIQEBwXZBbcBCQGIBAcF4QW5AQkBjAQHBekFuwEJAZAEBwXxBb0BCQGUBAcF+QW/AQkBmAQKBYEGwQENiQbDAZwECgWRBsUBDZkGxwGgBAoFoQbJAQ2pBssBpAQKBbEGyQENtQbOAagECgW9BrkBDbUGzgGsBAoFwQa1AQ3FBtIBsAQKBc0GuwENxQbSAbQECgXRBr0BDdUG1gG4BAoF+QW/AQ3dBtgBvAQKBeUG2gEN7QbcAcAECgX1BrUBDfkG3wHEBAoFgQfFAQ2FB98ByAQKBYkHuwENjQffAcwECgWRB8EBDZUH3wHQBAYBAZkH5wHUBAYBAaEH5wHYBAYBAaUH5wHcBAQBAgEE5gRTQWx0dWEuT2FrLkNvcmUuTW9kaWZpY2F0aW9uLlN0eWxpbmcuQWxsVmFsdWVBeGlzQ3VzdG9taXphdGlvblRhcmdldCwgQWx0dWEuT2FrLkNvcmXhBJkBAO4EWUFsdHVhLk9hay5Db3JlLk1vZGlmaWNhdGlvbi5TdHlsaW5nLlZhbHVlQXhpc0dyaWRsaW5lc0N1c3RvbWl6YXRpb25UYXJnZXQsIEFsdHVhLk9hay5Db3Jl6QSbAQD2BFNBbHR1YS5PYWsuQ29yZS5Nb2RpZmljYXRpb24uU3R5bGluZy5DYXRlZ29yeUF4aXNDdXN0b21pemF0aW9uVGFyZ2V0LCBBbHR1YS5PYWsuQ29yZfEEnQEA/gRQQWx0dWEuT2FrLkNvcmUuTW9kaWZpY2F0aW9uLlN0eWxpbmcuT3JpZ29MaW5lQ3VzdG9taXphdGlvblRhcmdldCwgQWx0dWEuT2FrLkNvcmX5BJ8BAIYFXUFsdHVhLk9hay5Db3JlLk1vZGlmaWNhdGlvbi5TdHlsaW5nLkFsbENvbm5lY3RvcnNBdXhpbGlhcnlDdXN0b21pemF0aW9uVGFyZ2V0LCBBbHR1YS5PYWsuQ29yZYEFoQEAjgVZQWx0dWEuT2FrLkNvcmUuTW9kaWZpY2F0aW9uLlN0eWxpbmcuU2VyaWVzV2l0aFBsb3RLaW5kQ3VzdG9taXphdGlvblRhcmdldCwgQWx0dWEuT2FrLkNvcmWJBaMBAwWoB5EFoQEAlAUFDAMFrAeeBVZBbHR1YS5PYWsuQ29yZS5Nb2RpZmljYXRpb24uU3R5bGluZy5BbGxTZXJpZXNNYXJrZXJDdXN0b21pemF0aW9uVGFyZ2V0LCBBbHR1YS5PYWsuQ29yZZkFpwEApgU6QWx0dWEuT2FrLkNvcmUuVGhlbWluZy5CaW5kaW5nQ29sb3JQb2ludGVyLCBBbHR1YS5PYWsuQ29yZaEFqQEFBbEH7QGpBZkBALIFN0FsdHVhLk9hay5Db3JlLlRoZW1pbmcuUGFnZUNvbG9yUG9pbnRlciwgQWx0dWEuT2FrLkNvcmWtBawBBAAACAC1BZ0BALkFrAEEAAAIAL0FnwEAwQWsAQQAAAgAygVTQWx0dWEuT2FrLkNvcmUuTW9kaWZpY2F0aW9uLlN0eWxpbmcuQWxsR3JpZGxpbmVzQ3VzdG9taXphdGlvblRhcmdldCwgQWx0dWEuT2FrLkNvcmXFBbIBAM0FUoCAgP/WBVhBbHR1YS5PYWsuQ29yZS5Nb2RpZmljYXRpb24uU3R5bGluZy5BbGxWYWx1ZUF4aXNMYWJlbEN1c3RvbWl6YXRpb25UYXJnZXQsIEFsdHVhLk9hay5Db3Jl0QW1AQDeBWZBbHR1YS5PYWsuQ29yZS5Nb2RpZmljYXRpb24uU3R5bGluZy5TdGFja2VkQmFyQXV0b21hdGljU2VnbWVudExhYmVsQ3VzdG9taXphdGlvblRhcmdldCwgQWx0dWEuT2FrLkNvcmXZBbcBAOYFVUFsdHVhLk9hay5Db3JlLk1vZGlmaWNhdGlvbi5TdHlsaW5nLkFsbFRvdGFsTGFiZWxzQ3VzdG9taXphdGlvblRhcmdldCwgQWx0dWEuT2FrLkNvcmXhBbkBAO4FV0FsdHVhLk9hay5Db3JlLk1vZGlmaWNhdGlvbi5TdHlsaW5nLkFsbENhdGVnb3J5TGFiZWxDdXN0b21pemF0aW9uVGFyZ2V0LCBBbHR1YS5PYWsuQ29yZekFuwEA9gVYQWx0dWEuT2FrLkNvcmUuTW9kaWZpY2F0aW9uLlN0eWxpbmcuQWxsQXV4aWxpYXJ5TGFiZWxDdXN0b21pemF0aW9uVGFyZ2V0LCBBbHR1YS5PYWsuQ29yZfEFvQEA/gVYQWx0dWEuT2FrLkNvcmUuTW9kaWZpY2F0aW9uLlN0eWxpbmcuU2VyaWVzTGFiZWxPZlR5cGVDdXN0b21pemF0aW9uVGFyZ2V0LCBBbHR1YS5PYWsuQ29yZfkFvwECAAKGBlhBbHR1YS5PYWsuQ29yZS5Nb2RpZmljYXRpb24uU3R5bGluZy5DYXRlZ29yeUF4aXNUaXRsZUN1c3RvbWl6YXRpb25UYXJnZXQsIEFsdHVhLk9hay5Db3JlgQbBAQCOBkZBbHR1YS5PYWsuQ29yZS5QbG90dGluZy5BeGlzVGl0bGVMYWJlbFBsYWNlbWVudE91dHNpZGUsIEFsdHVhLk9hay5Db3JliQbDAQIAAZYGXUFsdHVhLk9hay5Db3JlLk1vZGlmaWNhdGlvbi5TdHlsaW5nLkFsbFZhbHVlQXhpc1RpdGxlTGFiZWxDdXN0b21pemF0aW9uVGFyZ2V0LCBBbHR1YS5PYWsuQ29yZZEGxQEAngZCQWx0dWEuT2FrLkNvcmUuUGxvdHRpbmcuQXhpc1RpdGxlTGFiZWxQbGFjZW1lbnRGYXIsIEFsdHVhLk9hay5Db3JlmQbHAQIAAKYGX0FsdHVhLk9hay5Db3JlLk1vZGlmaWNhdGlvbi5TdHlsaW5nLlNlcmllc0xhYmVsc1dpdGhQbG90S2luZEN1c3RvbWl6YXRpb25UYXJnZXQsIEFsdHVhLk9hay5Db3JloQbJAQUFuAcIAK4GPEFsdHVhLk9hay5Db3JlLlBsb3R0aW5nLkxhYmVsUGxhY2VtZW50SW5zaWRlLCBBbHR1YS5PYWsuQ29yZakGywEEAAEIAbEGyQEFBbwHCAC6Bj1BbHR1YS5PYWsuQ29yZS5QbG90dGluZy5MYWJlbFBsYWNlbWVudE91dHNpZGUsIEFsdHVhLk9hay5Db3JltQbOAQC9BrkBAMEGtQEAygZBQWx0dWEuT2FrLkNvcmUuUGxvdHRpbmcuQXhpc0xhYmVsUGxhY2VtZW50T3V0c2lkZSwgQWx0dWEuT2FrLkNvcmXFBtIBAgEAzQa7AQDRBr0BANoGRkFsdHVhLk9hay5Db3JlLlBsb3R0aW5nLkF1eGlsaWFyeUxhYmVsUGxhY2VtZW50RGVmYXVsdCwgQWx0dWEuT2FrLkNvcmXVBtYBAOIGQ0FsdHVhLk9hay5Db3JlLlBsb3R0aW5nLkxhYmVsUGxhY2VtZW50U2VyaWVzT3V0c2lkZSwgQWx0dWEuT2FrLkNvcmXdBtgBAgAA6gZQQWx0dWEuT2FrLkNvcmUuTW9kaWZpY2F0aW9uLlN0eWxpbmcuQWxsTGFiZWxzQ3VzdG9taXphdGlvblRhcmdldCwgQWx0dWEuT2FrLkNvcmXlBtoBAPIGQkFsdHVhLk9hay5Db3JlLlN5bnRheFN0cnVjdHVyZS5BY3R1YWxGb250U2l6ZVZhbHVlLCBBbHR1YS5PYWsuQ29yZe0G3AEJAwAAAAAAAChA9Qa1AQD+BkNBbHR1YS5PYWsuQ29yZS5TeW50YXhTdHJ1Y3R1cmUuQWN0dWFsRm9udENvbG9yVmFsdWUsIEFsdHVhLk9hay5Db3Jl+QbfAQUFwQesAYEHxQEAhQffAQUFxQesAYkHuwEAjQffAQUFyQesAZEHwQEAlQffAQUFzQesAZ4HL0FsdHVhLkRhdGEuSW5mcmFzdHJ1Y3R1cmUuUGFyYWdyYXBoLCBBbHR1YS5EYXRhmQfnAQUMAwXQB6EH5wEFDAMF1AelB+cBBQwDBdgHqAcBBawHCgECAACAQAAAQEC2B0hBbHR1YS5PYWsuQ29yZS5TeW50YXhTdHJ1Y3R1cmUuUGxvdFNlcmllc0JpbmRpbmdTdHJhdGVneSwgQWx0dWEuT2FrLkNvcmWxB+0BALgHAgABvAcBBcEHrAEEAAAIAMUHrAEEAAAIAMkHrAEEAAAIAM0HrAEEAAAIANAHBgEB3Qf4AdQHBgEB5Qf4AdgHBgEB6Qf4AeIHL0FsdHVhLkRhdGEuSW5mcmFzdHJ1Y3R1cmUuTnVtYmVyUnVuLCBBbHR1YS5EYXRh3Qf4ARMEDgMAAAAAAKCfQB3tB/wBDfQH5Qf4ARMEDgMAAAAAAJyfQB35B/wBDfwH6Qf4ARMEDgMAAAAAAJSfQB2BCPwBDYQI8gc9QWx0dWEuRGF0YS5OdW1iZXJGb3JtYXR0aW5nLkNvbXBvc2l0ZU51bWJlckZvcm1hdCwgQWx0dWEuRGF0Ye0H/AELHYgIJYwINZAIPQD0BxIEABwAJAAsADQAPABMAFQAXQD5B/wBCx2UCCWYCDWcCD0A/AcSBAAcACQALAA0ADwATABUAF0AgQj8AQsdoAglpAg1qAg9AIQIEgQAHAAkACwANAA8AEwAVABdAIgICQAADAMFrAgRAIwICQAADAMFsAgRAJAICgQBLAwBLhQCa3KUCAkAAAwDBbQIEQCYCAkAAAwDBbgIEQCcCAoEASwMAS4UAmtyoAgJAAAMAwW8CBEApAgJAAAMAwXACBEAqAgKBAEsDAEuFAJrcqwIBgEBxQiSArAICgECzQiUAsUIkgK0CAYBAdUIkgK4CAoBAtkIlALVCJICvAgGAQHdCJICwAgKAQLhCJQC3QiSAsoIQEFsdHVhLkRhdGEuTnVtYmVyRm9ybWF0dGluZy5OdW1iZXJGb3JtYXRWYWx1ZVNlZ21lbnQsIEFsdHVhLkRhdGHFCJICBQQDBeQI0gg/QWx0dWEuRGF0YS5OdW1iZXJGb3JtYXR0aW5nLk51bWJlckZvcm1hdFRleHRTZWdtZW50LCBBbHR1YS5EYXRhzQiUAgUEAS0JAdUIkgIFBAMF6AjZCJQCBQQBLQkB3QiSAgUEAwXsCOEIlAIFBAEtCQHkCAYBAfEInQLoCAYBAfkInQLsCAYBAf0InQL2CDlBbHR1YS5EYXRhLk51bWJlckZvcm1hdHRpbmcuTnVtYmVyUGxhY2Vob2xkZXIsIEFsdHVhLkRhdGHxCJ0CBQIwAAAA+QidAgUCMAAAAP0InQIFAjAAAAA="/>
  <p:tag name="GRUNT-SYNC" val="81c1fb4e38de4149b36f7dd7b205125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e3a52d47-8668-4ea3-aaf9-35236b5b0aed"/>
  <p:tag name="GRUNT-X-RESOURCES" val="AQIFBAQEAgEA"/>
  <p:tag name="GRUNT-VERSION" val="20.23.267.0"/>
  <p:tag name="GRUNT-X-DATASERVICE" val="AQUC80MKNEFsdHVhLkRhdGEuRGF0YVNlcnZpY2VzLkV4Y2VsRGF0YVNlcnZpY2UsIEFsdHVhLkRhdGEFAhwEEgQQx+ImEwOEvEGBCo2qaMXKNRUMHREFLRkHDAYFIA0kFSgWPUFsdHVhLkRhdGEuUHJpbWl0aXZlcy5FeGNlbC5FeGNlbEltcG9ydERlZmluaXRpb24sIEFsdHVhLkRhdGERBQ4FLQwIABQCBTQdOCU9EB5BQWx0dWEuRGF0YS5EYXRhU2VydmljZXMuRW1iZWRkZWREYXRhU2VydmljZUVkaXRvckRhdGEsIEFsdHVhLkRhdGEZBwQFRA1IIAQFTA1QJAYFVAgMEAEoAgVYMjRBbHR1YS5EYXRhLlByaW1pdGl2ZXMuRXhjZWwuRXhjZWxBZGRyZXNzLCBBbHR1YS5EYXRhLQwFFVwdYRk0AgEAOAoBARAAGAAhACgBQkBBbHR1YS5EYXRhLkV4Y2VsLlJlYWRpbmcuRGVmYXVsdEV4Y2VsUmVhZGluZ1N0cmF0ZWd5LCBBbHR1YS5EYXRhPRAARDwdBBIEEJWN3loxasNNr8A2UiSIhJULAAAAAAAAHEAdBBIEEOcEq3k9+NNOsUWXZWvQF4sLAAAAAABgYEBIAEwLBWgL97t4w0Zv3EhQAgVsVAYFcA10FXhYuwYsBCgEEgQQdFV39rLQSES1ql7rQpERGwwSBBACAAAAAAAAAAAAAAAAAAAADXwtBCgEEgQQdFV39rLQSES1ql7rQpERGwwSBBACAAAAAAAAAAAAAAABAAABDYABLQQoBBIEEHKlA68GcIVKtxxSOTnZu7gMEgQQAgAAAAAAAAAAAAAAAAAAAA2EAS0EKAQSBBA62KVuLGDsSrk/Um5w8UQ1DBIEEAIAAAAAAAAAAAAAAAAAAAANiAEtBCgEEgQQlGLKVSfC80mB/2v6N3F83wwSBBACAAAAAAAAAAAAAAAAAAAADYwBLQQoBBIEEO2l9zQ14JNAnJOPQPvbVuEMEgQQAgAAAAAAAAAAAAAAAAAAAA2QAS0EKAQSBBCgT/aCdgHcTqKEV+kdwSXYDBIEEAIAAAAAAAAAAAAAAAEAAAENlAEtBCgEEgQQcqUDrwZwhUq3HFI5Odm7uAwSBBACAAAAAAAAAAAAAAABAAABDZgBLQQoBBIEEI7TRz60n7ZHo25Dcc1ZRzgMEgQQAgAAAAAAAAAAAAAAAAAAAA2cAS0EKAQSBBCUYspVJ8LzSYH/a/o3cXzfDBIEEAIAAAAAAAAAAAAAAAEAAAENoAEtBCgEEgQQoE/2gnYB3E6ihFfpHcEl2AwSBBACAAAAAAAAAAAAAAAAAAAADaQBLQQoBBIEEC0OgPGnGZxPq4Gf9NjNLGAMEgQQAgAAAAAAAAAAAAAAAAAAAA2oAS0EKAQSBBDi2Hpas+5BS5QaYC5aE3gjDBIEEAIAAAAAAAAAAAAAAAAAAAANrAEtBCgEEgQQjtNHPrSftkejbkNxzVlHOAwSBBACAAAAAAAAAAAAAAABAAABDbABLQQoBBIEEOLYelqz7kFLlBpgLloTeCMMEgQQAgAAAAAAAAAAAAAAAQAAAQ20AS0EKAQSBBDtpfc0NeCTQJyTj0D721bhDBIEEAIAAAAAAAAAAAAAAAEAAAENuAEtBCgEEgQQLQ6A8acZnE+rgZ/02M0sYAwSBBACAAAAAAAAAAAAAAABAAABDbwBLQQoBBIEEDrYpW4sYOxKuT9SbnDxRDUMEgQQAgAAAAAAAAAAAAAAAQAAAQ3AAVwGCQEVxQEyZjdBbHR1YS5EYXRhLlJlYWRlcnMuRXhjZWwuU3BlY2lmaWNFeGNlbFJhbmdlLCBBbHR1YS5EYXRhYRkJBcwBDARBcmsyaAkF0AEN1AEV2AFsmActBCgEEgQQAQAAAAAAAAAAAAAAAQAAAQwSBBACAAAAAAAAAAAAAAAJAAAJDdwBLQQoBBIEEAEAAAAAAAAAAAAAAAAAAAAMEgQQAgAAAAAAAAAAAAAACQAACQ3gAS0EKAQSBBABAAAAAAAAAAAAAAAAAAAADBIEEAIAAAAAAAAAAAAAAAcAAAcN5AEtBCgEEgQQAQAAAAAAAAAAAAAAAQAAAQwSBBACAAAAAAAAAAAAAAAFAAAFDegBLQQoBBIEEAEAAAAAAAAAAAAAAAEAAAEMEgQQAgAAAAAAAAAAAAAAAgAAAg3sAS0EKAQSBBABAAAAAAAAAAAAAAAAAAAADBIEEAIAAAAAAAAAAAAAAAYAAAYN8AEtBCgEEgQQAQAAAAAAAAAAAAAAAQAAAQwSBBACAAAAAAAAAAAAAAAIAAAIDfQBLQQoBBIEEAEAAAAAAAAAAAAAAAEAAAEMEgQQAgAAAAAAAAAAAAAABwAABw34AS0EKAQSBBABAAAAAAAAAAAAAAAAAAAADBIEEAIAAAAAAAAAAAAAAAMAAAMN/AEtBCgEEgQQAQAAAAAAAAAAAAAAAQAAAQwSBBACAAAAAAAAAAAAAAAGAAAGDYACLQQoBBIEEAEAAAAAAAAAAAAAAAEAAAEMEgQQAgAAAAAAAAAAAAAAAwAAAw2EAi0EKAQSBBABAAAAAAAAAAAAAAAAAAAADBIEEAIAAAAAAAAAAAAAAAUAAAUNiAItBCgEEgQQAQAAAAAAAAAAAAAAAAAAAAwSBBACAAAAAAAAAAAAAAAEAAAEDYwCLQQoBBIEEAEAAAAAAAAAAAAAAAEAAAEMEgQQAgAAAAAAAAAAAAAABAAABA2QAi0EKAQSBBABAAAAAAAAAAAAAAAAAAAADBIEEAIAAAAAAAAAAAAAAAAAAAANlAItBCgEEgQQAQAAAAAAAAAAAAAAAAAAAAwSBBACAAAAAAAAAAAAAAACAAACDZgCLQQoBBIEEAEAAAAAAAAAAAAAAAEAAAEMEgQQAgAAAAAAAAAAAAAAAQAAAQ2cAi0EKAQSBBABAAAAAAAAAAAAAAAAAAAADBIEEAIAAAAAAAAAAAAAAAgAAAgNoAItBCgEEgQQAQAAAAAAAAAAAAAAAQAAAQwSBBACAAAAAAAAAAAAAAAAAAAADaQCLQQoBBIEEAEAAAAAAAAAAAAAAAAAAAAMEgQQAgAAAAAAAAAAAAAAAQAAAQ2oAnASrAKwArQCuAK8AsACxALIAswCdAB4AHwGDdACFdQCgAEGDdACFdgChAEGDdACFdwCiAEGDdACFeACjAEGDdACFeQCkAEGDdACFegClAEGDdACFewCmAEGDdACFfACnAEGDdACFfQCoAEGDdACFfgCpAEGDdACFfwCqAEGDdACFYADrAEGDdACFYQDsAEGDdACFYgDtAEGDdACFYwDuAEGDdACFZADvAEGDdACFZQDwAEGDdACFZgDygFPQWx0dWEuTGlicmFyeS5TZXJpYWxpemFibGUuU3RvcmFnZS5PbmVEcml2ZUZpbGVQYXRoLCBBbHR1YS5MaWJyYXJ5LlNlcmlhbGl6YWJsZcUBMoMBBElodHRwczovL3NiMXNtbi1teS5zaGFyZXBvaW50LmNvbS9wZXJzb25hbC90b21hc192ZXJzdGFkX3Ntbl9uby9Eb2N1bWVudHMvFDZEb2N1bWVudHMvS3Jpc3RpYW5zdW5kL0J1c2luZXNzIGNhc2UgS3Jpc3RpYW5zdW5kLnhsc3jMAQgFnQNoDaUDatABBKwDsAPUARS0A7gDvAPAA8QDyAPMA9AD1APYA9gBmActBCgEEgQQAQAAAAAAAAAAAAAAAQAAAQwSBBACAAAAAAAAAAAAAAAJAAAJDdwDLQQoBBIEEAEAAAAAAAAAAAAAAAAAAAAMEgQQAgAAAAAAAAAAAAAACQAACQ3gAy0EKAQSBBABAAAAAAAAAAAAAAAAAAAADBIEEAIAAAAAAAAAAAAAAAcAAAcN5AMtBCgEEgQQAQAAAAAAAAAAAAAAAQAAAQwSBBACAAAAAAAAAAAAAAAFAAAFDegDLQQoBBIEEAEAAAAAAAAAAAAAAAEAAAEMEgQQAgAAAAAAAAAAAAAAAgAAAg3sAy0EKAQSBBABAAAAAAAAAAAAAAAAAAAADBIEEAIAAAAAAAAAAAAAAAYAAAYN8AMtBCgEEgQQAQAAAAAAAAAAAAAAAQAAAQwSBBACAAAAAAAAAAAAAAAIAAAIDfQDLQQoBBIEEAEAAAAAAAAAAAAAAAEAAAEMEgQQAgAAAAAAAAAAAAAABwAABw34Ay0EKAQSBBABAAAAAAAAAAAAAAAAAAAADBIEEAIAAAAAAAAAAAAAAAMAAAMN/AMtBCgEEgQQAQAAAAAAAAAAAAAAAQAAAQwSBBACAAAAAAAAAAAAAAAGAAAGDYAELQQoBBIEEAEAAAAAAAAAAAAAAAEAAAEMEgQQAgAAAAAAAAAAAAAAAwAAAw2EBC0EKAQSBBABAAAAAAAAAAAAAAAAAAAADBIEEAIAAAAAAAAAAAAAAAUAAAUNiAQtBCgEEgQQAQAAAAAAAAAAAAAAAAAAAAwSBBACAAAAAAAAAAAAAAAEAAAEDYwELQQoBBIEEAEAAAAAAAAAAAAAAAEAAAEMEgQQAgAAAAAAAAAAAAAABAAABA2QBC0EKAQSBBABAAAAAAAAAAAAAAAAAAAADBIEEAIAAAAAAAAAAAAAAAAAAAANlAQtBCgEEgQQAQAAAAAAAAAAAAAAAAAAAAwSBBACAAAAAAAAAAAAAAACAAACDZgELQQoBBIEEAEAAAAAAAAAAAAAAAEAAAEMEgQQAgAAAAAAAAAAAAAAAQAAAQ2cBC0EKAQSBBABAAAAAAAAAAAAAAAAAAAADBIEEAIAAAAAAAAAAAAAAAgAAAgNoAQtBCgEEgQQAQAAAAAAAAAAAAAAAQAAAQwSBBACAAAAAAAAAAAAAAAAAAAADaQELQQoBBIEEAEAAAAAAAAAAAAAAAAAAAAMEgQQAgAAAAAAAAAAAAAAAQAAAQ2oBNwBBg3QAhWsBOABBg3QAhWsBOQBBg3QAhWsBOgBBg3QAhWsBOwBBg3QAhWsBPABBg3QAhWsBPQBBg3QAhWsBPgBBg3QAhWsBPwBBg3QAhWsBIACBg3QAhWsBIQCBg3QAhWsBIgCBg3QAhWsBIwCBg3QAhWsBJACBg3QAhWsBJQCBg3QAhWsBJgCBg3QAhWsBJwCBg3QAhWwBKACBg3QAhWsBKQCBg3QAhW0BKgCBg3QAhWsBKwCGgQSBBA62KVuLGDsSrk/Um5w8UQ1DAJDMhAAsAIaBBIEEHRVd/ay0EhEtape60KRERsMAkMzEAC0AhoEEgQQcqUDrwZwhUq3HFI5Odm7uAwCQzQQALgCGgQSBBCgT/aCdgHcTqKEV+kdwSXYDAJDNRAAvAIaBBIEEO2l9zQ14JNAnJOPQPvbVuEMAkM2EADAAhoEEgQQ4th6WrPuQUuUGmAuWhN4IwwCQzcQAMQCGgQSBBAtDoDxpxmcT6uBn/TYzSxgDAJDOBAAyAIaBBIEEI7TRz60n7ZHo25Dcc1ZRzgMAkM5EADMAhsEEgQQlGLKVSfC80mB/2v6N3F83wwDQzEwEADQAgIEANQCBQQDBbgE2AIFBAMFvATcAgUEAwXABOACBQQDBcQE5AIFBAMFyAToAgUEAwXMBOwCBQQDBdAE8AIFBAMF1AT0AgUEAwXYBPgCBQQDBdwE/AIFBAMF4ASAAwUEAwXkBIQDBQQDBegEiAMFBAMF7ASMAwUEAwXwBJADBQQDBfQElAMFBAMF+ASYAwUEAwX8BKIDN0FsdHVhLkRhdGEuUHJpbWl0aXZlcy5Db25zdHJhaW5lZENvbHVtblNwYW4sIEFsdHVhLkRhdGGdA2gFAwWABQCqAzRBbHR1YS5EYXRhLlByaW1pdGl2ZXMuQ29uc3RyYWluZWRSb3dTcGFuLCBBbHR1YS5EYXRhpQNqBQMFhAUArAMZBBIEEAEAAAAAAAAAAAAAAAAAAAAMAUYQAbADGQQSBBABAAAAAAAAAAAAAAABAAABDAFHEAG0AxoEEgQQAgAAAAAAAAAAAAAAAAAAAAwCMTgQAbgDGgQSBBACAAAAAAAAAAAAAAABAAABDAIxORABvAMaBBIEEAIAAAAAAAAAAAAAAAIAAAIMAjIwEAHAAxoEEgQQAgAAAAAAAAAAAAAAAwAAAwwCMjEQAcQDGgQSBBACAAAAAAAAAAAAAAAEAAAEDAIyMhAByAMaBBIEEAIAAAAAAAAAAAAAAAUAAAUMAjIzEAHMAxoEEgQQAgAAAAAAAAAAAAAABgAABgwCMjQQAdADGgQSBBACAAAAAAAAAAAAAAAHAAAHDAIyNRAB1AMaBBIEEAIAAAAAAAAAAAAAAAgAAAgMAjI2EAHYAxoEEgQQAgAAAAAAAAAAAAAACQAACQwCMjcQAdwDBg3QAhWIBeADBg3QAhWMBeQDBg3QAhWQBegDBg3QAhWUBewDBg3QAhWYBfADBg3QAhWcBfQDBg3QAhWgBfgDBg3QAhWkBfwDBg3QAhWoBYAEBg3QAhWsBYQEBg3QAhWwBYgEBg3QAhW0BYwEBg3QAhW4BZAEBg3QAhW8BZQEBg3QAhXABZgEBg3QAhXEBZwEBg3QAhXIBaAEBg3QAhXMBaQEBg3QAhXQBagEBg3QAhXUBawEBQQDBdgFsAQFBAMF3AW0BAUEAwXgBbgEBgEB5QW6AbwEBgEB7QW6AcAEBgEB8QW6AcQEBgEB9QW6AcgEBgEB+QW6AcwEBgEB/QW6AdAEBgEBgQa6AdQEBgEBhQa6AdgEBgEBiQa6AdwEBgEBjQa6AeAEBgEBkQa6AeQEBgEBlQa6AegEBgEBmQa6AewEBgEBnQa6AfAEBgEBoQa6AfQEBgEBpQa6AfgEBgEBqQa6AfwEBgEBrQa6AYAFBAECBgiEBQQBAhIciAUFBAMFsAaMBQUEAwW0BpAFBQQDBbgGlAUFBAMFvAaYBQUEAwXABpwFBQQDBcQGoAUFBAMFyAakBQUEAwXMBqgFBQQDBdAGrAUFBAMF1AawBQUEAwXYBrQFBQQDBdwGuAUFBAMF4Aa8BQUEAwXkBsAFBQQDBegGxAUFBAMF7AbIBQUEAwXwBswFBQQDBfQG0AUFBAMF+AbUBQUEAwX8BtgFAgEA3AUGAQGBB7oB4AUGAQGFB7oB6gUvQWx0dWEuRGF0YS5JbmZyYXN0cnVjdHVyZS5QYXJhZ3JhcGgsIEFsdHVhLkRhdGHlBboBBQwDBYgH7QW6AQUMAwWMB/EFugEFDAMFkAf1BboBBQwDBZQH+QW6AQUMAwWYB/0FugEFDAMFnAeBBroBBQwDBaAHhQa6AQUMAwWkB4kGugEFDAMFqAeNBroBBQwDBawHkQa6AQUMAwWwB5UGugEFDAMFtAeZBroBBQwDBbgHnQa6AQUMAwW8B6EGugEFDAMFwAelBroBBQwDBcQHqQa6AQUMAwXIB60GugEFDAMFzAewBgYBAdEHugG0BgYBAdUHugG4BgYBAdkHugG8BgYBAd0HugHABgYBAeEHugHEBgYBAeUHugHIBgYBAekHugHMBgYBAe0HugHQBgYBAfEHugHUBgYBAfUHugHYBgYBAfkHugHcBgYBAf0HugHgBgYBAYEIugHkBgYBAYUIugHoBgYBAYkIugHsBgYBAY0IugHwBgYBAZEIugH0BgYBAZUIugH4BgYBAZkIugH8BgYBAZ0IugGBB7oBBQwDBaAIhQe6AQUMAwWkCIgHBgEBqQiLAowHBgEBsQiNApAHBgEBuQiLApQHBgEBvQiLApgHBgEBwQiLApwHBgEBxQiLAqAHBgEByQiNAqQHBgEBzQiNAqgHBgEB0QiLAqwHBgEB1QiNArAHBgEB2QiLArQHBgEB3QiLArgHBgEB4QiLArwHBgEB5QiNAsAHBgEB6QiNAsQHBgEB7QiNAsgHBgEB8QiNAswHBgEB9QiNAtEHugEFDAMF+AjVB7oBBQwDBfwI2Qe6AQUMAwWACd0HugEFDAMFhAnhB7oBBQwDBYgJ5Qe6AQUMAwWMCekHugEFDAMFkAntB7oBBQwDBZQJ8Qe6AQUMAwWYCfUHugEFDAMFnAn5B7oBBQwDBaAJ/Qe6AQUMAwWkCYEIugEFDAMFqAmFCLoBBQwDBawJiQi6AQUMAwWwCY0IugEFDAMFtAmRCLoBBQwDBbgJlQi6AQUMAwW8CZkIugEFDAMFwAmdCLoBBQwDBcQJoAgGAQHJCY0CpAgGAQHNCYsCrggtQWx0dWEuRGF0YS5JbmZyYXN0cnVjdHVyZS5UZXh0UnVuLCBBbHR1YS5EYXRhqQiLAg0ECEluZHVzdHJpDdAJtggvQWx0dWEuRGF0YS5JbmZyYXN0cnVjdHVyZS5OdW1iZXJSdW4sIEFsdHVhLkRhdGGxCI0CEwQOAzLZku+ziUdAHdUJtgIN3Am5CIsCFgQRRmlza2VyaSAvIGhhdmJydWsN4Am9CIsCEwQOQnlnZyBvZyBhbmxlZ2cN4AnBCIsCIwQeVGplbmVzdGV5dGluZyBvZyBrb21tdW5pa2Fzam9uDeAJxQiLAhkEFEpvcmRicnVrIG9nIHNrb2dicnVrDeAJyQiNAhMEDgOu0bdrpHJIQB3VCbYCDdwJzQiNAhMEDgMtXLQTDJxHQB3VCbYCDdwJ0QiLAgwEB0VpZW5kb20N4AnVCI0CEwQOAy/gq2ssAFBAHdUJtgIN3AnZCIsCGAQTSG90ZWxsIC8gcmVzdGF1cmFudA3gCd0IiwIPBApWYXJlaGFuZGVsDeAJ4QiLAgwEB8OYdnJpZ2UN4AnlCI0CEwQOA3IRjkklJE9AHdUJtgIN3AnpCI0CEwQOA6Y5CAV8T0xAHdUJtgIN3AntCI0CEwQOA8Ci6vA1cUtAHdUJtgIN3AnxCI0CEwQOA/WHf6bae01AHdUJtgIN3An1CI0CEwQOA8jZzrMc1kZAHdUJtgIN3An4CAYBAeUJjQL8CAYBAekJiwKACQYBAe0JiwKECQYBAfEJjQKICQYBAfUJjQKMCQYBAfkJiwKQCQYBAf0JjQKUCQYBAYEKjQKYCQYBAYUKiwKcCQYBAYkKjQKgCQYBAY0KjQKkCQYBAZEKiwKoCQYBAZUKiwKsCQYBAZkKjQKwCQYBAZ0KiwK0CQYBAaEKiwK4CQYBAaUKjQK8CQYBAakKiwLACQYBAa0KjQLECQYBAbEKiwLJCY0CEwQOA3oiWVie6EBAHdUJtgIN3AnNCYsCGQQUVHJhbnNwb3J0IG9nIGxhZ3JpbmcN4AnQCRIEABwAJAAsADQAPABMAFQAXQDaCT1BbHR1YS5EYXRhLk51bWJlckZvcm1hdHRpbmcuQ29tcG9zaXRlTnVtYmVyRm9ybWF0LCBBbHR1YS5EYXRh1Qm2AgsdtAoluAo1vAo9ANwJEgQAHAAkACwANAA8AEwAVABdAOAJEgQAHAAkACwANAA8AEwAVABdAOUJjQITBA4DpjkIBXxPTEAdwQq2Ag3ECukJiwIMBAfDmHZyaWdlDcQK7QmLAhgEE0hvdGVsbCAvIHJlc3RhdXJhbnQNxArxCY0CEwQOA/WHf6bae01AHckKtgINxAr1CY0CEwQOAzLZku+ziUdAHc0KtgINxAr5CYsCDAQHRWllbmRvbQ3ECv0JjQITBA4DeiJZWJ7oQEAd0Qq2Ag3ECoEKjQITBA4DrtG3a6RySEAd1Qq2Ag3ECoUKiwIjBB5UamVuZXN0ZXl0aW5nIG9nIGtvbW11bmlrYXNqb24NxAqJCo0CEwQOA3IRjkklJE9AHdkKtgINxAqNCo0CEwQOAy/gq2ssAFBAHd0KtgINxAqRCosCDwQKVmFyZWhhbmRlbA3ECpUKiwITBA5CeWdnIG9nIGFubGVnZw3ECpkKjQITBA4DyNnOsxzWRkAd4Qq2Ag3ECp0KiwIZBBRKb3JkYnJ1ayBvZyBza29nYnJ1aw3ECqEKiwINBAhJbmR1c3RyaQ3ECqUKjQITBA4DLVy0EwycR0Ad5Qq2Ag3ECqkKiwIZBBRUcmFuc3BvcnQgb2cgbGFncmluZw3ECq0KjQITBA4DwKLq8DVxS0Ad6Qq2Ag3ECrEKiwIWBBFGaXNrZXJpIC8gaGF2YnJ1aw3ECrQKCQAADAMF7AoRALgKCQAADAMF8AoRALwKCgQBLAwBLhQCa3LBCrYCCx30CiX4CjX8Cj0AxAoSBAAcACQALAA0ADwATABUAF0AyQq2AgsdgAslhAs1iAs9AM0KtgILHYwLJZALNZQLPQDRCrYCCx2YCyWcCzWgCz0A1Qq2AgsdpAslqAs1rAs9ANkKtgILHbALJbQLNbgLPQDdCrYCCx28CyXACzXECz0A4Qq2AgsdyAslzAs10As9AOUKtgILHdQLJdgLNdwLPQDpCrYCCx3gCyXkCzXoCz0A7AoGAQHtC/wC8AoKAQL1C/4C/Qv8AvQKCQAADAMFgAwRAPgKCQAADAMFhAwRAPwKCgQBLAwBLhQCa3KACwkAAAwDBYgMEQCECwkAAAwDBYwMEQCICwoEASwMAS4UAmtyjAsJAAAMAwWQDBEAkAsJAAAMAwWUDBEAlAsKBAEsDAEuFAJrcpgLCQAADAMFmAwRAJwLCQAADAMFnAwRAKALCgQBLAwBLhQCa3KkCwkAAAwDBaAMEQCoCwkAAAwDBaQMEQCsCwoEASwMAS4UAmtysAsJAAAMAwWoDBEAtAsJAAAMAwWsDBEAuAsKBAEsDAEuFAJrcrwLCQAADAMFsAwRAMALCQAADAMFtAwRAMQLCgQBLAwBLhQCa3LICwkAAAwDBbgMEQDMCwkAAAwDBbwMEQDQCwoEASwMAS4UAmty1AsJAAAMAwXADBEA2AsJAAAMAwXEDBEA3AsKBAEsDAEuFAJrcuALCQAADAMFyAwRAOQLCQAADAMFzAwRAOgLCgQBLAwBLhQCa3LyC0JBbHR1YS5EYXRhLk51bWJlckZvcm1hdHRpbmcuTnVtYmVyRm9ybWF0R2VuZXJhbFNlZ21lbnQsIEFsdHVhLkRhdGHtC/wCAPoLP0FsdHVhLkRhdGEuTnVtYmVyRm9ybWF0dGluZy5OdW1iZXJGb3JtYXRUZXh0U2VnbWVudCwgQWx0dWEuRGF0YfUL/gIFBAEtCQH9C/wCAIAMBgEB0Qz8AoQMCgEC1Qz+AtEM/AKIDAYBAdkM/AKMDAoBAt0M/gLZDPwCkAwGAQHhDPwClAwKAQLlDP4C4Qz8ApgMBgEB6Qz8ApwMCgEC7Qz+AukM/AKgDAYBAfEM/AKkDAoBAvUM/gLxDPwCqAwGAQH5DPwCrAwKAQL9DP4C+Qz8ArAMBgEBgQ38ArQMCgEChQ3+AoEN/AK4DAYBAYkN/AK8DAoBAo0N/gKJDfwCwAwGAQGRDfwCxAwKAQKVDf4CkQ38AsgMBgEBmQ38AswMCgECnQ3+ApkN/ALRDPwCANUM/gIFBAEtCQHZDPwCAN0M/gIFBAEtCQHhDPwCAOUM/gIFBAEtCQHpDPwCAO0M/gIFBAEtCQHxDPwCAPUM/gIFBAEtCQH5DPwCAP0M/gIFBAEtCQGBDfwCAIUN/gIFBAEtCQGJDfwCAI0N/gIFBAEtCQGRDfwCAJUN/gIFBAEtCQGZDfwCAJ0N/gIFBAEtCQE="/>
  <p:tag name="GRUNT-RENDERHASH" val="45ea4c45fd169079d23ebd96eb944da8-svg"/>
  <p:tag name="GRUNT-X-SHAPEBOUNDS" val="ASIBBAAAAABTCH9AAAAAoPxFXUAAAADgRBR2QAAAAAAHxHVAAA=="/>
  <p:tag name="GRUNT-X-PAGEOBJECT" val="AQUCnTAKOEFsdHVhLk9hay5Db3JlLkRvY3VtZW50TW9kZWwuQ2hhcnRPYmplY3QsIEFsdHVhLk9hay5Db3JlBQI1BBIEEEctpeNohqNOqvk1I2tbCu0MEgQQx+ImEwOEvEGBCo2qaMXKNRUNBCUUNRg9HFUgZSQSUEFsdHVhLk9hay5Db3JlLkRvY3VtZW50TW9kZWwuVGVtcGxhdGluZy5DdXN0b21Qb3NpdGlvbkRlZmluaXRpb24sIEFsdHVhLk9hay5Db3JlDQQkBCIBBKZKu7gxsIVAAAAAoPxVXUBAzjVxgTxhQJC1uvIGvHVAFBMVKB0sNTA4AEU1DkwCBTxVQF1EGAQEAgVIHAIFTCALBVAMBW5iLU5PFVQkDgEBCQERARkBIQEpATEBKBYEEgQQAAAAAAAAAAAAAAAAAAAAAAgBLBYEEgQQAAAAAAAAAAAAAAAAAAAAAAgBMAA6RUFsdHVhLk9hay5Db3JlLkNoYXJ0LlN0YWNrZWRCYXJXaXRoTGluZVBsb3REZWZpbml0aW9uLCBBbHR1YS5PYWsuQ29yZTUOMgQSBBDF8YhcyACgQpKqKyGfI//vHAIFWCVcNWA8AgVkSQBtaKUBbRypAQC1AXUevQF8PBQBCYABhAGIAYwBkAGUAZgBnAGgAUAFBaQBDQBEAgEASAIBAEwAUAoEASwMASAUAmtyVAkEBW5iLU5PCAFYBAEBqAFcDQABCAEUAwWsARwAJQBgJgQiAQQAAAAAAAAQQAAAAAAAABBAAAAAAAAAEEAAAAAAAAAQQAgEZAIBAGgLAwAAAAAAAExACCByRUFsdHVhLk9hay5Db3JlLlBsb3R0aW5nLkF1dG9tYXRpY0NhdGVnb3J5QXhpc1NldHRpbmdzLCBBbHR1YS5PYWsuQ29yZW0cEwEBDbABEAAZATAAPbQBRbgBSAF6PUFsdHVhLk9hay5Db3JlLlRoZW1pbmcuUGFnZUNvbG9yU2NoZW1lUG9pbnRlciwgQWx0dWEuT2FrLkNvcmV1HgB8SjW8AT3AAUXEAVXIAV3MAXXQAY0B1AGdAdgBpQHcAa0B4AHNAeQB1QHoAd0B7AHlAfAB7QH0AfUB+AH9AfwBhQKAAo0ChAKVAogCgAFIBBIEEAIAAAAAAAAAAAAAAAEAAAEkEgQQXKzRXilRqVay1jhQyXfBXCwSBBCuCesUbD4VRpH5t+L7qLynPY0CREWUAkkBXZgChAFIBBIEEAIAAAAAAAAAAAAAAAIAAAIkEgQQK9Q/zMNAyVqICqC7w15FMiwSBBCuCesUbD4VRpH5t+L7qLynPY0CREWcAkkBXaACiAFIBBIEEAIAAAAAAAAAAAAAAAMAAAMkEgQQqqQrG/MeelmamuZtwXcMACwSBBCuCesUbD4VRpH5t+L7qLynPY0CREWkAkkBXagCjAFIBBIEEAIAAAAAAAAAAAAAAAQAAAQkEgQQaNe1CnwdDV+X6kACTokX6SwSBBCuCesUbD4VRpH5t+L7qLynPY0CREWsAkkBXbACkAFIBBIEEAIAAAAAAAAAAAAAAAUAAAUkEgQQybub/E+TYl6UEE5Tan/AdCwSBBCuCesUbD4VRpH5t+L7qLynPY0CREW0AkkBXbgClAFIBBIEEAIAAAAAAAAAAAAAAAYAAAYkEgQQeGmuq9ZCvVSlSR3zx2AZnywSBBCuCesUbD4VRpH5t+L7qLynPY0CREW8AkkBXcACmAFIBBIEEAIAAAAAAAAAAAAAAAcAAAckEgQQU0AQaTrMX1mPrXmTN83rNywSBBCuCesUbD4VRpH5t+L7qLynPY0CREXEAkkBXcgCnAFIBBIEEAIAAAAAAAAAAAAAAAgAAAgkEgQQouOgBBe93FCbxRcUv5GkkiwSBBCuCesUbD4VRpH5t+L7qLynPY0CREXMAkkBXdACoAFIBBIEEAIAAAAAAAAAAAAAAAkAAAkkEgQQXeerc9NywVaIKkAxdJPDTCwSBBCuCesUbD4VRpH5t+L7qLynPY0CREXUAkkBXdgCpAEAqAFCAQAYAyXcAikAMQBAA0gCVeACXeQCZBIEEK4J6xRsPhVGkfm34vuovKdt6AJ17AKNAfACkQEBnQH0AqUB+AK1AfwCrAECAQCwAQIBALQBBgWBA2EIBLgBBgWJA2EIBLwBBQQDBYwDwAEFBAMFkAPEAQUEAwWUA8gBBQQDBZgDzAEFBAMFjAPQAQUEAwWMA9QBBQQDBZwD2AEFBAMFoAPcAQUEAwWkA+ABBQQDBagD5AEFBAMFrAPoAQUEAwWwA+wBBQQDBbQD8AEFBAMFuAP0AQUEAwW8A/gBBQQDBcAD/AEFBAMFxAOAAgUEAwXIA4QCBQQDBcwDiAIFBAMF0AOSAj5BbHR1YS5PYWsuQ29yZS5DaGFydC5EZWZhdWx0UGxvdFNlcmllc1NldHRpbmdzLCBBbHR1YS5PYWsuQ29yZY0CRACUAgQFAAgBmAIFBdQDCAGcAgQFAAgBoAIFBdQDCAGkAgQFAAgBqAIFBdQDCAGsAgQFAAgBsAIFBdQDCAG0AgQFAAgBuAIFBdQDCAG8AgQFAAgBwAIFBdQDCAHEAgQFAAgByAIFBdQDCAHMAgQFAAgB0AIFBdQDCAHUAgQFAAgB2AIFBdQDCAHcAgsDAAAAAAAAAAAIAeACCwMAAAAAAAAAAAgB5AILAwAAAAAAAAAACAHoAhUF2AMN3AMV4AMd5AMl6AMt7AM18APsAgcN9AMV+QNh8AILAwAAAAAAAAAACAT0AgYF/QNhCAT4AgYF/QNhCAT8AgUEAwWABIYDM0FsdHVhLk9hay5Db3JlLlRoZW1pbmcuQ29sb3JQb2ludGVyLCBBbHR1YS5PYWsuQ29yZYEDYVBQUP+JA2FQUFD/jAMCAQCQAw4BBoQEiASMBJAElASYBJQDBAEBnASYAwIBAJwDAgEAoAMCAQCkAwwBBaAEpASoBKwEsASoAwIBAKwDDgEGtAS4BLwEwATEBMgEsAMUAQnMBNAE1ATYBNwE4ATkBOgE7AS0AwIBALgDBAEB8AS8AwoBBPQE+AT8BIAFwAMCAQDEAwIBAMgDAgEAzAMEAQGEBdADAgEA1AMFBAMFiAXYAwcEAwQBAAgE3AMFBAEuCATgAwQAAQgE5AMEAAAIBOgDBAQACATsAwQEAAgE8AMEAAAIBPQDBQQDBYwF+QNhPj7l//0DYVBQUP+ABAIBAIQEDgWRBaUBCwAAAAAAAAAAiAQOBZkFpwELAAAAAAAAAACMBA4FoQWpAQsAAAAAAADgP5AEDgWpBasBCwAAAAAAAOA/lAQOBbEFrQELAAAAAAAA4D+YBA4FuQWvAQsAAAAAAAD4P5wECAXBBa0BDcQFoAQKBckFswEN0QW1AaQECgXZBaUBDd0FuAGoBAoF5QWpAQ3pBbgBrAQKBe0FqwEN8QW4AbAECQX1Bb4BDf0FYbQEBwWBBsEBCQC4BAcFiQbDAQkBvAQHBZEGxQEJAcAEBwWZBscBCQHEBAcFoQbJAQkByAQHBakGywEJAcwECgWxBs0BDbkGzwHQBAoFwQbRAQ3JBtMB1AQKBdEG1QEN2QbXAdgECgXhBtUBDeUG2gHcBAoF7QbFAQ3lBtoB4AQKBfEGwQEN9QbeAeQECgX9BscBDfUG3gHoBAoFgQfJAQ2FB+IB7AQKBakGywENjQfkAfAECgWVB+YBDZ0H6AH0BAoFpQfBAQ2pB+sB+AQKBbEH0QENtQfrAfwECgW5B8cBDb0H6wGABQoFwQfNAQ3FB+sBhAUKBckHxQENzQf0AYgFAgEAjAUEAQIBBJYFU0FsdHVhLk9hay5Db3JlLk1vZGlmaWNhdGlvbi5TdHlsaW5nLkFsbFZhbHVlQXhpc0N1c3RvbWl6YXRpb25UYXJnZXQsIEFsdHVhLk9hay5Db3JlkQWlAQCeBVlBbHR1YS5PYWsuQ29yZS5Nb2RpZmljYXRpb24uU3R5bGluZy5WYWx1ZUF4aXNHcmlkbGluZXNDdXN0b21pemF0aW9uVGFyZ2V0LCBBbHR1YS5PYWsuQ29yZZkFpwEApgVTQWx0dWEuT2FrLkNvcmUuTW9kaWZpY2F0aW9uLlN0eWxpbmcuQ2F0ZWdvcnlBeGlzQ3VzdG9taXphdGlvblRhcmdldCwgQWx0dWEuT2FrLkNvcmWhBakBAK4FUEFsdHVhLk9hay5Db3JlLk1vZGlmaWNhdGlvbi5TdHlsaW5nLk9yaWdvTGluZUN1c3RvbWl6YXRpb25UYXJnZXQsIEFsdHVhLk9hay5Db3JlqQWrAQC2BV1BbHR1YS5PYWsuQ29yZS5Nb2RpZmljYXRpb24uU3R5bGluZy5BbGxDb25uZWN0b3JzQXV4aWxpYXJ5Q3VzdG9taXphdGlvblRhcmdldCwgQWx0dWEuT2FrLkNvcmWxBa0BAL4FWUFsdHVhLk9hay5Db3JlLk1vZGlmaWNhdGlvbi5TdHlsaW5nLlNlcmllc1dpdGhQbG90S2luZEN1c3RvbWl6YXRpb25UYXJnZXQsIEFsdHVhLk9hay5Db3JluQWvAQMF1AfBBa0BAMQFBQwDBdgHzgVWQWx0dWEuT2FrLkNvcmUuTW9kaWZpY2F0aW9uLlN0eWxpbmcuQWxsU2VyaWVzTWFya2VyQ3VzdG9taXphdGlvblRhcmdldCwgQWx0dWEuT2FrLkNvcmXJBbMBANYFOkFsdHVhLk9hay5Db3JlLlRoZW1pbmcuQmluZGluZ0NvbG9yUG9pbnRlciwgQWx0dWEuT2FrLkNvcmXRBbUBBQXdB/gB2QWlAQDiBTdBbHR1YS5PYWsuQ29yZS5UaGVtaW5nLlBhZ2VDb2xvclBvaW50ZXIsIEFsdHVhLk9hay5Db3Jl3QW4AQQAAAgA5QWpAQDpBbgBBAAACADtBasBAPEFuAEEAAAIAPoFU0FsdHVhLk9hay5Db3JlLk1vZGlmaWNhdGlvbi5TdHlsaW5nLkFsbEdyaWRsaW5lc0N1c3RvbWl6YXRpb25UYXJnZXQsIEFsdHVhLk9hay5Db3Jl9QW+AQD9BWGAgID/hgZYQWx0dWEuT2FrLkNvcmUuTW9kaWZpY2F0aW9uLlN0eWxpbmcuQWxsVmFsdWVBeGlzTGFiZWxDdXN0b21pemF0aW9uVGFyZ2V0LCBBbHR1YS5PYWsuQ29yZYEGwQEAjgZmQWx0dWEuT2FrLkNvcmUuTW9kaWZpY2F0aW9uLlN0eWxpbmcuU3RhY2tlZEJhckF1dG9tYXRpY1NlZ21lbnRMYWJlbEN1c3RvbWl6YXRpb25UYXJnZXQsIEFsdHVhLk9hay5Db3JliQbDAQCWBlVBbHR1YS5PYWsuQ29yZS5Nb2RpZmljYXRpb24uU3R5bGluZy5BbGxUb3RhbExhYmVsc0N1c3RvbWl6YXRpb25UYXJnZXQsIEFsdHVhLk9hay5Db3JlkQbFAQCeBldBbHR1YS5PYWsuQ29yZS5Nb2RpZmljYXRpb24uU3R5bGluZy5BbGxDYXRlZ29yeUxhYmVsQ3VzdG9taXphdGlvblRhcmdldCwgQWx0dWEuT2FrLkNvcmWZBscBAKYGWEFsdHVhLk9hay5Db3JlLk1vZGlmaWNhdGlvbi5TdHlsaW5nLkFsbEF1eGlsaWFyeUxhYmVsQ3VzdG9taXphdGlvblRhcmdldCwgQWx0dWEuT2FrLkNvcmWhBskBAK4GWEFsdHVhLk9hay5Db3JlLk1vZGlmaWNhdGlvbi5TdHlsaW5nLlNlcmllc0xhYmVsT2ZUeXBlQ3VzdG9taXphdGlvblRhcmdldCwgQWx0dWEuT2FrLkNvcmWpBssBAgACtgZYQWx0dWEuT2FrLkNvcmUuTW9kaWZpY2F0aW9uLlN0eWxpbmcuQ2F0ZWdvcnlBeGlzVGl0bGVDdXN0b21pemF0aW9uVGFyZ2V0LCBBbHR1YS5PYWsuQ29yZbEGzQEAvgZCQWx0dWEuT2FrLkNvcmUuUGxvdHRpbmcuQXhpc1RpdGxlTGFiZWxQbGFjZW1lbnRGYXIsIEFsdHVhLk9hay5Db3JluQbPAQIAAMYGXUFsdHVhLk9hay5Db3JlLk1vZGlmaWNhdGlvbi5TdHlsaW5nLkFsbFZhbHVlQXhpc1RpdGxlTGFiZWxDdXN0b21pemF0aW9uVGFyZ2V0LCBBbHR1YS5PYWsuQ29yZcEG0QEAzgZGQWx0dWEuT2FrLkNvcmUuUGxvdHRpbmcuQXhpc1RpdGxlTGFiZWxQbGFjZW1lbnRPdXRzaWRlLCBBbHR1YS5PYWsuQ29yZckG0wECAAHWBl9BbHR1YS5PYWsuQ29yZS5Nb2RpZmljYXRpb24uU3R5bGluZy5TZXJpZXNMYWJlbHNXaXRoUGxvdEtpbmRDdXN0b21pemF0aW9uVGFyZ2V0LCBBbHR1YS5PYWsuQ29yZdEG1QEFBeQHCADeBjxBbHR1YS5PYWsuQ29yZS5QbG90dGluZy5MYWJlbFBsYWNlbWVudEluc2lkZSwgQWx0dWEuT2FrLkNvcmXZBtcBBAABCAHhBtUBBQXoBwgA6gY9QWx0dWEuT2FrLkNvcmUuUGxvdHRpbmcuTGFiZWxQbGFjZW1lbnRPdXRzaWRlLCBBbHR1YS5PYWsuQ29yZeUG2gEA7QbFAQDxBsEBAPoGQUFsdHVhLk9hay5Db3JlLlBsb3R0aW5nLkF4aXNMYWJlbFBsYWNlbWVudE91dHNpZGUsIEFsdHVhLk9hay5Db3Jl9QbeAQIBAP0GxwEAgQfJAQCKB0ZBbHR1YS5PYWsuQ29yZS5QbG90dGluZy5BdXhpbGlhcnlMYWJlbFBsYWNlbWVudERlZmF1bHQsIEFsdHVhLk9hay5Db3JlhQfiAQCSB0NBbHR1YS5PYWsuQ29yZS5QbG90dGluZy5MYWJlbFBsYWNlbWVudFNlcmllc091dHNpZGUsIEFsdHVhLk9hay5Db3JljQfkAQIAAJoHUEFsdHVhLk9hay5Db3JlLk1vZGlmaWNhdGlvbi5TdHlsaW5nLkFsbExhYmVsc0N1c3RvbWl6YXRpb25UYXJnZXQsIEFsdHVhLk9hay5Db3JllQfmAQCiB0JBbHR1YS5PYWsuQ29yZS5TeW50YXhTdHJ1Y3R1cmUuQWN0dWFsRm9udFNpemVWYWx1ZSwgQWx0dWEuT2FrLkNvcmWdB+gBCQMAAAAAAAAoQKUHwQEArgdDQWx0dWEuT2FrLkNvcmUuU3ludGF4U3RydWN0dXJlLkFjdHVhbEZvbnRDb2xvclZhbHVlLCBBbHR1YS5PYWsuQ29yZakH6wEFBe0HuAGxB9EBALUH6wEFBfEHuAG5B8cBAL0H6wEFBfUHuAHBB80BAMUH6wEFBfkHuAHJB8UBANIHRkFsdHVhLk9hay5Db3JlLlN5bnRheFN0cnVjdHVyZS5BY3R1YWxOdW1iZXJGb3JtYXRWYWx1ZSwgQWx0dWEuT2FrLkNvcmXNB/QBBQX9B4AC1AcBBdgHCgECAACAQAAAQEDiB0hBbHR1YS5PYWsuQ29yZS5TeW50YXhTdHJ1Y3R1cmUuUGxvdFNlcmllc0JpbmRpbmdTdHJhdGVneSwgQWx0dWEuT2FrLkNvcmXdB/gBAOQHAgAB6AcBBe0HuAEEAAAIAPEHuAEEAAAIAPUHuAEEAAAIAPkHuAEEAAAIAIIIPUFsdHVhLkRhdGEuTnVtYmVyRm9ybWF0dGluZy5Db21wb3NpdGVOdW1iZXJGb3JtYXQsIEFsdHVhLkRhdGH9B4ACCx2ECCWICDWMCD0AhAgJAAAMAwWQCBEBiAgJAAAMAwWUCBEBjAgKBAEsDAEuFAJrcpAIBgEBmQiHApQICgECoQiJApkIhwKeCEBBbHR1YS5EYXRhLk51bWJlckZvcm1hdHRpbmcuTnVtYmVyRm9ybWF0VmFsdWVTZWdtZW50LCBBbHR1YS5EYXRhmQiHAgUEAwWoCKYIP0FsdHVhLkRhdGEuTnVtYmVyRm9ybWF0dGluZy5OdW1iZXJGb3JtYXRUZXh0U2VnbWVudCwgQWx0dWEuRGF0YaEIiQIFBAEtCQGoCBIBBK0IjAKtCIwCrQiMArUIjAKyCDlBbHR1YS5EYXRhLk51bWJlckZvcm1hdHRpbmcuTnVtYmVyUGxhY2Vob2xkZXIsIEFsdHVhLkRhdGGtCIwCBQIAAAAAtQiMAgUCMAAAAA=="/>
  <p:tag name="GRUNT-SYNC" val="783694cb6ab64c37a9f1ea87fad90e2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7REKN0FsdHVhLkRhdGEuRGF0YVNlcnZpY2VzLkVtYmVkZGVkRGF0YVNlcnZpY2UsIEFsdHVhLkRhdGEFAhkEEgQQEVUpI0CnzkCS5HVu8L22hA0MJREFDAYFGAgUEAcWQUFsdHVhLkRhdGEuRGF0YVNlcnZpY2VzLkVtYmVkZGVkRGF0YVNlcnZpY2VFZGl0b3JEYXRhLCBBbHR1YS5EYXRhEQUEBRwNIBgGBSQNKBUsHB4dBBIEEB/rjDimIctLiTIXQgTfWDQLAAAAAAAgYkAgHh0EEgQQhB+R4huFNUGwuFZrPUlJDwsAAAAAAAAyQCQEMDQ4PCgCQEQs6AIsBCgEEgQQ2o0rEHtPmkyZRivzTi/4HAwSBBBfl5CXxFq7QpsQMAZxTsVZDUgsBCgEEgQQH+uMOKYhy0uJMhdCBN9YNAwSBBBfl5CXxFq7QpsQMAZxTsVZDUwsBCgEEgQQlJCa45USdUiMfWXS4u7tNQwSBBD5LFn+/d9vRbn+Z9Mj0qsjDVAsBCgEEgQQ2o0rEHtPmkyZRivzTi/4HAwSBBD5LFn+/d9vRbn+Z9Mj0qsjDVQsBCgEEgQQ6DZfv7FkHkOMacLBZsR3wgwSBBD5LFn+/d9vRbn+Z9Mj0qsjDVgsBCgEEgQQlJCa45USdUiMfWXS4u7tNQwSBBBfl5CXxFq7QpsQMAZxTsVZDVwsBCgEEgQQH+uMOKYhy0uJMhdCBN9YNAwSBBD5LFn+/d9vRbn+Z9Mj0qsjDWAsBCgEEgQQ6DZfv7FkHkOMacLBZsR3wgwSBBBfl5CXxFq7QpsQMAZxTsVZDWQwGgQSBBDajSsQe0+aTJlGK/NOL/gcDAJDMRAANBoEEgQQH+uMOKYhy0uJMhdCBN9YNAwCQzIQADgbBBIEEJSQmuOVEnVIjH1l0uLu7TUMA0MxOBAAPBsEEgQQ6DZfv7FkHkOMacLBZsR3wgwDQzE5EABAGgQSBBBfl5CXxFq7QpsQMAZxTsVZDAJSMRAARBoEEgQQ+SxZ/v3fb0W5/mfTI9KrIwwCUjMQAEgEDWgVbEwEDWgVcFAEDXQVeFQEDWgVfFgFDXQVgAFcBQ10FYQBYAUNaBWIAWQFDXQVjAFoAgQAbAUEAwWQAXAFBAMFlAF0AgQAeAUEAwWYAXwFBAMFnAGAAQUEAwWgAYQBBQQDBaQBiAEFBAMFqAGMAQUEAwWsAZABAgEAlAEFAQGxAS2YAQUBAbkBLZwBAgEAoAEFAQG9AS2kAQUBAcEBLagBBQEBxQEtrAEFAQHJAS22AS9BbHR1YS5EYXRhLkluZnJhc3RydWN0dXJlLlBhcmFncmFwaCwgQWx0dWEuRGF0YbEBLQUMAwXMAbkBLQUMAwXQAb0BLQUMAwXUAcEBLQUMAwXYAcUBLQUMAwXcAckBLQUMAwXgAcwBBQEB5QE60AEFAQHtATrUAQUBAfEBOtgBBQEB9QE63AEFAQH5ATrgAQUBAf0BOuoBL0FsdHVhLkRhdGEuSW5mcmFzdHJ1Y3R1cmUuTnVtYmVyUnVuLCBBbHR1YS5EYXRh5QE6EgQNAwAAAAAAlJ9AHYECQQ2IAu0BOhIEDQMAAAAAAIBBQB2NAkENkALxAToSBA0DAAAAAAAAPEAdlQJBDZgC9QE6EgQNAwAAAAAAnJ9AHZ0CQQ2gAvkBOhIEDQMAAAAAAABAQB2lAkENqAL9AToSBA0DAAAAAACgn0AdrQJBDbAChgI9QWx0dWEuRGF0YS5OdW1iZXJGb3JtYXR0aW5nLkNvbXBvc2l0ZU51bWJlckZvcm1hdCwgQWx0dWEuRGF0YYECQQsdtAIluAI1vAI9AIgCEgQAHAAkACwANAA8AEwAVABdAI0CQQsdwAIlxAI1yAI9AJACEgQAHAAkACwANAA8AEwAVABdAJUCQQsdzAIl0AI11AI9AJgCEgQAHAAkACwANAA8AEwAVABdAJ0CQQsd2AIl3AI14AI9AKACEgQAHAAkACwANAA8AEwAVABdAKUCQQsd5AIl6AI17AI9AKgCEgQAHAAkACwANAA8AEwAVABdAK0CQQsd8AIl9AI1+AI9ALACEgQAHAAkACwANAA8AEwAVABdALQCCQAADAMF/AIRALgCCQAADAMFgAMRALwCCgQBLAwBLhQCa3LAAgkAAAwDBYQDEQDEAgkAAAwDBYgDEQDIAgoEASwMAS4UAmtyzAIJAAAMAwWMAxEA0AIJAAAMAwWQAxEA1AIKBAEsDAEuFAJrctgCCQAADAMFlAMRANwCCQAADAMFmAMRAOACCgQBLAwBLhQCa3LkAgkAAAwDBZwDEQDoAgkAAAwDBaADEQDsAgoEASwMAS4UAmty8AIJAAAMAwWkAxEA9AIJAAAMAwWoAxEA+AIKBAEsDAEuFAJrcvwCBQEBrQNsgAMIAQK1A26tA2yEAwUBAb0DbIgDCAECwQNuvQNsjAMFAQHFA2yQAwgBAskDbsUDbJQDBQEBzQNsmAMIAQLRA27NA2ycAwUBAdUDbKADCAEC2QNu1QNspAMFAQHdA2yoAwgBAuEDbt0DbLIDQEFsdHVhLkRhdGEuTnVtYmVyRm9ybWF0dGluZy5OdW1iZXJGb3JtYXRWYWx1ZVNlZ21lbnQsIEFsdHVhLkRhdGGtA2wFBAMF5AO6Az9BbHR1YS5EYXRhLk51bWJlckZvcm1hdHRpbmcuTnVtYmVyRm9ybWF0VGV4dFNlZ21lbnQsIEFsdHVhLkRhdGG1A24FBAEtCQG9A2wFBAMF6APBA24FBAEtCQHFA2wFBAMF7APJA24FBAEtCQHNA2wFBAMF8APRA24FBAEtCQHVA2wFBAMF9APZA24FBAEtCQHdA2wFBAMF+APhA24FBAEtCQHkAwYBAf0DgAHoAwYBAYUEgAHsAwYBAYUEgAHwAwYBAf0DgAH0AwYBAYUEgAH4AwYBAf0DgAGCBDlBbHR1YS5EYXRhLk51bWJlckZvcm1hdHRpbmcuTnVtYmVyUGxhY2Vob2xkZXIsIEFsdHVhLkRhdGH9A4ABBQIwAAAAhQSAAQUCMAAAAA=="/>
  <p:tag name="GRUNT-RENDERHASH" val="821c8d481de052d2b86a1e80778866d2-svg"/>
  <p:tag name="GRUNT-X-SHAPEBOUNDS" val="ASIBBAAAAGAArH5AAAAAYAm9dUAAAAAgfYpmQAAAAEAcp1ZAAA=="/>
  <p:tag name="GRUNT-X-PAGEOBJECT" val="AQUCszAKOEFsdHVhLk9hay5Db3JlLkRvY3VtZW50TW9kZWwuQ2hhcnRPYmplY3QsIEFsdHVhLk9hay5Db3JlBQI1BBIEEPno8PvfLkBBiZbG5FbTHhcMEgQQEVUpI0CnzkCS5HVu8L22hBUNBCUUNRg9HFUgZSQSUEFsdHVhLk9hay5Db3JlLkRvY3VtZW50TW9kZWwuVGVtcGxhdGluZy5DdXN0b21Qb3NpdGlvbkRlZmluaXRpb24sIEFsdHVhLk9hay5Db3JlDQQkBCIBBAAAAGAAsH5AlA5VXQm9dUB8/98tfXpmQKCoHquCDVJAFBMVKB0sNTA4AEU1DkwCBTxVQF1EGAQEAgVIHAIFTCALBVAMBW5iLU5PFVQkDgEBCQERARkBIQEpATEBKBYEEgQQAAAAAAAAAAAAAAAAAAAAAAgBLBYEEgQQAAAAAAAAAAAAAAAAAAAAAAgBMAA6RUFsdHVhLk9hay5Db3JlLkNoYXJ0LlN0YWNrZWRCYXJXaXRoTGluZVBsb3REZWZpbml0aW9uLCBBbHR1YS5PYWsuQ29yZTUOMgQSBBCDx5SYm5alTbXymApxVi+aHAIFWCVcNWA8AgVkSQFtaKUBbRypAQC1AXUevQF8PAgBA4ABhAGIAUAFBYwBDQBEAgEASAIBAEwAUAoEASwMASAUAmtyVAkEBW5iLU5PCAFYBAEBkAFcDQAACAEUAwWUARwAJQBgJgQiAQQAAAAAAAAQQAAAAAAAABBAAAAAAAAAEEAAAAAAAAAQQAgEZAIBAGgLAwAAAAAAAExACCByRUFsdHVhLk9hay5Db3JlLlBsb3R0aW5nLkF1dG9tYXRpY0NhdGVnb3J5QXhpc1NldHRpbmdzLCBBbHR1YS5PYWsuQ29yZW0cEwEBDZgBEAAZATAAPZwBRaABSAF6PUFsdHVhLk9hay5Db3JlLlRoZW1pbmcuUGFnZUNvbG9yU2NoZW1lUG9pbnRlciwgQWx0dWEuT2FrLkNvcmV1HgB8SjWkAT2oAUWsAVWwAV20AXW4AY0BvAGdAcABpQHEAa0ByAHNAcwB1QHQAd0B1AHlAdgB7QHcAfUB4AH9AeQBhQLoAY0C7AGVAvABgAFIBBIEEPksWf79329Fuf5n0yPSqyMkEgQQ3hL/oLfjmVGNga5GutPNVSwSBBDn+ESdEcTbTbQY5kXR+1zqPfUBPkX8AUkBXYAChAFIBBIEEDcGo+sqLPlEoN7fVizMk+kkEgQQMJ2TYTolGkK3RQAIzlWRyCwSBBDn+ESdEcTbTbQY5kXR+1zqPfUBPkWEAkkBXYgCiAFIBBIEEAGyzXmkVClLgqXavEFNH6IkEgQQAD5WEZ5ML02lAL46Aub+8CwSBBDn+ESdEcTbTbQY5kXR+1zqPfUBPkWMAkkBXZACjAEGlAKYApwCkAFCAQEYAyWgAikAMQBAAEgCVaQCXagCZBIEEOf4RJ0RxNtNtBjmRdH7XOptrAJ1sAKNAbQCkQEBnQG4AqUBvAK1AcAClAECAQCYAQIBAJwBBgXFAlIIBKABBgXNAlIIBKQBBQQDBdACqAEFBAMF1AKsAQUEAwXYArABBQQDBdwCtAEFBAMF0AK4AQUEAwXQArwBBQQDBeACwAEFBAMF5ALEAQUEAwXoAsgBBQQDBewCzAEFBAMF8ALQAQUEAwX0AtQBBQQDBfgC2AEFBAMF/ALcAQUEAwWAA+ABBQQDBYQD5AEFBAMFiAPoAQUEAwWMA+wBBQQDBZAD8AEFBAMFlAP6AT5BbHR1YS5PYWsuQ29yZS5DaGFydC5EZWZhdWx0UGxvdFNlcmllc1NldHRpbmdzLCBBbHR1YS5PYWsuQ29yZfUBPgD8AQQFAAgBgAIFBZgDCAGEAgQFAAgBiAIFBZwDCAGMAgQFAAgBkAIFBaADCAGUAioEEgQQtnl8ctBB8lCqeXW5srpkmwwSBBAf64w4piHLS4kyF0IE31g0EQGYAioEEgQQAr/yvDh4IEqYZ3XiBjL4FwwSBBCUkJrjlRJ1SIx9ZdLi7u01EQGcAioEEgQQEjRGWHB8Q0GamGaB9neQzQwSBBDoNl+/sWQeQ4xpwsFmxHfCEQGgAgsDAAAAAAAAAAAIAaQCCwMAAAAAAAAAAAgBqAILAwAAAAAAAAAACAGsAhUFpAMNqAMVrAMdsAMltAMtuAM1vAOwAgcNwAMVxQNStAILAwAAAAAAAAAACAS4AgYFyQNSCAS8AgYFyQNSCATAAgUEAwXMA8oCM0FsdHVhLk9hay5Db3JlLlRoZW1pbmcuQ29sb3JQb2ludGVyLCBBbHR1YS5PYWsuQ29yZcUCUlBQUP/NAlJQUFD/0AICAQDUAg4BBtAD1APYA9wD4APkA9gCBAEB6APcAgIBAOACAgEA5AICAQDoAgwBBewD8AP0A/gD/APsAgIBAPACDgEGgASEBIgEjASQBJQE9AIUAQmYBJwEoASkBKgErASwBLQEuAT4AgIBAPwCBAEBvASAAwoBBMAExATIBMwEhAMCAQCIAwIBAIwDAgEAkAMCAQCUAwIBAJgDBQQDBdAEnAMFBAMF1ASgAwUEAwXYBKQDBwQDBAEACASoAwUEAS4IBKwDBAABCASwAwQAAAgEtAMEBAAIBLgDBAQACAS8AwQAAAgEwAMFBAMF3ATFA1I+PuX/yQNSUFBQ/8wDAgEA0AMOBeEEmQELAAAAAAAAAADUAw4F6QSbAQsAAAAAAAAAANgDDgXxBJ0BCwAAAAAAAOA/3AMOBfkEnwELAAAAAAAA4D/gAw4FgQWhAQsAAAAAAADgP+QDDgWJBaMBCwAAAAAAAPg/6AMIBZEFoQENlAXsAwoFmQWnAQ2hBakB8AMKBakFmQENrQWsAfQDCgW1BZ0BDbkFrAH4AwoFvQWfAQ3BBawB/AMJBcUFsgENzQVSgAQHBdEFtQEJAIQEBwXZBbcBCQGIBAcF4QW5AQkBjAQHBekFuwEJAZAEBwXxBb0BCQGUBAcF+QW/AQkBmAQKBYEGwQENiQbDAZwECgWRBsUBDZkGxwGgBAoFoQbJAQ2pBssBpAQKBbEGyQENtQbOAagECgW9BrkBDbUGzgGsBAoFwQa1AQ3FBtIBsAQKBc0GuwENxQbSAbQECgXRBr0BDdUG1gG4BAoF+QW/AQ3dBtgBvAQKBeUG2gEN7QbcAcAECgX1BrUBDfkG3wHEBAoFgQfFAQ2FB98ByAQKBYkHuwENjQffAcwECgWRB8EBDZUH3wHQBAYBAZkH5wHUBAYBAaEH5wHYBAYBAaUH5wHcBAQBAgEE5gRTQWx0dWEuT2FrLkNvcmUuTW9kaWZpY2F0aW9uLlN0eWxpbmcuQWxsVmFsdWVBeGlzQ3VzdG9taXphdGlvblRhcmdldCwgQWx0dWEuT2FrLkNvcmXhBJkBAO4EWUFsdHVhLk9hay5Db3JlLk1vZGlmaWNhdGlvbi5TdHlsaW5nLlZhbHVlQXhpc0dyaWRsaW5lc0N1c3RvbWl6YXRpb25UYXJnZXQsIEFsdHVhLk9hay5Db3Jl6QSbAQD2BFNBbHR1YS5PYWsuQ29yZS5Nb2RpZmljYXRpb24uU3R5bGluZy5DYXRlZ29yeUF4aXNDdXN0b21pemF0aW9uVGFyZ2V0LCBBbHR1YS5PYWsuQ29yZfEEnQEA/gRQQWx0dWEuT2FrLkNvcmUuTW9kaWZpY2F0aW9uLlN0eWxpbmcuT3JpZ29MaW5lQ3VzdG9taXphdGlvblRhcmdldCwgQWx0dWEuT2FrLkNvcmX5BJ8BAIYFXUFsdHVhLk9hay5Db3JlLk1vZGlmaWNhdGlvbi5TdHlsaW5nLkFsbENvbm5lY3RvcnNBdXhpbGlhcnlDdXN0b21pemF0aW9uVGFyZ2V0LCBBbHR1YS5PYWsuQ29yZYEFoQEAjgVZQWx0dWEuT2FrLkNvcmUuTW9kaWZpY2F0aW9uLlN0eWxpbmcuU2VyaWVzV2l0aFBsb3RLaW5kQ3VzdG9taXphdGlvblRhcmdldCwgQWx0dWEuT2FrLkNvcmWJBaMBAwWoB5EFoQEAlAUFDAMFrAeeBVZBbHR1YS5PYWsuQ29yZS5Nb2RpZmljYXRpb24uU3R5bGluZy5BbGxTZXJpZXNNYXJrZXJDdXN0b21pemF0aW9uVGFyZ2V0LCBBbHR1YS5PYWsuQ29yZZkFpwEApgU6QWx0dWEuT2FrLkNvcmUuVGhlbWluZy5CaW5kaW5nQ29sb3JQb2ludGVyLCBBbHR1YS5PYWsuQ29yZaEFqQEFBbEH7QGpBZkBALIFN0FsdHVhLk9hay5Db3JlLlRoZW1pbmcuUGFnZUNvbG9yUG9pbnRlciwgQWx0dWEuT2FrLkNvcmWtBawBBAAACAC1BZ0BALkFrAEEAAAIAL0FnwEAwQWsAQQAAAgAygVTQWx0dWEuT2FrLkNvcmUuTW9kaWZpY2F0aW9uLlN0eWxpbmcuQWxsR3JpZGxpbmVzQ3VzdG9taXphdGlvblRhcmdldCwgQWx0dWEuT2FrLkNvcmXFBbIBAM0FUoCAgP/WBVhBbHR1YS5PYWsuQ29yZS5Nb2RpZmljYXRpb24uU3R5bGluZy5BbGxWYWx1ZUF4aXNMYWJlbEN1c3RvbWl6YXRpb25UYXJnZXQsIEFsdHVhLk9hay5Db3Jl0QW1AQDeBWZBbHR1YS5PYWsuQ29yZS5Nb2RpZmljYXRpb24uU3R5bGluZy5TdGFja2VkQmFyQXV0b21hdGljU2VnbWVudExhYmVsQ3VzdG9taXphdGlvblRhcmdldCwgQWx0dWEuT2FrLkNvcmXZBbcBAOYFVUFsdHVhLk9hay5Db3JlLk1vZGlmaWNhdGlvbi5TdHlsaW5nLkFsbFRvdGFsTGFiZWxzQ3VzdG9taXphdGlvblRhcmdldCwgQWx0dWEuT2FrLkNvcmXhBbkBAO4FV0FsdHVhLk9hay5Db3JlLk1vZGlmaWNhdGlvbi5TdHlsaW5nLkFsbENhdGVnb3J5TGFiZWxDdXN0b21pemF0aW9uVGFyZ2V0LCBBbHR1YS5PYWsuQ29yZekFuwEA9gVYQWx0dWEuT2FrLkNvcmUuTW9kaWZpY2F0aW9uLlN0eWxpbmcuQWxsQXV4aWxpYXJ5TGFiZWxDdXN0b21pemF0aW9uVGFyZ2V0LCBBbHR1YS5PYWsuQ29yZfEFvQEA/gVYQWx0dWEuT2FrLkNvcmUuTW9kaWZpY2F0aW9uLlN0eWxpbmcuU2VyaWVzTGFiZWxPZlR5cGVDdXN0b21pemF0aW9uVGFyZ2V0LCBBbHR1YS5PYWsuQ29yZfkFvwECAAKGBlhBbHR1YS5PYWsuQ29yZS5Nb2RpZmljYXRpb24uU3R5bGluZy5DYXRlZ29yeUF4aXNUaXRsZUN1c3RvbWl6YXRpb25UYXJnZXQsIEFsdHVhLk9hay5Db3JlgQbBAQCOBkZBbHR1YS5PYWsuQ29yZS5QbG90dGluZy5BeGlzVGl0bGVMYWJlbFBsYWNlbWVudE91dHNpZGUsIEFsdHVhLk9hay5Db3JliQbDAQIAAZYGXUFsdHVhLk9hay5Db3JlLk1vZGlmaWNhdGlvbi5TdHlsaW5nLkFsbFZhbHVlQXhpc1RpdGxlTGFiZWxDdXN0b21pemF0aW9uVGFyZ2V0LCBBbHR1YS5PYWsuQ29yZZEGxQEAngZCQWx0dWEuT2FrLkNvcmUuUGxvdHRpbmcuQXhpc1RpdGxlTGFiZWxQbGFjZW1lbnRGYXIsIEFsdHVhLk9hay5Db3JlmQbHAQIAAKYGX0FsdHVhLk9hay5Db3JlLk1vZGlmaWNhdGlvbi5TdHlsaW5nLlNlcmllc0xhYmVsc1dpdGhQbG90S2luZEN1c3RvbWl6YXRpb25UYXJnZXQsIEFsdHVhLk9hay5Db3JloQbJAQUFuAcIAK4GPEFsdHVhLk9hay5Db3JlLlBsb3R0aW5nLkxhYmVsUGxhY2VtZW50SW5zaWRlLCBBbHR1YS5PYWsuQ29yZakGywEEAAEIAbEGyQEFBbwHCAC6Bj1BbHR1YS5PYWsuQ29yZS5QbG90dGluZy5MYWJlbFBsYWNlbWVudE91dHNpZGUsIEFsdHVhLk9hay5Db3JltQbOAQC9BrkBAMEGtQEAygZBQWx0dWEuT2FrLkNvcmUuUGxvdHRpbmcuQXhpc0xhYmVsUGxhY2VtZW50T3V0c2lkZSwgQWx0dWEuT2FrLkNvcmXFBtIBAgEAzQa7AQDRBr0BANoGRkFsdHVhLk9hay5Db3JlLlBsb3R0aW5nLkF1eGlsaWFyeUxhYmVsUGxhY2VtZW50RGVmYXVsdCwgQWx0dWEuT2FrLkNvcmXVBtYBAOIGQ0FsdHVhLk9hay5Db3JlLlBsb3R0aW5nLkxhYmVsUGxhY2VtZW50U2VyaWVzT3V0c2lkZSwgQWx0dWEuT2FrLkNvcmXdBtgBAgAA6gZQQWx0dWEuT2FrLkNvcmUuTW9kaWZpY2F0aW9uLlN0eWxpbmcuQWxsTGFiZWxzQ3VzdG9taXphdGlvblRhcmdldCwgQWx0dWEuT2FrLkNvcmXlBtoBAPIGQkFsdHVhLk9hay5Db3JlLlN5bnRheFN0cnVjdHVyZS5BY3R1YWxGb250U2l6ZVZhbHVlLCBBbHR1YS5PYWsuQ29yZe0G3AEJAwAAAAAAAChA9Qa1AQD+BkNBbHR1YS5PYWsuQ29yZS5TeW50YXhTdHJ1Y3R1cmUuQWN0dWFsRm9udENvbG9yVmFsdWUsIEFsdHVhLk9hay5Db3Jl+QbfAQUFwQesAYEHxQEAhQffAQUFxQesAYkHuwEAjQffAQUFyQesAZEHwQEAlQffAQUFzQesAZ4HL0FsdHVhLkRhdGEuSW5mcmFzdHJ1Y3R1cmUuUGFyYWdyYXBoLCBBbHR1YS5EYXRhmQfnAQUMAwXQB6EH5wEFDAMF1AelB+cBBQwDBdgHqAcBBawHCgECAACAQAAAQEC2B0hBbHR1YS5PYWsuQ29yZS5TeW50YXhTdHJ1Y3R1cmUuUGxvdFNlcmllc0JpbmRpbmdTdHJhdGVneSwgQWx0dWEuT2FrLkNvcmWxB+0BALgHAgABvAcBBcEHrAEEAAAIAMUHrAEEAAAIAMkHrAEEAAAIAM0HrAEEAAAIANAHBgEB3Qf4AdQHBgEB5Qf4AdgHBgEB6Qf4AeIHL0FsdHVhLkRhdGEuSW5mcmFzdHJ1Y3R1cmUuTnVtYmVyUnVuLCBBbHR1YS5EYXRh3Qf4ARMEDgMAAAAAAKCfQB3tB/wBDfQH5Qf4ARMEDgMAAAAAAJyfQB35B/wBDfwH6Qf4ARMEDgMAAAAAAJSfQB2BCPwBDYQI8gc9QWx0dWEuRGF0YS5OdW1iZXJGb3JtYXR0aW5nLkNvbXBvc2l0ZU51bWJlckZvcm1hdCwgQWx0dWEuRGF0Ye0H/AELHYgIJYwINZAIPQD0BxIEABwAJAAsADQAPABMAFQAXQD5B/wBCx2UCCWYCDWcCD0A/AcSBAAcACQALAA0ADwATABUAF0AgQj8AQsdoAglpAg1qAg9AIQIEgQAHAAkACwANAA8AEwAVABdAIgICQAADAMFrAgRAIwICQAADAMFsAgRAJAICgQBLAwBLhQCa3KUCAkAAAwDBbQIEQCYCAkAAAwDBbgIEQCcCAoEASwMAS4UAmtyoAgJAAAMAwW8CBEApAgJAAAMAwXACBEAqAgKBAEsDAEuFAJrcqwIBgEBxQiSArAICgECzQiUAsUIkgK0CAYBAdUIkgK4CAoBAtkIlALVCJICvAgGAQHdCJICwAgKAQLhCJQC3QiSAsoIQEFsdHVhLkRhdGEuTnVtYmVyRm9ybWF0dGluZy5OdW1iZXJGb3JtYXRWYWx1ZVNlZ21lbnQsIEFsdHVhLkRhdGHFCJICBQQDBeQI0gg/QWx0dWEuRGF0YS5OdW1iZXJGb3JtYXR0aW5nLk51bWJlckZvcm1hdFRleHRTZWdtZW50LCBBbHR1YS5EYXRhzQiUAgUEAS0JAdUIkgIFBAMF6AjZCJQCBQQBLQkB3QiSAgUEAwXsCOEIlAIFBAEtCQHkCAYBAfEInQLoCAYBAfkInQLsCAYBAf0InQL2CDlBbHR1YS5EYXRhLk51bWJlckZvcm1hdHRpbmcuTnVtYmVyUGxhY2Vob2xkZXIsIEFsdHVhLkRhdGHxCJ0CBQIwAAAA+QidAgUCMAAAAP0InQIFAjAAAAA="/>
  <p:tag name="GRUNT-SYNC" val="670195a898bb4dd08a3c72a5276e0c99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nQ4KN0FsdHVhLkRhdGEuRGF0YVNlcnZpY2VzLkVtYmVkZGVkRGF0YVNlcnZpY2UsIEFsdHVhLkRhdGEFAhkEEgQQxoTVXANgJUiz1IfzgkJWjA0MJREFDAYFGAgUEAcWQUFsdHVhLkRhdGEuRGF0YVNlcnZpY2VzLkVtYmVkZGVkRGF0YVNlcnZpY2VFZGl0b3JEYXRhLCBBbHR1YS5EYXRhEQUEBRwNIBgGBSQNKBUsHDwdBBIEEB/rjDimIctLiTIXQgTfWDQLAAAAAAAgYkAdBBIEEOg2X7+xZB5DjGnCwWbEd8ILAAAAAAAAHEAgHh0EEgQQhB+R4huFNUGwuFZrPUlJDwsAAAAAAAAyQCQDMDQ4KAI8QCyOAiwEKAQSBBDajSsQe0+aTJlGK/NOL/gcDBIEEF+XkJfEWrtCmxAwBnFOxVkNRCwEKAQSBBAf64w4piHLS4kyF0IE31g0DBIEEF+XkJfEWrtCmxAwBnFOxVkNSCwEKAQSBBCUkJrjlRJ1SIx9ZdLi7u01DBIEEPksWf79329Fuf5n0yPSqyMNTCwEKAQSBBDajSsQe0+aTJlGK/NOL/gcDBIEEPksWf79329Fuf5n0yPSqyMNUCwEKAQSBBCUkJrjlRJ1SIx9ZdLi7u01DBIEEF+XkJfEWrtCmxAwBnFOxVkNVCwEKAQSBBAf64w4piHLS4kyF0IE31g0DBIEEPksWf79329Fuf5n0yPSqyMNWDAaBBIEENqNKxB7T5pMmUYr804v+BwMAkMxEAA0GgQSBBAf64w4piHLS4kyF0IE31g0DAJDMhAAOBsEEgQQlJCa45USdUiMfWXS4u7tNQwDQzE4EAA8GgQSBBBfl5CXxFq7QpsQMAZxTsVZDAJSMRAAQBoEEgQQ+SxZ/v3fb0W5/mfTI9KrIwwCUjMQAEQEDVwVYEgEDVwVZEwEDWgVbFAEDVwVcFQEDWgVdFgEDVwVeFwCBABgBAQCBXxkBQQDBYABaAIEAGwFBAMFhAFwBQQDBYgBdAUEAwWMAXgFBAMFkAF8AgEAgAEFAQGVASaEAQUBAZ0BJogBAgEAjAEFAQGhASaQAQUBAaUBJpoBL0FsdHVhLkRhdGEuSW5mcmFzdHJ1Y3R1cmUuUGFyYWdyYXBoLCBBbHR1YS5EYXRhlQEmBQwDBagBnQEmBQwDBawBoQEmBQwDBbABpQEmBQwDBbQBqAEFAQG5AS+sAQUBAcEBL7ABBQEBxQEvtAEFAQHJAS++AS9BbHR1YS5EYXRhLkluZnJhc3RydWN0dXJlLk51bWJlclJ1biwgQWx0dWEuRGF0YbkBLxIEDQMAAAAAAJyfQB3NATQN1AHBAS8SBA0DAAAAAAAAQEAd2QE0DdwBxQEvEgQNAwAAAAAAoJ9AHeEBNA3kAckBLxIEDQMAAAAAAIBAQB3pATQN7AHSAT1BbHR1YS5EYXRhLk51bWJlckZvcm1hdHRpbmcuQ29tcG9zaXRlTnVtYmVyRm9ybWF0LCBBbHR1YS5EYXRhzQE0Cx3wASX0ATX4AT0A1AESBAAcACQALAA0ADwATABUAF0A2QE0Cx38ASWAAjWEAj0A3AESBAAcACQALAA0ADwATABUAF0A4QE0Cx2IAiWMAjWQAj0A5AESBAAcACQALAA0ADwATABUAF0A6QE0Cx2UAiWYAjWcAj0A7AESBAAcACQALAA0ADwATABUAF0A8AEJAAAMAwWgAhEA9AEJAAAMAwWkAhEA+AEKBAEsDAEuFAJrcvwBCQAADAMFqAIRAIACCQAADAMFrAIRAIQCCgQBLAwBLhQCa3KIAgkAAAwDBbACEQCMAgkAAAwDBbQCEQCQAgoEASwMAS4UAmtylAIJAAAMAwW4AhEAmAIJAAAMAwW8AhEAnAIKBAEsDAEuFAJrcqACBQEBwQJRpAIIAQLJAlPBAlGoAgUBAdECUawCCAEC1QJT0QJRsAIFAQHZAlG0AggBAt0CU9kCUbgCBQEB4QJRvAIIAQLlAlPhAlHGAkBBbHR1YS5EYXRhLk51bWJlckZvcm1hdHRpbmcuTnVtYmVyRm9ybWF0VmFsdWVTZWdtZW50LCBBbHR1YS5EYXRhwQJRBQQDBegCzgI/QWx0dWEuRGF0YS5OdW1iZXJGb3JtYXR0aW5nLk51bWJlckZvcm1hdFRleHRTZWdtZW50LCBBbHR1YS5EYXRhyQJTBQQBLQkB0QJRBQQDBewC1QJTBQQBLQkB2QJRBQQDBfAC3QJTBQQBLQkB4QJRBQQDBfQC5QJTBQQBLQkB6AIFAQH5Al/sAgUBAYEDX/ACBQEB+QJf9AIFAQGBA1/+AjlBbHR1YS5EYXRhLk51bWJlckZvcm1hdHRpbmcuTnVtYmVyUGxhY2Vob2xkZXIsIEFsdHVhLkRhdGH5Al8FAjAAAACBA18FAjAAAAA="/>
  <p:tag name="GRUNT-RENDERHASH" val="b2b12b3fe6becac1b447d69a76cf2219-svg"/>
  <p:tag name="GRUNT-X-SHAPEBOUNDS" val="ASIBBAAAAOAp1YdAAAAAYEf8dkAAAABg+hRfQAAAACAkqlFAAA=="/>
  <p:tag name="GRUNT-X-PAGEOBJECT" val="AQUCszAKOEFsdHVhLk9hay5Db3JlLkRvY3VtZW50TW9kZWwuQ2hhcnRPYmplY3QsIEFsdHVhLk9hay5Db3JlBQI1BBIEEHJgaVKt8MtPidTFUEbtLkQMEgQQxoTVXANgJUiz1IfzgkJWjBUNBCUUNRg9HFUgZSQSUEFsdHVhLk9hay5Db3JlLkRvY3VtZW50TW9kZWwuVGVtcGxhdGluZy5DdXN0b21Qb3NpdGlvbkRlZmluaXRpb24sIEFsdHVhLk9hay5Db3JlDQQkBCIBBGuSrOkp14dAXkKbOvqId0D4/r9b+vReQPCyC2x+u0VAFBMVKB0sNTA4AEU1DkwCBTxVQF1EGAQEAgVIHAIFTCALBVAMBW5iLU5PFVQkDgEBCQERARkBIQEpATEBKBYEEgQQAAAAAAAAAAAAAAAAAAAAAAgBLBYEEgQQAAAAAAAAAAAAAAAAAAAAAAgBMAA6RUFsdHVhLk9hay5Db3JlLkNoYXJ0LlN0YWNrZWRCYXJXaXRoTGluZVBsb3REZWZpbml0aW9uLCBBbHR1YS5PYWsuQ29yZTUOMgQSBBCtCOGO9c7uTqqhJNFOk6tdHAIFWCVcNWA8AgVkSQFtaKUBbRypAQC1AXUevQF8PAgBA4ABhAGIAUAFBYwBDQBEAgEASAIBAEwAUAoEASwMASAUAmtyVAkEBW5iLU5PCAFYBAEBkAFcDQAACAEUAwWUARwAJQBgJgQiAQQAAAAAAAAQQAAAAAAAABBAAAAAAAAAEEAAAAAAAAAQQAgEZAIBAGgLAwAAAAAAAExACCByRUFsdHVhLk9hay5Db3JlLlBsb3R0aW5nLkF1dG9tYXRpY0NhdGVnb3J5QXhpc1NldHRpbmdzLCBBbHR1YS5PYWsuQ29yZW0cEwEBDZgBEAAZATAAPZwBRaABSAF6PUFsdHVhLk9hay5Db3JlLlRoZW1pbmcuUGFnZUNvbG9yU2NoZW1lUG9pbnRlciwgQWx0dWEuT2FrLkNvcmV1HgB8SjWkAT2oAUWsAVWwAV20AXW4AY0BvAGdAcABpQHEAa0ByAHNAcwB1QHQAd0B1AHlAdgB7QHcAfUB4AH9AeQBhQLoAY0C7AGVAvABgAFIBBIEEPksWf79329Fuf5n0yPSqyMkEgQQ3hL/oLfjmVGNga5GutPNVSwSBBBAPDzYa3iEQpPKCvmdL01KPfUBPkX8AUkBXYAChAFIBBIEEDcGo+sqLPlEoN7fVizMk+kkEgQQMJ2TYTolGkK3RQAIzlWRyCwSBBBAPDzYa3iEQpPKCvmdL01KPfUBPkWEAkkBXYgCiAFIBBIEEAGyzXmkVClLgqXavEFNH6IkEgQQAD5WEZ5ML02lAL46Aub+8CwSBBBAPDzYa3iEQpPKCvmdL01KPfUBPkWMAkkBXZACjAEGlAKYApwCkAFCAQEYAyWgAikAMQBAAEgCVaQCXagCZBIEEEA8PNhreIRCk8oK+Z0vTUptrAJ1sAKNAbQCkQEBnQG4AqUBvAK1AcAClAECAQCYAQIBAJwBBgXFAlIIBKABBgXNAlIIBKQBBQQDBdACqAEFBAMF1AKsAQUEAwXYArABBQQDBdwCtAEFBAMF0AK4AQUEAwXQArwBBQQDBeACwAEFBAMF5ALEAQUEAwXoAsgBBQQDBewCzAEFBAMF8ALQAQUEAwX0AtQBBQQDBfgC2AEFBAMF/ALcAQUEAwWAA+ABBQQDBYQD5AEFBAMFiAPoAQUEAwWMA+wBBQQDBZAD8AEFBAMFlAP6AT5BbHR1YS5PYWsuQ29yZS5DaGFydC5EZWZhdWx0UGxvdFNlcmllc1NldHRpbmdzLCBBbHR1YS5PYWsuQ29yZfUBPgD8AQQFAAgBgAIFBZgDCAGEAgQFAAgBiAIFBZwDCAGMAgQFAAgBkAIFBaADCAGUAioEEgQQtnl8ctBB8lCqeXW5srpkmwwSBBAf64w4piHLS4kyF0IE31g0EQGYAioEEgQQAr/yvDh4IEqYZ3XiBjL4FwwSBBCUkJrjlRJ1SIx9ZdLi7u01EQGcAioEEgQQEjRGWHB8Q0GamGaB9neQzQwSBBDoNl+/sWQeQ4xpwsFmxHfCEQGgAgsDAAAAAAAAAAAIAaQCCwMAAAAAAAAAAAgBqAILAwAAAAAAAAAACAGsAhUFpAMNqAMVrAMdsAMltAMtuAM1vAOwAgcNwAMVxQNStAILAwAAAAAAAAAACAS4AgYFyQNSCAS8AgYFyQNSCATAAgUEAwXMA8oCM0FsdHVhLk9hay5Db3JlLlRoZW1pbmcuQ29sb3JQb2ludGVyLCBBbHR1YS5PYWsuQ29yZcUCUlBQUP/NAlJQUFD/0AICAQDUAg4BBtAD1APYA9wD4APkA9gCBAEB6APcAgIBAOACAgEA5AICAQDoAgwBBewD8AP0A/gD/APsAgIBAPACDgEGgASEBIgEjASQBJQE9AIUAQmYBJwEoASkBKgErASwBLQEuAT4AgIBAPwCBAEBvASAAwoBBMAExATIBMwEhAMCAQCIAwIBAIwDAgEAkAMCAQCUAwIBAJgDBQQDBdAEnAMFBAMF1ASgAwUEAwXYBKQDBwQDBAEACASoAwUEAS4IBKwDBAABCASwAwQAAAgEtAMEBAAIBLgDBAQACAS8AwQAAAgEwAMFBAMF3ATFA1I+PuX/yQNSUFBQ/8wDAgEA0AMOBeEEmQELAAAAAAAAAADUAw4F6QSbAQsAAAAAAAAAANgDDgXxBJ0BCwAAAAAAAOA/3AMOBfkEnwELAAAAAAAA4D/gAw4FgQWhAQsAAAAAAADgP+QDDgWJBaMBCwAAAAAAAPg/6AMIBZEFoQENlAXsAwoFmQWnAQ2hBakB8AMKBakFmQENrQWsAfQDCgW1BZ0BDbkFrAH4AwoFvQWfAQ3BBawB/AMJBcUFsgENzQVSgAQHBdEFtQEJAIQEBwXZBbcBCQGIBAcF4QW5AQkBjAQHBekFuwEJAZAEBwXxBb0BCQGUBAcF+QW/AQkBmAQKBYEGwQENiQbDAZwECgWRBsUBDZkGxwGgBAoFoQbJAQ2pBssBpAQKBbEGyQENtQbOAagECgW9BrkBDbUGzgGsBAoFwQa1AQ3FBtIBsAQKBc0GuwENxQbSAbQECgXRBr0BDdUG1gG4BAoF+QW/AQ3dBtgBvAQKBeUG2gEN7QbcAcAECgX1BrUBDfkG3wHEBAoFgQfFAQ2FB98ByAQKBYkHuwENjQffAcwECgWRB8EBDZUH3wHQBAYBAZkH5wHUBAYBAaEH5wHYBAYBAaUH5wHcBAQBAgEE5gRTQWx0dWEuT2FrLkNvcmUuTW9kaWZpY2F0aW9uLlN0eWxpbmcuQWxsVmFsdWVBeGlzQ3VzdG9taXphdGlvblRhcmdldCwgQWx0dWEuT2FrLkNvcmXhBJkBAO4EWUFsdHVhLk9hay5Db3JlLk1vZGlmaWNhdGlvbi5TdHlsaW5nLlZhbHVlQXhpc0dyaWRsaW5lc0N1c3RvbWl6YXRpb25UYXJnZXQsIEFsdHVhLk9hay5Db3Jl6QSbAQD2BFNBbHR1YS5PYWsuQ29yZS5Nb2RpZmljYXRpb24uU3R5bGluZy5DYXRlZ29yeUF4aXNDdXN0b21pemF0aW9uVGFyZ2V0LCBBbHR1YS5PYWsuQ29yZfEEnQEA/gRQQWx0dWEuT2FrLkNvcmUuTW9kaWZpY2F0aW9uLlN0eWxpbmcuT3JpZ29MaW5lQ3VzdG9taXphdGlvblRhcmdldCwgQWx0dWEuT2FrLkNvcmX5BJ8BAIYFXUFsdHVhLk9hay5Db3JlLk1vZGlmaWNhdGlvbi5TdHlsaW5nLkFsbENvbm5lY3RvcnNBdXhpbGlhcnlDdXN0b21pemF0aW9uVGFyZ2V0LCBBbHR1YS5PYWsuQ29yZYEFoQEAjgVZQWx0dWEuT2FrLkNvcmUuTW9kaWZpY2F0aW9uLlN0eWxpbmcuU2VyaWVzV2l0aFBsb3RLaW5kQ3VzdG9taXphdGlvblRhcmdldCwgQWx0dWEuT2FrLkNvcmWJBaMBAwWoB5EFoQEAlAUFDAMFrAeeBVZBbHR1YS5PYWsuQ29yZS5Nb2RpZmljYXRpb24uU3R5bGluZy5BbGxTZXJpZXNNYXJrZXJDdXN0b21pemF0aW9uVGFyZ2V0LCBBbHR1YS5PYWsuQ29yZZkFpwEApgU6QWx0dWEuT2FrLkNvcmUuVGhlbWluZy5CaW5kaW5nQ29sb3JQb2ludGVyLCBBbHR1YS5PYWsuQ29yZaEFqQEFBbEH7QGpBZkBALIFN0FsdHVhLk9hay5Db3JlLlRoZW1pbmcuUGFnZUNvbG9yUG9pbnRlciwgQWx0dWEuT2FrLkNvcmWtBawBBAAACAC1BZ0BALkFrAEEAAAIAL0FnwEAwQWsAQQAAAgAygVTQWx0dWEuT2FrLkNvcmUuTW9kaWZpY2F0aW9uLlN0eWxpbmcuQWxsR3JpZGxpbmVzQ3VzdG9taXphdGlvblRhcmdldCwgQWx0dWEuT2FrLkNvcmXFBbIBAM0FUoCAgP/WBVhBbHR1YS5PYWsuQ29yZS5Nb2RpZmljYXRpb24uU3R5bGluZy5BbGxWYWx1ZUF4aXNMYWJlbEN1c3RvbWl6YXRpb25UYXJnZXQsIEFsdHVhLk9hay5Db3Jl0QW1AQDeBWZBbHR1YS5PYWsuQ29yZS5Nb2RpZmljYXRpb24uU3R5bGluZy5TdGFja2VkQmFyQXV0b21hdGljU2VnbWVudExhYmVsQ3VzdG9taXphdGlvblRhcmdldCwgQWx0dWEuT2FrLkNvcmXZBbcBAOYFVUFsdHVhLk9hay5Db3JlLk1vZGlmaWNhdGlvbi5TdHlsaW5nLkFsbFRvdGFsTGFiZWxzQ3VzdG9taXphdGlvblRhcmdldCwgQWx0dWEuT2FrLkNvcmXhBbkBAO4FV0FsdHVhLk9hay5Db3JlLk1vZGlmaWNhdGlvbi5TdHlsaW5nLkFsbENhdGVnb3J5TGFiZWxDdXN0b21pemF0aW9uVGFyZ2V0LCBBbHR1YS5PYWsuQ29yZekFuwEA9gVYQWx0dWEuT2FrLkNvcmUuTW9kaWZpY2F0aW9uLlN0eWxpbmcuQWxsQXV4aWxpYXJ5TGFiZWxDdXN0b21pemF0aW9uVGFyZ2V0LCBBbHR1YS5PYWsuQ29yZfEFvQEA/gVYQWx0dWEuT2FrLkNvcmUuTW9kaWZpY2F0aW9uLlN0eWxpbmcuU2VyaWVzTGFiZWxPZlR5cGVDdXN0b21pemF0aW9uVGFyZ2V0LCBBbHR1YS5PYWsuQ29yZfkFvwECAAKGBlhBbHR1YS5PYWsuQ29yZS5Nb2RpZmljYXRpb24uU3R5bGluZy5DYXRlZ29yeUF4aXNUaXRsZUN1c3RvbWl6YXRpb25UYXJnZXQsIEFsdHVhLk9hay5Db3JlgQbBAQCOBkZBbHR1YS5PYWsuQ29yZS5QbG90dGluZy5BeGlzVGl0bGVMYWJlbFBsYWNlbWVudE91dHNpZGUsIEFsdHVhLk9hay5Db3JliQbDAQIAAZYGXUFsdHVhLk9hay5Db3JlLk1vZGlmaWNhdGlvbi5TdHlsaW5nLkFsbFZhbHVlQXhpc1RpdGxlTGFiZWxDdXN0b21pemF0aW9uVGFyZ2V0LCBBbHR1YS5PYWsuQ29yZZEGxQEAngZCQWx0dWEuT2FrLkNvcmUuUGxvdHRpbmcuQXhpc1RpdGxlTGFiZWxQbGFjZW1lbnRGYXIsIEFsdHVhLk9hay5Db3JlmQbHAQIAAKYGX0FsdHVhLk9hay5Db3JlLk1vZGlmaWNhdGlvbi5TdHlsaW5nLlNlcmllc0xhYmVsc1dpdGhQbG90S2luZEN1c3RvbWl6YXRpb25UYXJnZXQsIEFsdHVhLk9hay5Db3JloQbJAQUFuAcIAK4GPEFsdHVhLk9hay5Db3JlLlBsb3R0aW5nLkxhYmVsUGxhY2VtZW50SW5zaWRlLCBBbHR1YS5PYWsuQ29yZakGywEEAAEIAbEGyQEFBbwHCAC6Bj1BbHR1YS5PYWsuQ29yZS5QbG90dGluZy5MYWJlbFBsYWNlbWVudE91dHNpZGUsIEFsdHVhLk9hay5Db3JltQbOAQC9BrkBAMEGtQEAygZBQWx0dWEuT2FrLkNvcmUuUGxvdHRpbmcuQXhpc0xhYmVsUGxhY2VtZW50T3V0c2lkZSwgQWx0dWEuT2FrLkNvcmXFBtIBAgEAzQa7AQDRBr0BANoGRkFsdHVhLk9hay5Db3JlLlBsb3R0aW5nLkF1eGlsaWFyeUxhYmVsUGxhY2VtZW50RGVmYXVsdCwgQWx0dWEuT2FrLkNvcmXVBtYBAOIGQ0FsdHVhLk9hay5Db3JlLlBsb3R0aW5nLkxhYmVsUGxhY2VtZW50U2VyaWVzT3V0c2lkZSwgQWx0dWEuT2FrLkNvcmXdBtgBAgAA6gZQQWx0dWEuT2FrLkNvcmUuTW9kaWZpY2F0aW9uLlN0eWxpbmcuQWxsTGFiZWxzQ3VzdG9taXphdGlvblRhcmdldCwgQWx0dWEuT2FrLkNvcmXlBtoBAPIGQkFsdHVhLk9hay5Db3JlLlN5bnRheFN0cnVjdHVyZS5BY3R1YWxGb250U2l6ZVZhbHVlLCBBbHR1YS5PYWsuQ29yZe0G3AEJAwAAAAAAAChA9Qa1AQD+BkNBbHR1YS5PYWsuQ29yZS5TeW50YXhTdHJ1Y3R1cmUuQWN0dWFsRm9udENvbG9yVmFsdWUsIEFsdHVhLk9hay5Db3Jl+QbfAQUFwQesAYEHxQEAhQffAQUFxQesAYkHuwEAjQffAQUFyQesAZEHwQEAlQffAQUFzQesAZ4HL0FsdHVhLkRhdGEuSW5mcmFzdHJ1Y3R1cmUuUGFyYWdyYXBoLCBBbHR1YS5EYXRhmQfnAQUMAwXQB6EH5wEFDAMF1AelB+cBBQwDBdgHqAcBBawHCgECAACAQAAAQEC2B0hBbHR1YS5PYWsuQ29yZS5TeW50YXhTdHJ1Y3R1cmUuUGxvdFNlcmllc0JpbmRpbmdTdHJhdGVneSwgQWx0dWEuT2FrLkNvcmWxB+0BALgHAgABvAcBBcEHrAEEAAAIAMUHrAEEAAAIAMkHrAEEAAAIAM0HrAEEAAAIANAHBgEB3Qf4AdQHBgEB5Qf4AdgHBgEB6Qf4AeIHL0FsdHVhLkRhdGEuSW5mcmFzdHJ1Y3R1cmUuTnVtYmVyUnVuLCBBbHR1YS5EYXRh3Qf4ARMEDgMAAAAAAKCfQB3tB/wBDfQH5Qf4ARMEDgMAAAAAAJyfQB35B/wBDfwH6Qf4ARMEDgMAAAAAAJSfQB2BCPwBDYQI8gc9QWx0dWEuRGF0YS5OdW1iZXJGb3JtYXR0aW5nLkNvbXBvc2l0ZU51bWJlckZvcm1hdCwgQWx0dWEuRGF0Ye0H/AELHYgIJYwINZAIPQD0BxIEABwAJAAsADQAPABMAFQAXQD5B/wBCx2UCCWYCDWcCD0A/AcSBAAcACQALAA0ADwATABUAF0AgQj8AQsdoAglpAg1qAg9AIQIEgQAHAAkACwANAA8AEwAVABdAIgICQAADAMFrAgRAIwICQAADAMFsAgRAJAICgQBLAwBLhQCa3KUCAkAAAwDBbQIEQCYCAkAAAwDBbgIEQCcCAoEASwMAS4UAmtyoAgJAAAMAwW8CBEApAgJAAAMAwXACBEAqAgKBAEsDAEuFAJrcqwIBgEBxQiSArAICgECzQiUAsUIkgK0CAYBAdUIkgK4CAoBAtkIlALVCJICvAgGAQHdCJICwAgKAQLhCJQC3QiSAsoIQEFsdHVhLkRhdGEuTnVtYmVyRm9ybWF0dGluZy5OdW1iZXJGb3JtYXRWYWx1ZVNlZ21lbnQsIEFsdHVhLkRhdGHFCJICBQQDBeQI0gg/QWx0dWEuRGF0YS5OdW1iZXJGb3JtYXR0aW5nLk51bWJlckZvcm1hdFRleHRTZWdtZW50LCBBbHR1YS5EYXRhzQiUAgUEAS0JAdUIkgIFBAMF6AjZCJQCBQQBLQkB3QiSAgUEAwXsCOEIlAIFBAEtCQHkCAYBAfEInQLoCAYBAfkInQLsCAYBAf0InQL2CDlBbHR1YS5EYXRhLk51bWJlckZvcm1hdHRpbmcuTnVtYmVyUGxhY2Vob2xkZXIsIEFsdHVhLkRhdGHxCJ0CBQIwAAAA+QidAgUCMAAAAP0InQIFAjAAAAA="/>
  <p:tag name="GRUNT-SYNC" val="4c2d92af9db44a14b7001fc968f360d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98105264-954b-424e-a37f-c048d80de3b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txsKN0FsdHVhLkRhdGEuRGF0YVNlcnZpY2VzLkVtYmVkZGVkRGF0YVNlcnZpY2UsIEFsdHVhLkRhdGEFAhkEEgQQqH5Om47oS0iCnqhcj129VQ0MJREFDAYFGAgNEAcWQUFsdHVhLkRhdGEuRGF0YVNlcnZpY2VzLkVtYmVkZGVkRGF0YVNlcnZpY2VFZGl0b3JEYXRhLCBBbHR1YS5EYXRhEQUEBRwNIBgGBSQNKBUsHDwdBBIEENNz8cQb9wFOoDLwDWItJDkLAAAAAAAAHEAdBBIEEB/rjDimIctLiTIXQgTfWDQLAAAAAAAgYkAgWh0EEgQQhB+R4huFNUGwuFZrPUlJDwsAAAAAAAAyQB0EEgQQ+SxZ/v3fb0W5/mfTI9KrIwsAAAAAAAAyQB0EEgQQF/fU+/rkS0KjMEQe6grewwsAAAAAAAAyQCQHMDQ4PEBESCgCTFAs+QQsBCgEEgQQ2o0rEHtPmkyZRivzTi/4HAwSBBBfl5CXxFq7QpsQMAZxTsVZDVQsBCgEEgQQH+uMOKYhy0uJMhdCBN9YNAwSBBAFt7nTtw70SZFkGE1GbkWsDVgsBCgEEgQQdZ6YkVxDK0eAjaDLHe+U4wwSBBBfl5CXxFq7QpsQMAZxTsVZDVwsBCgEEgQQM3YuVsqsz0O4n/jX90PyIgwSBBBfl5CXxFq7QpsQMAZxTsVZDWAsBCgEEgQQH+uMOKYhy0uJMhdCBN9YNAwSBBBfl5CXxFq7QpsQMAZxTsVZDWQsBCgEEgQQM3YuVsqsz0O4n/jX90PyIgwSBBAFt7nTtw70SZFkGE1GbkWsDWgsBCgEEgQQWZ9h5liRP0iEKp689x5lRgwSBBBfl5CXxFq7QpsQMAZxTsVZDWwsBCgEEgQQwqHEVOV/GEKGOrIB1QvRAQwSBBBfl5CXxFq7QpsQMAZxTsVZDXAsBCgEEgQQ2o0rEHtPmkyZRivzTi/4HAwSBBAFt7nTtw70SZFkGE1GbkWsDXQsBCgEEgQQdZ6YkVxDK0eAjaDLHe+U4wwSBBAFt7nTtw70SZFkGE1GbkWsDXgsBCgEEgQQWZ9h5liRP0iEKp689x5lRgwSBBAFt7nTtw70SZFkGE1GbkWsDXwtBCgEEgQQ5PInsc7xekOZNXqmuIfDUgwSBBAFt7nTtw70SZFkGE1GbkWsDYABLQQoBBIEEOTyJ7HO8XpDmTV6priHw1IMEgQQX5eQl8Rau0KbEDAGcU7FWQ2EAS0EKAQSBBDCocRU5X8YQoY6sgHVC9EBDBIEEAW3udO3DvRJkWQYTUZuRawNiAEwGgQSBBDajSsQe0+aTJlGK/NOL/gcDAJDMRAANBoEEgQQH+uMOKYhy0uJMhdCBN9YNAwCQzIQADgaBBIEEHWemJFcQytHgI2gyx3vlOMMAkMzEAA8GgQSBBAzdi5WyqzPQ7if+Nf3Q/IiDAJDNBAAQBoEEgQQWZ9h5liRP0iEKp689x5lRgwCQzUQAEQaBBIEEOTyJ7HO8XpDmTV6priHw1IMAkM2EABIGwQSBBDCocRU5X8YQoY6sgHVC9EBDANDMTIQAEwaBBIEEF+XkJfEWrtCmxAwBnFOxVkMAlIxEABQGgQSBBAFt7nTtw70SZFkGE1GbkWsDAJSNhAAVAYNjAEVkAFYBg2UARWYAVwGDYwBFZwBYAYNjAEVoAFkBg2MARWkAWgGDZQBFagBbAYNjAEVrAFwBg2wARW0AXQGDbgBFbwBeAYNlAEVwAF8Bg2UARXEAYABBg2UARXIAYQBBg2MARXMAYgBBg2wARXQAYwBAgQAkAEFBAMF1AGUAQIEAJgBBQQDBdgBnAEFBAMF3AGgAQUEAwXgAaQBBQQDBeQBqAEFBAMF6AGsAQUEAwXsAbABAgQAtAEFBAMF8AG4AQIEALwBBQQDBfQBwAEFBAMF+AHEAQUEAwX8AcgBBQQDBYACzAEFBAMFhALQAQUEAwWIAtQBAgEA2AEFAQGNAkTcAQUBAZUCROABBQEBmQJE5AEFAQGdAkToAQUBAaECROwBBQEBpQJE8AEFAQGpAkT0AQUBAa0CRPgBBQEBsQJE/AEFAQG1AkSAAgUBAbkCRIQCBQEBvQJEiAIFAQHBAkSSAi9BbHR1YS5EYXRhLkluZnJhc3RydWN0dXJlLlBhcmFncmFwaCwgQWx0dWEuRGF0YY0CRAUMAwXEApUCRAUMAwXIApkCRAUMAwXMAp0CRAUMAwXQAqECRAUMAwXUAqUCRAUMAwXYAqkCRAUMAwXcAq0CRAUMAwXgArECRAUMAwXkArUCRAUMAwXoArkCRAUMAwXsAr0CRAUMAwXwAsECRAUMAwX0AsQCBQEB+QJfyAIFAQGBA2HMAgUBAYkDYdACBQEBjQNh1AIFAQGRA1/YAgUBAZUDYdwCBQEBmQNh4AIFAQGdA1/kAgUBAaEDX+gCBQEBpQNf7AIFAQGpA1/wAgUBAa0DYfQCBQEBsQNf/gIvQWx0dWEuRGF0YS5JbmZyYXN0cnVjdHVyZS5OdW1iZXJSdW4sIEFsdHVhLkRhdGH5Al8SBA0DAAAAAAAAQEAdtQNuDbwDhgMtQWx0dWEuRGF0YS5JbmZyYXN0cnVjdHVyZS5UZXh0UnVuLCBBbHR1YS5EYXRhgQNhDwQKMyAtIDUgbWlsbA3AA4kDYRAECzYgLSAyMCBtaWxsDcQDjQNhFgQRTWluZHJlIGVubiAzIG1pbGwNyAORA18SBA0DAAAAAAAAQkAdzQNuDdADlQNhEQQMMjEgLSA1MCBtaWxsDdQDmQNhEgQNT3ZlciAxMDAgbWlsbA3YA50DXxIEDQMAAAAAAKCfQB3dA24N4AOhA18SBA0DAAAAAACAQUAd5QNuDegDpQNfEgQNAwAAAAAAAENAHe0Dbg3wA6kDXxIEDQMAAAAAAABBQB31A24N+AOtA2ESBA01MSAtIDEwMCBtaWxsDfwDsQNfEgQNAwAAAAAAwFFAHYEEbg2EBLoDPUFsdHVhLkRhdGEuTnVtYmVyRm9ybWF0dGluZy5Db21wb3NpdGVOdW1iZXJGb3JtYXQsIEFsdHVhLkRhdGG1A24LHYgEJYwENZAEPQC8AxIEABwAJAAsADQAPABMAFQAXQDAAxIEABwAJAAsADQAPABMAFQAXQDEAxIEABwAJAAsADQAPABMAFQAXQDIAxIEABwAJAAsADQAPABMAFQAXQDNA24LHZQEJZgENZwEPQDQAxIEABwAJAAsADQAPABMAFQAXQDUAxIEABwAJAAsADQAPABMAFQAXQDYAxIEABwAJAAsADQAPABMAFQAXQDdA24LHaAEJaQENagEPQDgAxIEABwAJAAsADQAPABMAFQAXQDlA24LHawEJbAENbQEPQDoAxIEABwAJAAsADQAPABMAFQAXQDtA24LHbgEJbwENcAEPQDwAxIEABwAJAAsADQAPABMAFQAXQD1A24LHcQEJcgENcwEPQD4AxIEABwAJAAsADQAPABMAFQAXQD8AxIEABwAJAAsADQAPABMAFQAXQCBBG4LHdAEJdQENdgEPQCEBBIEABwAJAAsADQAPABMAFQAXQCIBAkAAAwDBdwEEQCMBAkAAAwDBeAEEQCQBAoEASwMAS4UAmtylAQJAAAMAwXkBBEAmAQJAAAMAwXoBBEAnAQKBAEsDAEuFAJrcqAECQAADAMF7AQRAKQECQAADAMF8AQRAKgECgQBLAwBLhQCa3KsBAkAAAwDBfQEEQCwBAkAAAwDBfgEEQC0BAoEASwMAS4UAmtyuAQJAAAMAwX8BBEAvAQJAAAMAwWABREAwAQKBAEsDAEuFAJrcsQECQAADAMFhAURAMgECQAADAMFiAURAMwECgQBLAwBLhQCa3LQBAkAAAwDBYwFEQDUBAkAAAwDBZAFEQDYBAoEASwMAS4UAmty3AQGAQGVBaYB4AQKAQKdBagBlQWmAeQEBgEBpQWmAegECgECqQWoAaUFpgHsBAYBAa0FpgHwBAoBArEFqAGtBaYB9AQGAQG1BaYB+AQKAQK5BagBtQWmAfwEBgEBvQWmAYAFCgECwQWoAb0FpgGEBQYBAcUFpgGIBQoBAskFqAHFBaYBjAUGAQHNBaYBkAUKAQLRBagBzQWmAZoFQEFsdHVhLkRhdGEuTnVtYmVyRm9ybWF0dGluZy5OdW1iZXJGb3JtYXRWYWx1ZVNlZ21lbnQsIEFsdHVhLkRhdGGVBaYBBQQDBdQFogU/QWx0dWEuRGF0YS5OdW1iZXJGb3JtYXR0aW5nLk51bWJlckZvcm1hdFRleHRTZWdtZW50LCBBbHR1YS5EYXRhnQWoAQUEAS0JAaUFpgEFBAMF2AWpBagBBQQBLQkBrQWmAQUEAwXcBbEFqAEFBAEtCQG1BaYBBQQDBeAFuQWoAQUEAS0JAb0FpgEFBAMF5AXBBagBBQQBLQkBxQWmAQUEAwXoBckFqAEFBAEtCQHNBaYBBQQDBewF0QWoAQUEAS0JAdQFBgEB8QW9AdgFBgEB8QW9AdwFBgEB+QW9AeAFBgEB8QW9AeQFBgEB8QW9AegFBgEB8QW9AewFBgEB8QW9AfYFOUFsdHVhLkRhdGEuTnVtYmVyRm9ybWF0dGluZy5OdW1iZXJQbGFjZWhvbGRlciwgQWx0dWEuRGF0YfEFvQEFAjAAAAD5Bb0BBQIwAAAA"/>
  <p:tag name="GRUNT-RENDERHASH" val="11c7d1db8272ef2f1eb8fb55a6d221be-svg"/>
  <p:tag name="GRUNT-X-SHAPEBOUNDS" val="ASIBBAAAAODFXFFAAAAA4La/a0AAAACAJO9wQAAAAKCvZm5AAA=="/>
  <p:tag name="GRUNT-X-PAGEOBJECT" val="AQUCoTIKOEFsdHVhLk9hay5Db3JlLkRvY3VtZW50TW9kZWwuQ2hhcnRPYmplY3QsIEFsdHVhLk9hay5Db3JlBQI1BBIEECYgbPK6rmBFjMlGiG/sizUMEgQQqH5Om47oS0iCnqhcj129VRUNBCUUNRg9HFUgZSQSUEFsdHVhLk9hay5Db3JlLkRvY3VtZW50TW9kZWwuVGVtcGxhdGluZy5DdXN0b21Qb3NpdGlvbkRlZmluaXRpb24sIEFsdHVhLk9hay5Db3JlDQQkBCIBBCACANzFHFJAFACg5bYfbEB4//98JI9wQCgAgCpJIGhAFBMVKB0sNTA4AEU1DkwCBTxVQF1EGAQEAgVIHAIFTCALBVAMBW5iLU5PFVQkDgEBCQERARkBIQEpATEBKBYEEgQQAAAAAAAAAAAAAAAAAAAAAAgBLBYEEgQQAAAAAAAAAAAAAAAAAAAAAAgBMAA6N0FsdHVhLk9hay5Db3JlLkNoYXJ0LkxpbmVQbG90RGVmaW5pdGlvbiwgQWx0dWEuT2FrLkNvcmU1DkYAAAgEJVg8EgQQ3jRUbdkvLEWeVglhY+JRS0QCBVxVYFkBcwAAAAAAAPA/fAIFZIUBaRuRAQGdAXClAXUeqQEAtQF8uQEAPAYBAoABhAFABQWIAQ0ARAIBAEgCAQBMAFAKBAEsDAEgFAJrclQJBAVuYi1OTwgBWA0AAAgBFAMFjAEcACUAXAIBAGAmBCIBBAAAAAAAABBAAAAAAAAAEEAAAAAAAAAQQAAAAAAAABBACARkBAEBkAFuRUFsdHVhLk9hay5Db3JlLlBsb3R0aW5nLkF1dG9tYXRpY0NhdGVnb3J5QXhpc1NldHRpbmdzLCBBbHR1YS5PYWsuQ29yZWkbEwEBDZQBEAAZATAAPZgBRZwBSAFwBgWhASkIAno9QWx0dWEuT2FrLkNvcmUuVGhlbWluZy5QYWdlQ29sb3JTY2hlbWVQb2ludGVyLCBBbHR1YS5PYWsuQ29yZXUeAHxKNagBPawBRbABVbQBXbgBdbwBjQHAAZ0BxAGlAcgBrQHMAc0B0AHVAdQB3QHYAeUB3AHtAeAB9QHkAf0B6AGFAuwBjQLwAZUC9AGAAUgEEgQQF/fU+/rkS0KjMEQe6grewyQSBBCfU7i5Q7LmTYqjngpAomrSLBIEEBr62hU1w49JstXwFt1Ohmo9+QE/RYACSQFdhAKEAUgEEgQQBbe507cO9EmRZBhNRm5FrCQSBBB9aSDeSXU3TZNMOE19FbqrLBIEEBr62hU1w49JstXwFt1Ohmo9+QE/RYgCSQFdjAKIAQCMAQIBAJABQgEBGAMlkAIpADEAQABIAlWUAl2YAmQSBBAa+toVNcOPSbLV8BbdToZqbZwCdaACjQGkApEBAZ0BqAKlAawCtQGwApQBAgEAmAEGBbUCTggEnAEGBb0CTggEpgE6QWx0dWEuT2FrLkNvcmUuVGhlbWluZy5CaW5kaW5nQ29sb3JQb2ludGVyLCBBbHR1YS5PYWsuQ29yZaEBKQQFwQJRqAEFBAMFyAKsAQUEAwXMArABBQQDBdACtAEFBAMF1AK4AQUEAwXYArwBBQQDBcgCwAEFBAMF3ALEAQUEAwXgAsgBBQQDBeQCzAEFBAMF6ALQAQUEAwXsAtQBBQQDBfAC2AEFBAMF9ALcAQUEAwX4AuABBQQDBfwC5AEFBAMFgAPoAQUEAwWEA+wBBQQDBYgD8AEFBAMFjAP0AQUEAwWQA/4BPkFsdHVhLk9hay5Db3JlLkNoYXJ0LkRlZmF1bHRQbG90U2VyaWVzU2V0dGluZ3MsIEFsdHVhLk9hay5Db3Jl+QE/AIACBAUACAGEAgUFlAMIAYgCBAUACAGMAgUFmAMIAZACCwMAAAAAAAAkQAgClAILAwAAAAAAADRACAKYAgsDAAAAAAAAAAAIAZwCFQWcAw2gAxWkAx2oAyWsAy2wAzW0A6ACBw24AxW9A06kAgsDAAAAAAAAAAAIBKgCBgXBA04IBKwCBgXBA04IBLACBQQDBcQDugIzQWx0dWEuT2FrLkNvcmUuVGhlbWluZy5Db2xvclBvaW50ZXIsIEFsdHVhLk9hay5Db3JltQJOUFBQ/70CTlBQUP/GAkhBbHR1YS5PYWsuQ29yZS5TeW50YXhTdHJ1Y3R1cmUuUGxvdFNlcmllc0JpbmRpbmdTdHJhdGVneSwgQWx0dWEuT2FrLkNvcmXBAlEAyAICAQDMAhYBCsgDzAPQA9QD2APcA+AD5APoA+wD0AIEAQHwA9QCBAEB9APYAgQBAfgD3AICAQDgAgIBAOQCDgEG/AOABIQEiASMBJAE6AICAQDsAhYBCpQEmAScBKAEpASoBKwEsAS0BLgE8AISAQi8BMAExATIBMwE0ATUBNgE9AICAQD4AgQBAdwE/AIKAQTgBOQE6ATsBIADAgEAhAMCAQCIAwIBAIwDAgEAkAMCAQCUAwUEAwXwBJgDBQQDBfQEnAMHBAMEAQAIBKADBQQBLggEpAMEAAEIBKgDBAAACASsAwQEAAgEsAMEBAAIBLQDBAAACAS4AwUEAwX4BL0DTj4+5f/BA05QUFD/xAMCAQDIAw4F/QSgAQsAAAAAAAAAAMwDDgWFBaIBCwAAAAAAAOA/0AMOBY0FpAELAAAAAAAA4D/UAw4FlQWmAQsAAAAAAADgP9gDDgWdBagBCwAAAAAAAPg/3AMOBaUFqgELAAAAAAAA4D/gAw4FrQWsAQsAAAAAAAAYQOQDDgW1Ba4BCwAAAAAAAAAA6AMOBb0FrAELAAAAAAAAGEDsAw4FwQWxAQsAAAAAAAAAAPADCAXJBaYBDcwF9AMHBdEFtQEIAfgDDgXRBbUBCwAAAAAAACRA/AMJBdkFtwEN4QUpgAQKBeUFqgEN6QW7AYQECgXxBaIBDfUFuwGIBAoF+QWkAQ39BbsBjAQJBYEGwQENiQZOkAQKBdEFtQENjQa7AZQEBwWRBsUBCQGYBAcFmQbHAQkBnAQHBaEGyQEJAaAEBwWpBssBCQCkBAcFsQbLAQkBqAQHBbUGzgEJAKwEBwW9Bs4BCQCwBAcFwQbRAQkAtAQHBckGzgEJALgEBwXNBtQBCQG8BAoF1QbWAQ3dBtgBwAQKBeUG2gEN7QbcAcQECgX1BssBDfkG3wHIBAoFgQfFAQ2FB+IBzAQKBY0HxwENhQfiAdAECgWRB8kBDZUH5gHUBAoFnQfLAQ2hB+kB2AQKBakH1AENrQffAdwECgWxB+0BDbkH7wHgBAoFwQfFAQ3FB/IB5AQKBc0H2gEN0QfyAegECgXVB8cBDdkH8gHsBAoF3QfWAQ3hB/IB8AQGAQHlB/oB9AQGAQHtB/oB+AQEAQIBBIIFWUFsdHVhLk9hay5Db3JlLk1vZGlmaWNhdGlvbi5TdHlsaW5nLlZhbHVlQXhpc0dyaWRsaW5lc0N1c3RvbWl6YXRpb25UYXJnZXQsIEFsdHVhLk9hay5Db3Jl/QSgAQCKBVNBbHR1YS5PYWsuQ29yZS5Nb2RpZmljYXRpb24uU3R5bGluZy5DYXRlZ29yeUF4aXNDdXN0b21pemF0aW9uVGFyZ2V0LCBBbHR1YS5PYWsuQ29yZYUFogEAkgVQQWx0dWEuT2FrLkNvcmUuTW9kaWZpY2F0aW9uLlN0eWxpbmcuT3JpZ29MaW5lQ3VzdG9taXphdGlvblRhcmdldCwgQWx0dWEuT2FrLkNvcmWNBaQBAJoFXUFsdHVhLk9hay5Db3JlLk1vZGlmaWNhdGlvbi5TdHlsaW5nLkFsbENvbm5lY3RvcnNBdXhpbGlhcnlDdXN0b21pemF0aW9uVGFyZ2V0LCBBbHR1YS5PYWsuQ29yZZUFpgEAogVZQWx0dWEuT2FrLkNvcmUuTW9kaWZpY2F0aW9uLlN0eWxpbmcuU2VyaWVzV2l0aFBsb3RLaW5kQ3VzdG9taXphdGlvblRhcmdldCwgQWx0dWEuT2FrLkNvcmWdBagBAwXwB6oFU0FsdHVhLk9hay5Db3JlLk1vZGlmaWNhdGlvbi5TdHlsaW5nLkFsbFZhbHVlQXhpc0N1c3RvbWl6YXRpb25UYXJnZXQsIEFsdHVhLk9hay5Db3JlpQWqAQCyBU1BbHR1YS5PYWsuQ29yZS5Nb2RpZmljYXRpb24uU3R5bGluZy5TZXJpZXNDdXN0b21pemF0aW9uVGFyZ2V0LCBBbHR1YS5PYWsuQ29yZa0FrAEUBBIEEH1pIN5JdTdNk0w4TX0Vuqu6BVtBbHR1YS5PYWsuQ29yZS5Nb2RpZmljYXRpb24uU3R5bGluZy5HcmlkbGluZUZvckRpcmVjdGlvbkN1c3RvbWl6YXRpb25UYXJnZXQsIEFsdHVhLk9hay5Db3JltQWuAQIBAb0FrAEUBBIEEJ9TuLlDsuZNiqOeCkCiatLGBVZBbHR1YS5PYWsuQ29yZS5Nb2RpZmljYXRpb24uU3R5bGluZy5TaW5nbGVWYWx1ZUF4aXNDdXN0b21pemF0aW9uVGFyZ2V0LCBBbHR1YS5PYWsuQ29yZcEFsQEUBBIEEBr62hU1w49JstXwFt1OhmrJBaYBAMwFBQwDBfQH1gVTQWx0dWEuT2FrLkNvcmUuTW9kaWZpY2F0aW9uLlN0eWxpbmcuU2VyaWVzTWFya2VyQ3VzdG9taXphdGlvblRhcmdldCwgQWx0dWEuT2FrLkNvcmXRBbUBFAQSBBB9aSDeSXU3TZNMOE19Fbqr3gVWQWx0dWEuT2FrLkNvcmUuTW9kaWZpY2F0aW9uLlN0eWxpbmcuQWxsU2VyaWVzTWFya2VyQ3VzdG9taXphdGlvblRhcmdldCwgQWx0dWEuT2FrLkNvcmXZBbcBAOEFKQQF+QdR5QWqAQDuBTdBbHR1YS5PYWsuQ29yZS5UaGVtaW5nLlBhZ2VDb2xvclBvaW50ZXIsIEFsdHVhLk9hay5Db3Jl6QW7AQQAAAgA8QWiAQD1BbsBBAAACAD5BaQBAP0FuwEEAAAIAIYGU0FsdHVhLk9hay5Db3JlLk1vZGlmaWNhdGlvbi5TdHlsaW5nLkFsbEdyaWRsaW5lc0N1c3RvbWl6YXRpb25UYXJnZXQsIEFsdHVhLk9hay5Db3JlgQbBAQCJBk6AgID/jQa7AQQAAAgAlgZYQWx0dWEuT2FrLkNvcmUuTW9kaWZpY2F0aW9uLlN0eWxpbmcuQWxsVmFsdWVBeGlzTGFiZWxDdXN0b21pemF0aW9uVGFyZ2V0LCBBbHR1YS5PYWsuQ29yZZEGxQEAngZXQWx0dWEuT2FrLkNvcmUuTW9kaWZpY2F0aW9uLlN0eWxpbmcuQWxsQ2F0ZWdvcnlMYWJlbEN1c3RvbWl6YXRpb25UYXJnZXQsIEFsdHVhLk9hay5Db3JlmQbHAQCmBlhBbHR1YS5PYWsuQ29yZS5Nb2RpZmljYXRpb24uU3R5bGluZy5BbGxBdXhpbGlhcnlMYWJlbEN1c3RvbWl6YXRpb25UYXJnZXQsIEFsdHVhLk9hay5Db3JloQbJAQCuBlhBbHR1YS5PYWsuQ29yZS5Nb2RpZmljYXRpb24uU3R5bGluZy5TZXJpZXNMYWJlbE9mVHlwZUN1c3RvbWl6YXRpb25UYXJnZXQsIEFsdHVhLk9hay5Db3JlqQbLAQIAArEGywECAAC6BlpBbHR1YS5PYWsuQ29yZS5Nb2RpZmljYXRpb24uU3R5bGluZy5WYWx1ZUF4aXNUaXRsZUxhYmVsQ3VzdG9taXphdGlvblRhcmdldCwgQWx0dWEuT2FrLkNvcmW1Bs4BFAQSBBCDpC2HMEgfQ7cJxO+pD9ykvQbOARQEEgQQukdhA1zTQECCVSAeItEioMYGVUFsdHVhLk9hay5Db3JlLk1vZGlmaWNhdGlvbi5TdHlsaW5nLlZhbHVlQXhpc0xhYmVsQ3VzdG9taXphdGlvblRhcmdldCwgQWx0dWEuT2FrLkNvcmXBBtEBFAQSBBAa+toVNcOPSbLV8BbdToZqyQbOARQEEgQQGvraFTXDj0my1fAW3U6GatIGUkFsdHVhLk9hay5Db3JlLk1vZGlmaWNhdGlvbi5TdHlsaW5nLlNlcmllc0xhYmVsQ3VzdG9taXphdGlvblRhcmdldCwgQWx0dWEuT2FrLkNvcmXNBtQBFgQSBBB9aSDeSXU3TZNMOE19FbqrCADaBlhBbHR1YS5PYWsuQ29yZS5Nb2RpZmljYXRpb24uU3R5bGluZy5DYXRlZ29yeUF4aXNUaXRsZUN1c3RvbWl6YXRpb25UYXJnZXQsIEFsdHVhLk9hay5Db3Jl1QbWAQDiBkZBbHR1YS5PYWsuQ29yZS5QbG90dGluZy5BeGlzVGl0bGVMYWJlbFBsYWNlbWVudE91dHNpZGUsIEFsdHVhLk9hay5Db3Jl3QbYAQIAAeoGXUFsdHVhLk9hay5Db3JlLk1vZGlmaWNhdGlvbi5TdHlsaW5nLkFsbFZhbHVlQXhpc1RpdGxlTGFiZWxDdXN0b21pemF0aW9uVGFyZ2V0LCBBbHR1YS5PYWsuQ29yZeUG2gEA8gZCQWx0dWEuT2FrLkNvcmUuUGxvdHRpbmcuQXhpc1RpdGxlTGFiZWxQbGFjZW1lbnRGYXIsIEFsdHVhLk9hay5Db3Jl7QbcAQIAAPUGywECAAD+BkBBbHR1YS5PYWsuQ29yZS5QbG90dGluZy5MYWJlbFBsYWNlbWVudFBvaW50T3V0ZXIsIEFsdHVhLk9hay5Db3Jl+QbfAQCBB8UBAIoHQUFsdHVhLk9hay5Db3JlLlBsb3R0aW5nLkF4aXNMYWJlbFBsYWNlbWVudE91dHNpZGUsIEFsdHVhLk9hay5Db3JlhQfiAQIBAI0HxwEAkQfJAQCaB0ZBbHR1YS5PYWsuQ29yZS5QbG90dGluZy5BdXhpbGlhcnlMYWJlbFBsYWNlbWVudERlZmF1bHQsIEFsdHVhLk9hay5Db3JllQfmAQCdB8sBAgACpgdDQWx0dWEuT2FrLkNvcmUuUGxvdHRpbmcuTGFiZWxQbGFjZW1lbnRTZXJpZXNPdXRzaWRlLCBBbHR1YS5PYWsuQ29yZaEH6QECAAGpB9QBFgQSBBB9aSDeSXU3TZNMOE19FbqrCACtB98BALYHUEFsdHVhLk9hay5Db3JlLk1vZGlmaWNhdGlvbi5TdHlsaW5nLkFsbExhYmVsc0N1c3RvbWl6YXRpb25UYXJnZXQsIEFsdHVhLk9hay5Db3JlsQftAQC+B0JBbHR1YS5PYWsuQ29yZS5TeW50YXhTdHJ1Y3R1cmUuQWN0dWFsRm9udFNpemVWYWx1ZSwgQWx0dWEuT2FrLkNvcmW5B+8BCQMAAAAAAAAoQMEHxQEAygdDQWx0dWEuT2FrLkNvcmUuU3ludGF4U3RydWN0dXJlLkFjdHVhbEZvbnRDb2xvclZhbHVlLCBBbHR1YS5PYWsuQ29yZcUH8gEFBf0HuwHNB9oBANEH8gEFBYEIuwHVB8cBANkH8gEFBYUIuwHdB9YBAOEH8gEFBYkIuwHqBy9BbHR1YS5EYXRhLkluZnJhc3RydWN0dXJlLlBhcmFncmFwaCwgQWx0dWEuRGF0YeUH+gEFDAMFjAjtB/oBBQwDBZAI8AcBBfQHCgECAACAQAAAQED5B1EA/Qe7AQQAAAgAgQi7AQQAAAgAhQi7AQQAAAgAiQi7AQQAAAgAjAgGAQGVCIYCkAgGAQGdCIYCmggvQWx0dWEuRGF0YS5JbmZyYXN0cnVjdHVyZS5OdW1iZXJSdW4sIEFsdHVhLkRhdGGVCIYCEwQOAwAAAAAAnJ9AHaEIiQINqAidCIYCEwQOAwAAAAAAoJ9AHa0IiQINsAimCD1BbHR1YS5EYXRhLk51bWJlckZvcm1hdHRpbmcuQ29tcG9zaXRlTnVtYmVyRm9ybWF0LCBBbHR1YS5EYXRhoQiJAgsdtAgluAg1vAg9AKgIEgQAHAAkACwANAA8AEwAVABdAK0IiQILHcAIJcQINcgIPQCwCBIEABwAJAAsADQAPABMAFQAXQC0CAkAAAwDBcwIEQC4CAkAAAwDBdAIEQC8CAoEASwMAS4UAmtywAgJAAAMAwXUCBEAxAgJAAAMAwXYCBEAyAgKBAEsDAEuFAJrcswIBgEB3QiYAtAICgEC5QiaAt0ImALUCAYBAe0ImALYCAoBAvEImgLtCJgC4ghAQWx0dWEuRGF0YS5OdW1iZXJGb3JtYXR0aW5nLk51bWJlckZvcm1hdFZhbHVlU2VnbWVudCwgQWx0dWEuRGF0Yd0ImAIFBAMF9AjqCD9BbHR1YS5EYXRhLk51bWJlckZvcm1hdHRpbmcuTnVtYmVyRm9ybWF0VGV4dFNlZ21lbnQsIEFsdHVhLkRhdGHlCJoCBQQBLQkB7QiYAgUEAwX4CPEImgIFBAEtCQH0CAYBAf0IoAL4CAYBAf0IoAKCCTlBbHR1YS5EYXRhLk51bWJlckZvcm1hdHRpbmcuTnVtYmVyUGxhY2Vob2xkZXIsIEFsdHVhLkRhdGH9CKACBQIwAAAA"/>
  <p:tag name="GRUNT-SYNC" val="3d39603a89be4cf4b2a10994041267a6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hxoKN0FsdHVhLkRhdGEuRGF0YVNlcnZpY2VzLkVtYmVkZGVkRGF0YVNlcnZpY2UsIEFsdHVhLkRhdGEFAhkEEgQQyEZP92uXDUSuTaaq0npQ2Q0MJREFDAYFGAgWEAYWQUFsdHVhLkRhdGEuRGF0YVNlcnZpY2VzLkVtYmVkZGVkRGF0YVNlcnZpY2VFZGl0b3JEYXRhLCBBbHR1YS5EYXRhEQUEBRwNIBgGBSQNKBUsHFodBBIEEB/rjDimIctLiTIXQgTfWDQLAAAAAAAgYkAdBBIEEPnByvGh9XFHvzRuyqHIGJQLAAAAAACAXkAdBBIEENqNKxB7T5pMmUYr804v+BwLAAAAAAAAUUAgHh0EEgQQhB+R4huFNUGwuFZrPUlJDwsAAAAAAAAyQCQKMDQ4PEBESExQVCgCWFwskAcsBCgEEgQQ2o0rEHtPmkyZRivzTi/4HAwSBBBfl5CXxFq7QpsQMAZxTsVZDWAsBCgEEgQQdZ6YkVxDK0eAjaDLHe+U4wwSBBBfl5CXxFq7QpsQMAZxTsVZDWQsBCgEEgQQM3YuVsqsz0O4n/jX90PyIgwSBBBfl5CXxFq7QpsQMAZxTsVZDWgsBCgEEgQQt/cYA7Ph9UG2aTciZlqhqAwSBBBfl5CXxFq7QpsQMAZxTsVZDWwsBCgEEgQQH+uMOKYhy0uJMhdCBN9YNAwSBBBfl5CXxFq7QpsQMAZxTsVZDXAsBCgEEgQQimnTAyMohEmFM4JIuPvSOQwSBBD5LFn+/d9vRbn+Z9Mj0qsjDXQsBCgEEgQQt/cYA7Ph9UG2aTciZlqhqAwSBBD5LFn+/d9vRbn+Z9Mj0qsjDXgsBCgEEgQQimnTAyMohEmFM4JIuPvSOQwSBBBfl5CXxFq7QpsQMAZxTsVZDXwtBCgEEgQQBBdRQeFS0U6ddoGs9qSAYAwSBBD5LFn+/d9vRbn+Z9Mj0qsjDYABLQQoBBIEENqNKxB7T5pMmUYr804v+BwMEgQQ+SxZ/v3fb0W5/mfTI9KrIw2EAS0EKAQSBBB1npiRXEMrR4CNoMsd75TjDBIEEPksWf79329Fuf5n0yPSqyMNiAEtBCgEEgQQs8rda3jLYUqqD3LdfUj/fAwSBBBfl5CXxFq7QpsQMAZxTsVZDYwBLQQoBBIEEAQXUUHhUtFOnXaBrPakgGAMEgQQX5eQl8Rau0KbEDAGcU7FWQ2QAS0EKAQSBBCzyt1reMthSqoPct19SP98DBIEEPksWf79329Fuf5n0yPSqyMNlAEtBCgEEgQQNPpT7zKwAEOXmqG+4kuMhAwSBBBfl5CXxFq7QpsQMAZxTsVZDZgBLQQoBBIEEMijDlmNgrdKpiDD41+w/qsMEgQQX5eQl8Rau0KbEDAGcU7FWQ2cAS0EKAQSBBAf64w4piHLS4kyF0IE31g0DBIEEPksWf79329Fuf5n0yPSqyMNoAEtBCgEEgQQM3YuVsqsz0O4n/jX90PyIgwSBBD5LFn+/d9vRbn+Z9Mj0qsjDaQBLQQoBBIEEMijDlmNgrdKpiDD41+w/qsMEgQQ+SxZ/v3fb0W5/mfTI9KrIw2oAS0EKAQSBBA0+lPvMrAAQ5eaob7iS4yEDBIEEPksWf79329Fuf5n0yPSqyMNrAEwGgQSBBDajSsQe0+aTJlGK/NOL/gcDAJDMRAANBoEEgQQH+uMOKYhy0uJMhdCBN9YNAwCQzIQADgaBBIEEHWemJFcQytHgI2gyx3vlOMMAkMzEAA8GgQSBBAzdi5WyqzPQ7if+Nf3Q/IiDAJDNBAAQBsEEgQQNPpT7zKwAEOXmqG+4kuMhAwDQzEyEABEGwQSBBCKadMDIyiESYUzgki4+9I5DANDMTMQAEgbBBIEEMijDlmNgrdKpiDD41+w/qsMA0MxNBAATBsEEgQQs8rda3jLYUqqD3LdfUj/fAwDQzE5EABQGwQSBBC39xgDs+H1QbZpNyJmWqGoDANDMjAQAFQbBBIEEAQXUUHhUtFOnXaBrPakgGAMA0MyMRAAWBoEEgQQX5eQl8Rau0KbEDAGcU7FWQwCUjEQAFwaBBIEEPksWf79329Fuf5n0yPSqyMMAlIzEABgBg2wARW0AWQGDbABFbgBaAYNsAEVvAFsBg3AARXEAXAGDbABFcgBdAYNzAEV0AF4Bg3AARXUAXwGDcwBFdgBgAEGDcABFdwBhAEGDbABFeABiAEGDbABFeQBjAEGDcABFegBkAEGDcABFewBlAEGDcABFfABmAEGDcwBFfQBnAEGDcwBFfgBoAEGDbABFfwBpAEGDbABFYACqAEGDcwBFYQCrAEGDcwBFYgCsAECBAC0AQUEAwWMArgBBQQDBZACvAEFBAMFlALAAQIEAMQBBQQDBZgCyAEFBAMFnALMAQIEANABBQQDBaAC1AEFBAMFpALYAQUEAwWoAtwBBQQDBawC4AEFBAMFsALkAQUEAwW0AugBBQQDBbgC7AEFBAMFvALwAQUEAwXAAvQBBQQDBcQC+AEFBAMFyAL8AQUEAwXMAoACBQQDBdAChAIFBAMF1AKIAgUEAwXYAowCAgEAkAIFAQHdAliUAgUBAeUCWJgCBQEB6QJYnAIFAQHtAligAgUBAfECWKQCBQEB9QJYqAIFAQH5AlisAgUBAf0CWLACAgEAtAIFAQGBA1i4AgUBAYUDWLwCBQEBiQNYwAIFAQGNA1jEAgUBAZEDWMgCBQEBlQNYzAIFAQGZA1jQAgUBAZ0DWNQCBQEBoQNY2AIFAQGlA1jiAi9BbHR1YS5EYXRhLkluZnJhc3RydWN0dXJlLlBhcmFncmFwaCwgQWx0dWEuRGF0Yd0CWAUMAwWoA+UCWAUMAwWsA+kCWAUMAwWwA+0CWAUMAwW0A/ECWAUMAwW4A/UCWAUMAwW8A/kCWAUMAwXAA/0CWAUMAwXEA4EDWAUMAwXIA4UDWAUMAwXMA4kDWAUMAwXQA40DWAUMAwXUA5EDWAUMAwXYA5UDWAUMAwXcA5kDWAUMAwXgA50DWAUMAwXkA6EDWAUMAwXoA6UDWAUMAwXsA6gDBQEB8QN9rAMFAQH5A32wAwUBAf0DfbQDBQEBgQR9uAMGAQGFBIIBvAMGAQGNBIIBwAMFAQGRBH3EAwYBAZUEggHIAwYBAZkEggHMAwUBAZ0EfdADBQEBoQR91AMGAQGlBIIB2AMFAQGpBH3cAwUBAa0EfeADBgEBsQSCAeQDBgEBtQSCAegDBgEBuQSCAewDBgEBvQSCAfYDLUFsdHVhLkRhdGEuSW5mcmFzdHJ1Y3R1cmUuVGV4dFJ1biwgQWx0dWEuRGF0YfEDfQ0ECEluZHVzdHJpDcAE+QN9EwQOQnlnZyBvZyBhbmxlZ2cNwAT9A30ZBBRKb3JkYnJ1ayBvZyBza29nYnJ1aw3ABIEEfRYEEUZpc2tlcmkgLyBoYXZicnVrDcAEigQvQWx0dWEuRGF0YS5JbmZyYXN0cnVjdHVyZS5OdW1iZXJSdW4sIEFsdHVhLkRhdGGFBIIBEwQOAwAAAAAAgENAHcUEkgENzASNBIIBEwQOAwAAAAAAAD5AHcUEkgENzASRBH0YBBNIb3RlbGwgLyByZXN0YXVyYW50DcAElQSCARMEDgMAAAAAAAA9QB3FBJIBDcwEmQSCARMEDgMAAAAAAABHQB3FBJIBDcwEnQR9DwQKVmFyZWhhbmRlbA3ABKEEfQwEB0VpZW5kb20NwASlBIIBEwQOAwAAAAAAgEFAHcUEkgENzASpBH0jBB5UamVuZXN0ZXl0aW5nIG9nIGtvbW11bmlrYXNqb24N0AStBH0ZBBRUcmFuc3BvcnQgb2cgbGFncmluZw3ABLEEggETBA4DAAAAAACATUAdxQSSAQ3MBLUEggETBA4DAAAAAACARUAdxQSSAQ3MBLkEggETBA4DAAAAAACAQ0AdxQSSAQ3MBL0EggETBA4DAAAAAACAREAdxQSSAQ3MBMAEEgQAHAAkACwANAA8AEwAVABdAMoEPUFsdHVhLkRhdGEuTnVtYmVyRm9ybWF0dGluZy5Db21wb3NpdGVOdW1iZXJGb3JtYXQsIEFsdHVhLkRhdGHFBJIBCx3UBCXYBDXcBD0AzAQSBAAcACQALAA0ADwATABUAF0A0AQSBAAcACQALAA0ADwATABUAF0A1AQJAAAMAwXgBBEA2AQJAAAMAwXkBBEA3AQKBAEsDAEuFAJrcuAEBgEB6QSbAeQECgEC8QSdAfkEmwHuBEJBbHR1YS5EYXRhLk51bWJlckZvcm1hdHRpbmcuTnVtYmVyRm9ybWF0R2VuZXJhbFNlZ21lbnQsIEFsdHVhLkRhdGHpBJsBAPYEP0FsdHVhLkRhdGEuTnVtYmVyRm9ybWF0dGluZy5OdW1iZXJGb3JtYXRUZXh0U2VnbWVudCwgQWx0dWEuRGF0YfEEnQEFBAEtCQH5BJsBAA=="/>
  <p:tag name="GRUNT-RENDERHASH" val="4553a008aca792519bfe4b6d9cff8563-svg"/>
  <p:tag name="GRUNT-X-SHAPEBOUNDS" val="ASIBBAAAAEDwRHhAAAAAoLEsaUAAAABg3jt/QAAAAIAFLnBAAA=="/>
  <p:tag name="GRUNT-X-PAGEOBJECT" val="AQUC9CkKOEFsdHVhLk9hay5Db3JlLkRvY3VtZW50TW9kZWwuQ2hhcnRPYmplY3QsIEFsdHVhLk9hay5Db3JlBQI1BBIEEASjOUidmQlHv3ab4jpj1x8MEgQQyEZP92uXDUSuTaaq0npQ2RUNBCUUNRg9HFUgZSQSUEFsdHVhLk9hay5Db3JlLkRvY3VtZW50TW9kZWwuVGVtcGxhdGluZy5DdXN0b21Qb3NpdGlvbkRlZmluaXRpb24sIEFsdHVhLk9hay5Db3JlDQQkBCIBBNwAIE2AToJAAAAAqLE0aUBI/r9p/xlyQOzQyYYFJnBAFBMVKB0sNTA4AEU1DkwCBTxVQF1EGAQEAgVIHAIFTCALBVAMBW5iLU5PFVQkDgEBCQERARkBIQEpATEBKBYEEgQQAAAAAAAAAAAAAAAAAAAAAAgBLBYEEgQQAAAAAAAAAAAAAAAAAAAAAAgBMAA6RUFsdHVhLk9hay5Db3JlLkNoYXJ0LlN0YWNrZWRCYXJXaXRoTGluZVBsb3REZWZpbml0aW9uLCBBbHR1YS5PYWsuQ29yZTUOMgQSBBBx4wR50Gq3QoPepdSTsXm6HAIFWCVcNWA8AgVkSQBtaKUBbRypAQC1AXUevQF8PAQBAYABQAUFhAENAEQCAQBIAgEATABQCgQBLAwBIBQCa3JUCQQFbmItTk8IAVgEAQGIAVwNAAAIARQDBYwBHAAlAGAmBCIBBAAAAAAAABBAAAAAAAAAEEAAAAAAAAAQQAAAAAAAABBACARkAgEAaAsDAAAAAAAATEAIIHJFQWx0dWEuT2FrLkNvcmUuUGxvdHRpbmcuQXV0b21hdGljQ2F0ZWdvcnlBeGlzU2V0dGluZ3MsIEFsdHVhLk9hay5Db3JlbRwTAQENkAEQABkBMAA9lAFFmAFIAXo9QWx0dWEuT2FrLkNvcmUuVGhlbWluZy5QYWdlQ29sb3JTY2hlbWVQb2ludGVyLCBBbHR1YS5PYWsuQ29yZXUeAHxKNZwBPaABRaQBVagBXawBdbABjQG0AZ0BuAGlAbwBrQHAAc0BxAHVAcgB3QHMAeUB0AHtAdQB9QHYAf0B3AGFAuABjQLkAZUC6AGAAUgEEgQQ+SxZ/v3fb0W5/mfTI9KrIyQSBBDeEv+gt+OZUY2Brka6081VLBIEEGu+AZO+ReBImgsbhBM+vsQ97QE8RfQBSQFd+AGEARL8AYAChAKIAowCkAKUApgCnAKIAUIBARgDJaACKQAxAEADSAJVpAJdqAJkEgQQa74Bk75F4EiaCxuEEz6+xG2sAnWwAo0BtAKRAQGdAbgCpQG8ArUBwAKMAQIBAJABAgEAlAEGBcUCUggEmAEGBc0CUggEnAEFBAMF0AKgAQUEAwXUAqQBBQQDBdgCqAEFBAMF3AKsAQUEAwXQArABBQQDBdACtAEFBAMF4AK4AQUEAwXkArwBBQQDBegCwAEFBAMF7ALEAQUEAwXwAsgBBQQDBfQCzAEFBAMF+ALQAQUEAwX8AtQBBQQDBYAD2AEFBAMFhAPcAQUEAwWIA+ABBQQDBYwD5AEFBAMFkAPoAQUEAwWUA/IBPkFsdHVhLk9hay5Db3JlLkNoYXJ0LkRlZmF1bHRQbG90U2VyaWVzU2V0dGluZ3MsIEFsdHVhLk9hay5Db3Jl7QE8APQBBAUACAH4AQUFmAMIAfwBKgQSBBC2eXxy0EHyUKp5dbmyumSbDBIEEB/rjDimIctLiTIXQgTfWDQRAYACKgQSBBCt8ZGjGoJ1X7h1pm/wB+aNDBIEEHWemJFcQytHgI2gyx3vlOMRAYQCKgQSBBAUgTfa/GNkVrpdQgis1b/wDBIEEDN2LlbKrM9DuJ/41/dD8iIRAYgCKgQSBBCTgIVTleikX6JMKxlqpeRnDBIEEDT6U+8ysABDl5qhvuJLjIQRAYwCKgQSBBBYThvhaYp0Wbqh9QcYD8y2DBIEEIpp0wMjKIRJhTOCSLj70jkRAZACKgQSBBCgYxYdro+lWal8OL4ue+SeDBIEEMijDlmNgrdKpiDD41+w/qsRAZQCKgQSBBDF35lcWMRgWZB4fSBR3DuLDBIEELQLCZeW9bdDj9hUPoQs5QQRAZgCKgQSBBAhl/fjju2yXrp/pp8nHlQWDBIEELq2nrRJHtBJn4byxeJ+Vo4RAZwCKgQSBBB1j+ufu4Z+SYqQNvceEeHJDBIEED83CKHwdIlFh5MIaigR5qQRAaACCwMAAAAAAAAAAAgBpAILAwAAAAAAAAAACAKoAgsDAAAAAAAAAAAIAawCFQWcAw2gAxWkAx2oAyWsAy2wAzW0A7ACBw24AxW9A1K0AgsDAAAAAAAAAAAIBLgCBgXBA1IIBLwCBgXBA1IIBMACBQQDBcQDygIzQWx0dWEuT2FrLkNvcmUuVGhlbWluZy5Db2xvclBvaW50ZXIsIEFsdHVhLk9hay5Db3JlxQJSUFBQ/80CUlBQUP/QAgIBANQCDgEGyAPMA9AD1APYA9wD2AIEAQHgA9wCAgEA4AICAQDkAgIBAOgCDAEF5APoA+wD8AP0A+wCAgEA8AIOAQb4A/wDgASEBIgEjAT0AhQBCZAElASYBJwEoASkBKgErASwBPgCAgEA/AIEAQG0BIADCgEEuAS8BMAExASEAwIBAIgDAgEAjAMCAQCQAwIBAJQDAgEAmAMFBAMFyAScAwcEAwQBAAgEoAMFBAEuCASkAwQAAQgEqAMEAAAIBKwDBAQACASwAwQEAAgEtAMEAAAIBLgDBQQDBcwEvQNSPj7l/8EDUlBQUP/EAwIBAMgDDgXRBJUBCwAAAAAAAAAAzAMOBdkElwELAAAAAAAAAADQAw4F4QSZAQsAAAAAAADgP9QDDgXpBJsBCwAAAAAAAOA/2AMOBfEEnQELAAAAAAAA4D/cAw4F+QSfAQsAAAAAAAD4P+ADCAWBBZ0BDYQF5AMKBYkFowENkQWlAegDCgWZBZUBDZ0FqAHsAwoFpQWZAQ2pBagB8AMKBa0FmwENsQWoAfQDCQW1Ba4BDb0FUvgDBwXBBbEBCQD8AwcFyQWzAQkBgAQHBdEFtQEJAYQEBwXZBbcBCQGIBAcF4QW5AQkBjAQHBekFuwEJAZAECgXxBb0BDfkFvwGUBAoFgQbBAQ2JBsMBmAQKBZEGxQENmQbHAZwECgWhBsUBDaUGygGgBAoFrQa1AQ2lBsoBpAQKBbEGsQENtQbOAagECgW9BrcBDbUGzgGsBAoFwQa5AQ3FBtIBsAQKBekFuwENzQbUAbQECgXVBtYBDd0G2AG4BAoF5QaxAQ3pBtsBvAQKBfEGwQEN9QbbAcAECgX5BrcBDf0G2wHEBAoFgQe9AQ2FB9sByAQCAQDMBAQBAgEE1gRTQWx0dWEuT2FrLkNvcmUuTW9kaWZpY2F0aW9uLlN0eWxpbmcuQWxsVmFsdWVBeGlzQ3VzdG9taXphdGlvblRhcmdldCwgQWx0dWEuT2FrLkNvcmXRBJUBAN4EWUFsdHVhLk9hay5Db3JlLk1vZGlmaWNhdGlvbi5TdHlsaW5nLlZhbHVlQXhpc0dyaWRsaW5lc0N1c3RvbWl6YXRpb25UYXJnZXQsIEFsdHVhLk9hay5Db3Jl2QSXAQDmBFNBbHR1YS5PYWsuQ29yZS5Nb2RpZmljYXRpb24uU3R5bGluZy5DYXRlZ29yeUF4aXNDdXN0b21pemF0aW9uVGFyZ2V0LCBBbHR1YS5PYWsuQ29yZeEEmQEA7gRQQWx0dWEuT2FrLkNvcmUuTW9kaWZpY2F0aW9uLlN0eWxpbmcuT3JpZ29MaW5lQ3VzdG9taXphdGlvblRhcmdldCwgQWx0dWEuT2FrLkNvcmXpBJsBAPYEXUFsdHVhLk9hay5Db3JlLk1vZGlmaWNhdGlvbi5TdHlsaW5nLkFsbENvbm5lY3RvcnNBdXhpbGlhcnlDdXN0b21pemF0aW9uVGFyZ2V0LCBBbHR1YS5PYWsuQ29yZfEEnQEA/gRZQWx0dWEuT2FrLkNvcmUuTW9kaWZpY2F0aW9uLlN0eWxpbmcuU2VyaWVzV2l0aFBsb3RLaW5kQ3VzdG9taXphdGlvblRhcmdldCwgQWx0dWEuT2FrLkNvcmX5BJ8BAwWIB4EFnQEAhAUFDAMFjAeOBVZBbHR1YS5PYWsuQ29yZS5Nb2RpZmljYXRpb24uU3R5bGluZy5BbGxTZXJpZXNNYXJrZXJDdXN0b21pemF0aW9uVGFyZ2V0LCBBbHR1YS5PYWsuQ29yZYkFowEAlgU6QWx0dWEuT2FrLkNvcmUuVGhlbWluZy5CaW5kaW5nQ29sb3JQb2ludGVyLCBBbHR1YS5PYWsuQ29yZZEFpQEFBZEH5QGZBZUBAKIFN0FsdHVhLk9hay5Db3JlLlRoZW1pbmcuUGFnZUNvbG9yUG9pbnRlciwgQWx0dWEuT2FrLkNvcmWdBagBBAAACAClBZkBAKkFqAEEAAAIAK0FmwEAsQWoAQQAAAgAugVTQWx0dWEuT2FrLkNvcmUuTW9kaWZpY2F0aW9uLlN0eWxpbmcuQWxsR3JpZGxpbmVzQ3VzdG9taXphdGlvblRhcmdldCwgQWx0dWEuT2FrLkNvcmW1Ba4BAL0FUoCAgP/GBVhBbHR1YS5PYWsuQ29yZS5Nb2RpZmljYXRpb24uU3R5bGluZy5BbGxWYWx1ZUF4aXNMYWJlbEN1c3RvbWl6YXRpb25UYXJnZXQsIEFsdHVhLk9hay5Db3JlwQWxAQDOBWZBbHR1YS5PYWsuQ29yZS5Nb2RpZmljYXRpb24uU3R5bGluZy5TdGFja2VkQmFyQXV0b21hdGljU2VnbWVudExhYmVsQ3VzdG9taXphdGlvblRhcmdldCwgQWx0dWEuT2FrLkNvcmXJBbMBANYFVUFsdHVhLk9hay5Db3JlLk1vZGlmaWNhdGlvbi5TdHlsaW5nLkFsbFRvdGFsTGFiZWxzQ3VzdG9taXphdGlvblRhcmdldCwgQWx0dWEuT2FrLkNvcmXRBbUBAN4FV0FsdHVhLk9hay5Db3JlLk1vZGlmaWNhdGlvbi5TdHlsaW5nLkFsbENhdGVnb3J5TGFiZWxDdXN0b21pemF0aW9uVGFyZ2V0LCBBbHR1YS5PYWsuQ29yZdkFtwEA5gVYQWx0dWEuT2FrLkNvcmUuTW9kaWZpY2F0aW9uLlN0eWxpbmcuQWxsQXV4aWxpYXJ5TGFiZWxDdXN0b21pemF0aW9uVGFyZ2V0LCBBbHR1YS5PYWsuQ29yZeEFuQEA7gVYQWx0dWEuT2FrLkNvcmUuTW9kaWZpY2F0aW9uLlN0eWxpbmcuU2VyaWVzTGFiZWxPZlR5cGVDdXN0b21pemF0aW9uVGFyZ2V0LCBBbHR1YS5PYWsuQ29yZekFuwECAAL2BVhBbHR1YS5PYWsuQ29yZS5Nb2RpZmljYXRpb24uU3R5bGluZy5DYXRlZ29yeUF4aXNUaXRsZUN1c3RvbWl6YXRpb25UYXJnZXQsIEFsdHVhLk9hay5Db3Jl8QW9AQD+BUJBbHR1YS5PYWsuQ29yZS5QbG90dGluZy5BeGlzVGl0bGVMYWJlbFBsYWNlbWVudEZhciwgQWx0dWEuT2FrLkNvcmX5Bb8BAgAAhgZdQWx0dWEuT2FrLkNvcmUuTW9kaWZpY2F0aW9uLlN0eWxpbmcuQWxsVmFsdWVBeGlzVGl0bGVMYWJlbEN1c3RvbWl6YXRpb25UYXJnZXQsIEFsdHVhLk9hay5Db3JlgQbBAQCOBkZBbHR1YS5PYWsuQ29yZS5QbG90dGluZy5BeGlzVGl0bGVMYWJlbFBsYWNlbWVudE91dHNpZGUsIEFsdHVhLk9hay5Db3JliQbDAQIAAZYGX0FsdHVhLk9hay5Db3JlLk1vZGlmaWNhdGlvbi5TdHlsaW5nLlNlcmllc0xhYmVsc1dpdGhQbG90S2luZEN1c3RvbWl6YXRpb25UYXJnZXQsIEFsdHVhLk9hay5Db3JlkQbFAQUFmAcIAJ4GPEFsdHVhLk9hay5Db3JlLlBsb3R0aW5nLkxhYmVsUGxhY2VtZW50SW5zaWRlLCBBbHR1YS5PYWsuQ29yZZkGxwEEAAEIAaEGxQEFBZwHCACqBj1BbHR1YS5PYWsuQ29yZS5QbG90dGluZy5MYWJlbFBsYWNlbWVudE91dHNpZGUsIEFsdHVhLk9hay5Db3JlpQbKAQCtBrUBALEGsQEAugZBQWx0dWEuT2FrLkNvcmUuUGxvdHRpbmcuQXhpc0xhYmVsUGxhY2VtZW50T3V0c2lkZSwgQWx0dWEuT2FrLkNvcmW1Bs4BAgEAvQa3AQDBBrkBAMoGRkFsdHVhLk9hay5Db3JlLlBsb3R0aW5nLkF1eGlsaWFyeUxhYmVsUGxhY2VtZW50RGVmYXVsdCwgQWx0dWEuT2FrLkNvcmXFBtIBANIGQ0FsdHVhLk9hay5Db3JlLlBsb3R0aW5nLkxhYmVsUGxhY2VtZW50U2VyaWVzT3V0c2lkZSwgQWx0dWEuT2FrLkNvcmXNBtQBAgAA2gZQQWx0dWEuT2FrLkNvcmUuTW9kaWZpY2F0aW9uLlN0eWxpbmcuQWxsTGFiZWxzQ3VzdG9taXphdGlvblRhcmdldCwgQWx0dWEuT2FrLkNvcmXVBtYBAOIGQkFsdHVhLk9hay5Db3JlLlN5bnRheFN0cnVjdHVyZS5BY3R1YWxGb250U2l6ZVZhbHVlLCBBbHR1YS5PYWsuQ29yZd0G2AEJAwAAAAAAAChA5QaxAQDuBkNBbHR1YS5PYWsuQ29yZS5TeW50YXhTdHJ1Y3R1cmUuQWN0dWFsRm9udENvbG9yVmFsdWUsIEFsdHVhLk9hay5Db3Jl6QbbAQUFoQeoAfEGwQEA9QbbAQUFpQeoAfkGtwEA/QbbAQUFqQeoAYEHvQEAhQfbAQUFrQeoAYgHAQWMBwoBAgAAgEAAAEBAlgdIQWx0dWEuT2FrLkNvcmUuU3ludGF4U3RydWN0dXJlLlBsb3RTZXJpZXNCaW5kaW5nU3RyYXRlZ3ksIEFsdHVhLk9hay5Db3JlkQflAQCYBwIAAZwHAQWhB6gBBAAACAClB6gBBAAACACpB6gBBAAACACtB6gBBAAACAA="/>
  <p:tag name="GRUNT-SYNC" val="6250268f9efb43b780e6029cfaefeae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c9258ce2-4892-452d-a98c-92102ffa4b88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8BoKN0FsdHVhLkRhdGEuRGF0YVNlcnZpY2VzLkVtYmVkZGVkRGF0YVNlcnZpY2UsIEFsdHVhLkRhdGEFAhkEEgQQ5CJQPKNmEEe4H6xB8TxeWQ0MJREFDAYFGAgNEAcWQUFsdHVhLkRhdGEuRGF0YVNlcnZpY2VzLkVtYmVkZGVkRGF0YVNlcnZpY2VFZGl0b3JEYXRhLCBBbHR1YS5EYXRhEQUEBRwNIBgGBSQNKBUsHDwdBBIEENNz8cQb9wFOoDLwDWItJDkLAAAAAAAAHEAdBBIEEB/rjDimIctLiTIXQgTfWDQLAAAAAAAgYkAgWh0EEgQQhB+R4huFNUGwuFZrPUlJDwsAAAAAAAAyQB0EEgQQ+SxZ/v3fb0W5/mfTI9KrIwsAAAAAAAAyQB0EEgQQF/fU+/rkS0KjMEQe6grewwsAAAAAAAAyQCQHMDQ4PEBESCgCTFAs+QQsBCgEEgQQ2o0rEHtPmkyZRivzTi/4HAwSBBBfl5CXxFq7QpsQMAZxTsVZDVQsBCgEEgQQH+uMOKYhy0uJMhdCBN9YNAwSBBAFt7nTtw70SZFkGE1GbkWsDVgsBCgEEgQQdZ6YkVxDK0eAjaDLHe+U4wwSBBBfl5CXxFq7QpsQMAZxTsVZDVwsBCgEEgQQM3YuVsqsz0O4n/jX90PyIgwSBBBfl5CXxFq7QpsQMAZxTsVZDWAsBCgEEgQQH+uMOKYhy0uJMhdCBN9YNAwSBBBfl5CXxFq7QpsQMAZxTsVZDWQsBCgEEgQQM3YuVsqsz0O4n/jX90PyIgwSBBAFt7nTtw70SZFkGE1GbkWsDWgsBCgEEgQQWZ9h5liRP0iEKp689x5lRgwSBBBfl5CXxFq7QpsQMAZxTsVZDWwsBCgEEgQQwqHEVOV/GEKGOrIB1QvRAQwSBBBfl5CXxFq7QpsQMAZxTsVZDXAsBCgEEgQQ2o0rEHtPmkyZRivzTi/4HAwSBBAFt7nTtw70SZFkGE1GbkWsDXQsBCgEEgQQdZ6YkVxDK0eAjaDLHe+U4wwSBBAFt7nTtw70SZFkGE1GbkWsDXgsBCgEEgQQWZ9h5liRP0iEKp689x5lRgwSBBAFt7nTtw70SZFkGE1GbkWsDXwtBCgEEgQQ5PInsc7xekOZNXqmuIfDUgwSBBAFt7nTtw70SZFkGE1GbkWsDYABLQQoBBIEEOTyJ7HO8XpDmTV6priHw1IMEgQQX5eQl8Rau0KbEDAGcU7FWQ2EAS0EKAQSBBDCocRU5X8YQoY6sgHVC9EBDBIEEAW3udO3DvRJkWQYTUZuRawNiAEwGgQSBBDajSsQe0+aTJlGK/NOL/gcDAJDMRAANBoEEgQQH+uMOKYhy0uJMhdCBN9YNAwCQzIQADgaBBIEEHWemJFcQytHgI2gyx3vlOMMAkMzEAA8GgQSBBAzdi5WyqzPQ7if+Nf3Q/IiDAJDNBAAQBoEEgQQWZ9h5liRP0iEKp689x5lRgwCQzUQAEQaBBIEEOTyJ7HO8XpDmTV6priHw1IMAkM2EABIGwQSBBDCocRU5X8YQoY6sgHVC9EBDANDMTIQAEwaBBIEEF+XkJfEWrtCmxAwBnFOxVkMAlIxEABQGgQSBBAFt7nTtw70SZFkGE1GbkWsDAJSNhAAVAYNjAEVkAFYBg2UARWYAVwGDYwBFZwBYAYNjAEVoAFkBg2MARWkAWgGDZQBFagBbAYNjAEVrAFwBg2wARW0AXQGDbgBFbwBeAYNlAEVwAF8Bg2UARXEAYABBg2UARXIAYQBBg2MARXMAYgBBg2wARXQAYwBAgQAkAEFBAMF1AGUAQIEAJgBBQQDBdgBnAEFBAMF3AGgAQUEAwXgAaQBBQQDBeQBqAEFBAMF6AGsAQUEAwXsAbABAgQAtAEFBAMF8AG4AQIEALwBBQQDBfQBwAEFBAMF+AHEAQUEAwX8AcgBBQQDBYACzAEFBAMFhALQAQUEAwWIAtQBAgEA2AEFAQGNAkTcAQUBAZUCROABBQEBmQJE5AEFAQGdAkToAQUBAaECROwBBQEBpQJE8AEFAQGpAkT0AQUBAa0CRPgBBQEBsQJE/AEFAQG1AkSAAgUBAbkCRIQCBQEBvQJEiAIFAQHBAkSSAi9BbHR1YS5EYXRhLkluZnJhc3RydWN0dXJlLlBhcmFncmFwaCwgQWx0dWEuRGF0YY0CRAUMAwXEApUCRAUMAwXIApkCRAUMAwXMAp0CRAUMAwXQAqECRAUMAwXUAqUCRAUMAwXYAqkCRAUMAwXcAq0CRAUMAwXgArECRAUMAwXkArUCRAUMAwXoArkCRAUMAwXsAr0CRAUMAwXwAsECRAUMAwX0AsQCBQEB+QJfyAIFAQGBA2HMAgUBAYkDYdACBQEBjQNh1AIFAQGRA1/YAgUBAZUDYdwCBQEBmQNh4AIFAQGdA1/kAgUBAaEDX+gCBQEBpQNf7AIFAQGpA1/wAgUBAa0DYfQCBQEBsQNf/gIvQWx0dWEuRGF0YS5JbmZyYXN0cnVjdHVyZS5OdW1iZXJSdW4sIEFsdHVhLkRhdGH5Al8SBA0DAAAAAACAREAdtQNuDbwDhgMtQWx0dWEuRGF0YS5JbmZyYXN0cnVjdHVyZS5UZXh0UnVuLCBBbHR1YS5EYXRhgQNhDQQIMy01IG1pbGwNwAOJA2EOBAk2LTIwIG1pbGwNwAONA2EWBBFNaW5kcmUgZW5uIDMgbWlsbA3EA5EDXxIEDQMAAAAAAAA0QB3JA24NzAOVA2EPBAoyMS01MCBtaWxsDcADmQNhEgQNT3ZlciAxMDAgbWlsbA3QA50DXxIEDQMAAAAAAKCfQB3VA24N2AOhA18SBA0DAAAAAACAQEAd3QNuDeADpQNfEgQNAwAAAAAAADpAHeUDbg3oA6kDXxIEDQMAAAAAAABFQB3tA24N8AOtA2EQBAs1MS0xMDAgbWlsbA3AA7EDXxIEDQMAAAAAAABDQB31A24N+AO6Az1BbHR1YS5EYXRhLk51bWJlckZvcm1hdHRpbmcuQ29tcG9zaXRlTnVtYmVyRm9ybWF0LCBBbHR1YS5EYXRhtQNuCx38AyWABDWEBD0AvAMSBAAcACQALAA0ADwATABUAF0AwAMSBAAcACQALAA0ADwATABUAF0AxAMSBAAcACQALAA0ADwATABUAF0AyQNuCx2IBCWMBDWQBD0AzAMSBAAcACQALAA0ADwATABUAF0A0AMSBAAcACQALAA0ADwATABUAF0A1QNuCx2UBCWYBDWcBD0A2AMSBAAcACQALAA0ADwATABUAF0A3QNuCx2gBCWkBDWoBD0A4AMSBAAcACQALAA0ADwATABUAF0A5QNuCx2sBCWwBDW0BD0A6AMSBAAcACQALAA0ADwATABUAF0A7QNuCx24BCW8BDXABD0A8AMSBAAcACQALAA0ADwATABUAF0A9QNuCx3EBCXIBDXMBD0A+AMSBAAcACQALAA0ADwATABUAF0A/AMJAAAMAwXQBBEAgAQJAAAMAwXUBBEAhAQKBAEsDAEuFAJrcogECQAADAMF2AQRAIwECQAADAMF3AQRAJAECgQBLAwBLhQCa3KUBAkAAAwDBeAEEQCYBAkAAAwDBeQEEQCcBAoEASwMAS4UAmtyoAQJAAAMAwXoBBEApAQJAAAMAwXsBBEAqAQKBAEsDAEuFAJrcqwECQAADAMF8AQRALAECQAADAMF9AQRALQECgQBLAwBLhQCa3K4BAkAAAwDBfgEEQC8BAkAAAwDBfwEEQDABAoEASwMAS4UAmtyxAQJAAAMAwWABREAyAQJAAAMAwWEBREAzAQKBAEsDAEuFAJrctAEBgEBiQWjAdQECgECkQWlAYkFowHYBAYBAZkFowHcBAoBAp0FpQGZBaMB4AQGAQGhBaMB5AQKAQKlBaUBoQWjAegEBgEBqQWjAewECgECrQWlAakFowHwBAYBAbEFowH0BAoBArUFpQGxBaMB+AQGAQG5BaMB/AQKAQK9BaUBuQWjAYAFBgEBwQWjAYQFCgECxQWlAcEFowGOBUBBbHR1YS5EYXRhLk51bWJlckZvcm1hdHRpbmcuTnVtYmVyRm9ybWF0VmFsdWVTZWdtZW50LCBBbHR1YS5EYXRhiQWjAQUEAwXIBZYFP0FsdHVhLkRhdGEuTnVtYmVyRm9ybWF0dGluZy5OdW1iZXJGb3JtYXRUZXh0U2VnbWVudCwgQWx0dWEuRGF0YZEFpQEFBAEtCQGZBaMBBQQDBcwFnQWlAQUEAS0JAaEFowEFBAMF0AWlBaUBBQQBLQkBqQWjAQUEAwXUBa0FpQEFBAEtCQGxBaMBBQQDBdgFtQWlAQUEAS0JAbkFowEFBAMF3AW9BaUBBQQBLQkBwQWjAQUEAwXgBcUFpQEFBAEtCQHIBQYBAeUFugHMBQYBAeUFugHQBQYBAe0FugHUBQYBAeUFugHYBQYBAeUFugHcBQYBAeUFugHgBQYBAeUFugHqBTlBbHR1YS5EYXRhLk51bWJlckZvcm1hdHRpbmcuTnVtYmVyUGxhY2Vob2xkZXIsIEFsdHVhLkRhdGHlBboBBQIwAAAA7QW6AQUCMAAAAA=="/>
  <p:tag name="GRUNT-RENDERHASH" val="44ee3860e69c46f0af899450e0731930-svg"/>
  <p:tag name="GRUNT-X-SHAPEBOUNDS" val="ASIBBAAAACDbdkdAAAAA4LZfaEAAAACAJF98QAAAAGDx3HBAAA=="/>
  <p:tag name="GRUNT-X-PAGEOBJECT" val="AQUCpjQKOEFsdHVhLk9hay5Db3JlLkRvY3VtZW50TW9kZWwuQ2hhcnRPYmplY3QsIEFsdHVhLk9hay5Db3JlBQI1BBIEEAU8x/s69PdLkmbfRZz8+OAMEgQQ5CJQPKNmEEe4H6xB8TxeWRUNBCUUNRg9HFUgZSQSUEFsdHVhLk9hay5Db3JlLkRvY3VtZW50TW9kZWwuVGVtcGxhdGluZy5DdXN0b21Qb3NpdGlvbkRlZmluaXRpb24sIEFsdHVhLk9hay5Db3JlDQQkBCIBBID4/ynb9khAFACg5ba/aEB4//98JP97QCgAgCpJQG1AFBMVKB0sNTA4AEU1DkwCBTxVQF1EGAQEAgVIHAIFTCALBVAMBW5iLU5PFVQkDgEBCQERARkBIQEpATEBKBYEEgQQAAAAAAAAAAAAAAAAAAAAAAgBLBYEEgQQAAAAAAAAAAAAAAAAAAAAAAgBMAA6N0FsdHVhLk9hay5Db3JlLkNoYXJ0LkxpbmVQbG90RGVmaW5pdGlvbiwgQWx0dWEuT2FrLkNvcmU1DkYAAAgEJVg8EgQQf91y59+lXUKbacnpKlvtM0QCBVxVYFkBcwAAAAAAAPA/fAIFZIUBaRuRAQGdAXClAXUeqQEAtQF8uQEAPAYBAoABhAFABQWIAQ0ARAIBAEgCAQBMAFAKBAEsDAEgFAJrclQJBAVuYi1OTwgBWA0AAAgBFAMFjAEcACUAXAIBAGAmBCIBBAAAAAAAABBAAAAAAAAAEEAAAAAAAAAQQAAAAAAAABBACARkBAEBkAFuRUFsdHVhLk9hay5Db3JlLlBsb3R0aW5nLkF1dG9tYXRpY0NhdGVnb3J5QXhpc1NldHRpbmdzLCBBbHR1YS5PYWsuQ29yZWkbEwEBDZQBEAAZATAAPZgBRZwBSAFwBgWhASkIAno9QWx0dWEuT2FrLkNvcmUuVGhlbWluZy5QYWdlQ29sb3JTY2hlbWVQb2ludGVyLCBBbHR1YS5PYWsuQ29yZXUeAHxKNagBPawBRbABVbQBXbgBdbwBjQHAAZ0BxAGlAcgBrQHMAc0B0AHVAdQB3QHYAeUB3AHtAeAB9QHkAf0B6AGFAuwBjQLwAZUC9AGAAUgEEgQQF/fU+/rkS0KjMEQe6grewyQSBBCfU7i5Q7LmTYqjngpAomrSLBIEEOrcvffR7wZHq8zQA3nz/pQ9+QE/RYACSQFdhAKEAUgEEgQQBbe507cO9EmRZBhNRm5FrCQSBBB9aSDeSXU3TZNMOE19FbqrLBIEEOrcvffR7wZHq8zQA3nz/pQ9+QE/RYgCSQFdjAKIAQCMAQIBAJABQgEBGAMlkAIpADEAQABIAFWUAl2YAmQSBBDq3L330e8GR6vM0AN58/6UbZwCdaACjQGkApEBAZ0BqAKlAawCtQGwApQBAgEAmAEGBbUCTggEnAEGBb0CTggEpgE6QWx0dWEuT2FrLkNvcmUuVGhlbWluZy5CaW5kaW5nQ29sb3JQb2ludGVyLCBBbHR1YS5PYWsuQ29yZaEBKQQFwQJRqAEFBAMFyAKsAQUEAwXMArABBQQDBdACtAEFBAMF1AK4AQUEAwXYArwBBQQDBcgCwAEFBAMF3ALEAQUEAwXgAsgBBQQDBeQCzAEFBAMF6ALQAQUEAwXsAtQBBQQDBfAC2AEFBAMF9ALcAQUEAwX4AuABBQQDBfwC5AEFBAMFgAPoAQUEAwWEA+wBBQQDBYgD8AEFBAMFjAP0AQUEAwWQA/4BPkFsdHVhLk9hay5Db3JlLkNoYXJ0LkRlZmF1bHRQbG90U2VyaWVzU2V0dGluZ3MsIEFsdHVhLk9hay5Db3Jl+QE/AIACBAUACAGEAgUFlAMIAYgCBAUACAGMAgUFmAMIAZACCwMAAAAAAAAkQAgClAILAwAAAAAAACRACAKYAgsDAAAAAAAAAAAIAZwCFQWcAw2gAxWkAx2oAyWsAy2wAzW0A6ACBw24AxW9A06kAgsDAAAAAAAAAAAIBKgCBgXBA04IBKwCBgXBA04IBLACBQQDBcQDugIzQWx0dWEuT2FrLkNvcmUuVGhlbWluZy5Db2xvclBvaW50ZXIsIEFsdHVhLk9hay5Db3JltQJOUFBQ/70CTlBQUP/GAkhBbHR1YS5PYWsuQ29yZS5TeW50YXhTdHJ1Y3R1cmUuUGxvdFNlcmllc0JpbmRpbmdTdHJhdGVneSwgQWx0dWEuT2FrLkNvcmXBAlEAyAICAQDMAhYBCsgDzAPQA9QD2APcA+AD5APoA+wD0AIEAQHwA9QCBAEB9APYAgQBAfgD3AICAQDgAgIBAOQCDgEG/AOABIQEiASMBJAE6AICAQDsAhABB5QEmAScBKAEpASoBKwE8AISAQiwBLQEuAS8BMAExATIBMwE9AICAQD4AggBA9AE1ATYBPwCCgEE3ATgBOQE6ASAAwIBAIQDAgEAiAMCAQCMAwIBAJADAgEAlAMFBAMF7ASYAwUEAwXwBJwDBwQDBAEACASgAwUEAS4IBKQDBAABCASoAwQAAAgErAMEBAAIBLADBAQACAS0AwQAAAgEuAMFBAMF9AS9A04+PuX/wQNOUFBQ/8QDAgEAyAMOBfkEnwELAAAAAAAAAADMAw4FgQWhAQsAAAAAAADgP9ADDgWJBaMBCwAAAAAAAOA/1AMOBZEFpQELAAAAAAAA4D/YAw4FmQWnAQsAAAAAAAD4P9wDDgWhBakBCwAAAAAAAOA/4AMOBakFqwELAAAAAAAAGEDkAw4FsQWrAQsAAAAAAAAYQOgDDgW1Ba4BCwAAAAAAAAAA7AMOBb0FsAELAAAAAAAAAADwAwgFxQWlAQ3IBfQDBwXNBbQBCAH4Aw4F1QW0AQsAAAAAAAAkQPwDCQXZBbcBDeEFKYAECgXlBakBDekFuwGEBAoF8QWhAQ31BbsBiAQKBfkFowEN/QW7AYwECQWBBsEBDYkGTpAECgWNBrQBDZEGuwGUBAcFlQbGAQkBmAQHBZ0GyAEJAZwEBwWlBsoBCQGgBAcFrQbMAQkApAQHBbUGzAEJAagEBwW5Bs8BCQCsBAcFwQbRAQkAsAQKBckG0wEN0QbVAbQECgXZBtcBDeEG2QG4BAoF6QbMAQ3tBtwBvAQKBfUGxgEN+QbfAcAECgWBB8gBDfkG3wHEBAoFhQfKAQ2JB+MByAQKBZEHzAENlQfmAcwECgWdB+gBDaUH6gHQBAoFrQfsAQ21B+4B1AQKBb0H6AENwQfuAdgECgXFB/IBDc0H7gHcBAoF0QfGAQ3VB/YB4AQKBd0H1wEN4Qf2AeQECgXlB8gBDekH9gHoBAoF7QfTAQ3xB/YB7AQGAQH1B/4B8AQGAQH9B/4B9AQEAQIBBP4EWUFsdHVhLk9hay5Db3JlLk1vZGlmaWNhdGlvbi5TdHlsaW5nLlZhbHVlQXhpc0dyaWRsaW5lc0N1c3RvbWl6YXRpb25UYXJnZXQsIEFsdHVhLk9hay5Db3Jl+QSfAQCGBVNBbHR1YS5PYWsuQ29yZS5Nb2RpZmljYXRpb24uU3R5bGluZy5DYXRlZ29yeUF4aXNDdXN0b21pemF0aW9uVGFyZ2V0LCBBbHR1YS5PYWsuQ29yZYEFoQEAjgVQQWx0dWEuT2FrLkNvcmUuTW9kaWZpY2F0aW9uLlN0eWxpbmcuT3JpZ29MaW5lQ3VzdG9taXphdGlvblRhcmdldCwgQWx0dWEuT2FrLkNvcmWJBaMBAJYFXUFsdHVhLk9hay5Db3JlLk1vZGlmaWNhdGlvbi5TdHlsaW5nLkFsbENvbm5lY3RvcnNBdXhpbGlhcnlDdXN0b21pemF0aW9uVGFyZ2V0LCBBbHR1YS5PYWsuQ29yZZEFpQEAngVZQWx0dWEuT2FrLkNvcmUuTW9kaWZpY2F0aW9uLlN0eWxpbmcuU2VyaWVzV2l0aFBsb3RLaW5kQ3VzdG9taXphdGlvblRhcmdldCwgQWx0dWEuT2FrLkNvcmWZBacBAwWACKYFU0FsdHVhLk9hay5Db3JlLk1vZGlmaWNhdGlvbi5TdHlsaW5nLkFsbFZhbHVlQXhpc0N1c3RvbWl6YXRpb25UYXJnZXQsIEFsdHVhLk9hay5Db3JloQWpAQCuBU1BbHR1YS5PYWsuQ29yZS5Nb2RpZmljYXRpb24uU3R5bGluZy5TZXJpZXNDdXN0b21pemF0aW9uVGFyZ2V0LCBBbHR1YS5PYWsuQ29yZakFqwEUBBIEEH1pIN5JdTdNk0w4TX0VuquxBasBFAQSBBCfU7i5Q7LmTYqjngpAomrSugVbQWx0dWEuT2FrLkNvcmUuTW9kaWZpY2F0aW9uLlN0eWxpbmcuR3JpZGxpbmVGb3JEaXJlY3Rpb25DdXN0b21pemF0aW9uVGFyZ2V0LCBBbHR1YS5PYWsuQ29yZbUFrgECAQHCBVZBbHR1YS5PYWsuQ29yZS5Nb2RpZmljYXRpb24uU3R5bGluZy5TaW5nbGVWYWx1ZUF4aXNDdXN0b21pemF0aW9uVGFyZ2V0LCBBbHR1YS5PYWsuQ29yZb0FsAEUBBIEEOrcvffR7wZHq8zQA3nz/pTFBaUBAMgFBQwDBYQI0gVTQWx0dWEuT2FrLkNvcmUuTW9kaWZpY2F0aW9uLlN0eWxpbmcuU2VyaWVzTWFya2VyQ3VzdG9taXphdGlvblRhcmdldCwgQWx0dWEuT2FrLkNvcmXNBbQBFAQSBBB9aSDeSXU3TZNMOE19Fbqr1QW0ARQEEgQQfWkg3kl1N02TTDhNfRW6q94FVkFsdHVhLk9hay5Db3JlLk1vZGlmaWNhdGlvbi5TdHlsaW5nLkFsbFNlcmllc01hcmtlckN1c3RvbWl6YXRpb25UYXJnZXQsIEFsdHVhLk9hay5Db3Jl2QW3AQDhBSkEBYkIUeUFqQEA7gU3QWx0dWEuT2FrLkNvcmUuVGhlbWluZy5QYWdlQ29sb3JQb2ludGVyLCBBbHR1YS5PYWsuQ29yZekFuwEEAAAIAPEFoQEA9QW7AQQAAAgA+QWjAQD9BbsBBAAACACGBlNBbHR1YS5PYWsuQ29yZS5Nb2RpZmljYXRpb24uU3R5bGluZy5BbGxHcmlkbGluZXNDdXN0b21pemF0aW9uVGFyZ2V0LCBBbHR1YS5PYWsuQ29yZYEGwQEAiQZOgICA/40GtAEUBBIEEH1pIN5JdTdNk0w4TX0VuquRBrsBBAAACACaBlhBbHR1YS5PYWsuQ29yZS5Nb2RpZmljYXRpb24uU3R5bGluZy5BbGxWYWx1ZUF4aXNMYWJlbEN1c3RvbWl6YXRpb25UYXJnZXQsIEFsdHVhLk9hay5Db3JllQbGAQCiBldBbHR1YS5PYWsuQ29yZS5Nb2RpZmljYXRpb24uU3R5bGluZy5BbGxDYXRlZ29yeUxhYmVsQ3VzdG9taXphdGlvblRhcmdldCwgQWx0dWEuT2FrLkNvcmWdBsgBAKoGWEFsdHVhLk9hay5Db3JlLk1vZGlmaWNhdGlvbi5TdHlsaW5nLkFsbEF1eGlsaWFyeUxhYmVsQ3VzdG9taXphdGlvblRhcmdldCwgQWx0dWEuT2FrLkNvcmWlBsoBALIGWEFsdHVhLk9hay5Db3JlLk1vZGlmaWNhdGlvbi5TdHlsaW5nLlNlcmllc0xhYmVsT2ZUeXBlQ3VzdG9taXphdGlvblRhcmdldCwgQWx0dWEuT2FrLkNvcmWtBswBAgACtQbMAQIAAL4GVUFsdHVhLk9hay5Db3JlLk1vZGlmaWNhdGlvbi5TdHlsaW5nLlZhbHVlQXhpc0xhYmVsQ3VzdG9taXphdGlvblRhcmdldCwgQWx0dWEuT2FrLkNvcmW5Bs8BFAQSBBDq3L330e8GR6vM0AN58/6UxgZaQWx0dWEuT2FrLkNvcmUuTW9kaWZpY2F0aW9uLlN0eWxpbmcuVmFsdWVBeGlzVGl0bGVMYWJlbEN1c3RvbWl6YXRpb25UYXJnZXQsIEFsdHVhLk9hay5Db3JlwQbRARQEEgQQ6ty999HvBkerzNADefP+lM4GWEFsdHVhLk9hay5Db3JlLk1vZGlmaWNhdGlvbi5TdHlsaW5nLkNhdGVnb3J5QXhpc1RpdGxlQ3VzdG9taXphdGlvblRhcmdldCwgQWx0dWEuT2FrLkNvcmXJBtMBANYGRkFsdHVhLk9hay5Db3JlLlBsb3R0aW5nLkF4aXNUaXRsZUxhYmVsUGxhY2VtZW50T3V0c2lkZSwgQWx0dWEuT2FrLkNvcmXRBtUBAgAB3gZdQWx0dWEuT2FrLkNvcmUuTW9kaWZpY2F0aW9uLlN0eWxpbmcuQWxsVmFsdWVBeGlzVGl0bGVMYWJlbEN1c3RvbWl6YXRpb25UYXJnZXQsIEFsdHVhLk9hay5Db3Jl2QbXAQDmBkJBbHR1YS5PYWsuQ29yZS5QbG90dGluZy5BeGlzVGl0bGVMYWJlbFBsYWNlbWVudEZhciwgQWx0dWEuT2FrLkNvcmXhBtkBAgAA6QbMAQIAAPIGQEFsdHVhLk9hay5Db3JlLlBsb3R0aW5nLkxhYmVsUGxhY2VtZW50UG9pbnRPdXRlciwgQWx0dWEuT2FrLkNvcmXtBtwBAPUGxgEA/gZBQWx0dWEuT2FrLkNvcmUuUGxvdHRpbmcuQXhpc0xhYmVsUGxhY2VtZW50T3V0c2lkZSwgQWx0dWEuT2FrLkNvcmX5Bt8BAgEAgQfIAQCFB8oBAI4HRkFsdHVhLk9hay5Db3JlLlBsb3R0aW5nLkF1eGlsaWFyeUxhYmVsUGxhY2VtZW50RGVmYXVsdCwgQWx0dWEuT2FrLkNvcmWJB+MBAJEHzAECAAKaB0NBbHR1YS5PYWsuQ29yZS5QbG90dGluZy5MYWJlbFBsYWNlbWVudFNlcmllc091dHNpZGUsIEFsdHVhLk9hay5Db3JllQfmAQIAAaIHUkFsdHVhLk9hay5Db3JlLk1vZGlmaWNhdGlvbi5TdHlsaW5nLlNlcmllc0xhYmVsQ3VzdG9taXphdGlvblRhcmdldCwgQWx0dWEuT2FrLkNvcmWdB+gBFgQSBBB9aSDeSXU3TZNMOE19FbqrCACqB0BBbHR1YS5PYWsuQ29yZS5QbG90dGluZy5MYWJlbFBsYWNlbWVudFBvaW50SW5uZXIsIEFsdHVhLk9hay5Db3JlpQfqAQCyB1BBbHR1YS5PYWsuQ29yZS5Nb2RpZmljYXRpb24uU3R5bGluZy5BbGxMYWJlbHNDdXN0b21pemF0aW9uVGFyZ2V0LCBBbHR1YS5PYWsuQ29yZa0H7AEAugdCQWx0dWEuT2FrLkNvcmUuU3ludGF4U3RydWN0dXJlLkFjdHVhbEZvbnRTaXplVmFsdWUsIEFsdHVhLk9hay5Db3JltQfuAQkDAAAAAAAAIkC9B+gBFgQSBBB9aSDeSXU3TZNMOE19FbqrCADBB+4BCQMAAAAAAAAoQMoHXkFsdHVhLk9hay5Db3JlLk1vZGlmaWNhdGlvbi5TdHlsaW5nLkFsbENhdGVnb3J5TGFiZWxPZkxldmVsQ3VzdG9taXphdGlvblRhcmdldCwgQWx0dWEuT2FrLkNvcmXFB/IBBQ2NCIQCzQfuAQkDAAAAAAAAKEDRB8YBANoHQ0FsdHVhLk9hay5Db3JlLlN5bnRheFN0cnVjdHVyZS5BY3R1YWxGb250Q29sb3JWYWx1ZSwgQWx0dWEuT2FrLkNvcmXVB/YBBQWVCLsB3QfXAQDhB/YBBQWZCLsB5QfIAQDpB/YBBQWdCLsB7QfTAQDxB/YBBQWhCLsB+gcvQWx0dWEuRGF0YS5JbmZyYXN0cnVjdHVyZS5QYXJhZ3JhcGgsIEFsdHVhLkRhdGH1B/4BBQwDBaQI/Qf+AQUMAwWoCIAIAQWECAoBAgAAgEAAAEBAiQhRAJIIOUFsdHVhLk9hay5Db3JlLlBsb3R0aW5nLkNhdGVnb3J5QXhpc0xldmVsLCBBbHR1YS5PYWsuQ29yZY0IhAIAlQi7AQQAAAgAmQi7AQQAAAgAnQi7AQQAAAgAoQi7AQQAAAgApAgGAQGtCIwCqAgGAQG1CIwCsggvQWx0dWEuRGF0YS5JbmZyYXN0cnVjdHVyZS5OdW1iZXJSdW4sIEFsdHVhLkRhdGGtCIwCEwQOAwAAAAAAnJ9AHbkIjwINwAi1CIwCEwQOAwAAAAAAoJ9AHcUIjwINyAi+CD1BbHR1YS5EYXRhLk51bWJlckZvcm1hdHRpbmcuQ29tcG9zaXRlTnVtYmVyRm9ybWF0LCBBbHR1YS5EYXRhuQiPAgsdzAgl0Ag11Ag9AMAIEgQAHAAkACwANAA8AEwAVABdAMUIjwILHdgIJdwINeAIPQDICBIEABwAJAAsADQAPABMAFQAXQDMCAkAAAwDBeQIEQDQCAkAAAwDBegIEQDUCAoEASwMAS4UAmty2AgJAAAMAwXsCBEA3AgJAAAMAwXwCBEA4AgKBAEsDAEuFAJrcuQIBgEB9QieAugICgEC/QigAvUIngLsCAYBAYUJngLwCAoBAokJoAKFCZ4C+ghAQWx0dWEuRGF0YS5OdW1iZXJGb3JtYXR0aW5nLk51bWJlckZvcm1hdFZhbHVlU2VnbWVudCwgQWx0dWEuRGF0YfUIngIFBAMFjAmCCT9BbHR1YS5EYXRhLk51bWJlckZvcm1hdHRpbmcuTnVtYmVyRm9ybWF0VGV4dFNlZ21lbnQsIEFsdHVhLkRhdGH9CKACBQQBLQkBhQmeAgUEAwWQCYkJoAIFBAEtCQGMCQYBAZUJpgKQCQYBAZUJpgKaCTlBbHR1YS5EYXRhLk51bWJlckZvcm1hdHRpbmcuTnVtYmVyUGxhY2Vob2xkZXIsIEFsdHVhLkRhdGGVCaYCBQIwAAAA"/>
  <p:tag name="GRUNT-SYNC" val="35ffdced5daa414785d1675354507a7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rRoKN0FsdHVhLkRhdGEuRGF0YVNlcnZpY2VzLkVtYmVkZGVkRGF0YVNlcnZpY2UsIEFsdHVhLkRhdGEFAhkEEgQQ5fd0NwvhWESlUQdcaIqKgw0MJREFDAYFGAgQEAcWQUFsdHVhLkRhdGEuRGF0YVNlcnZpY2VzLkVtYmVkZGVkRGF0YVNlcnZpY2VFZGl0b3JEYXRhLCBBbHR1YS5EYXRhEQUEBRwNIBgGBSQNKBUsHDwdBBIEENNz8cQb9wFOoDLwDWItJDkLAAAAAAAAHEAdBBIEEB/rjDimIctLiTIXQgTfWDQLAAAAAAAgYkAgWh0EEgQQhB+R4huFNUGwuFZrPUlJDwsAAAAAAAAyQB0EEgQQ+SxZ/v3fb0W5/mfTI9KrIwsAAAAAAAAyQB0EEgQQF/fU+/rkS0KjMEQe6grewwsAAAAAAAAyQCQKMDQ4PEBESExQVCgCWFwskAcsBCgEEgQQilo+QXBjwU2x08qj3RNI3wwSBBAFt7nTtw70SZFkGE1GbkWsDWAsBCgEEgQQ2o0rEHtPmkyZRivzTi/4HAwSBBBfl5CXxFq7QpsQMAZxTsVZDWQsBCgEEgQQH+uMOKYhy0uJMhdCBN9YNAwSBBAFt7nTtw70SZFkGE1GbkWsDWgsBCgEEgQQdZ6YkVxDK0eAjaDLHe+U4wwSBBBfl5CXxFq7QpsQMAZxTsVZDWwsBCgEEgQQ1N8b6OwBEkqe6d/BqpewZQwSBBAFt7nTtw70SZFkGE1GbkWsDXAsBCgEEgQQM3YuVsqsz0O4n/jX90PyIgwSBBBfl5CXxFq7QpsQMAZxTsVZDXQsBCgEEgQQH+uMOKYhy0uJMhdCBN9YNAwSBBBfl5CXxFq7QpsQMAZxTsVZDXgsBCgEEgQQM3YuVsqsz0O4n/jX90PyIgwSBBAFt7nTtw70SZFkGE1GbkWsDXwtBCgEEgQQWZ9h5liRP0iEKp689x5lRgwSBBBfl5CXxFq7QpsQMAZxTsVZDYABLQQoBBIEENTfG+jsARJKnunfwaqXsGUMEgQQX5eQl8Rau0KbEDAGcU7FWQ2EAS0EKAQSBBDCocRU5X8YQoY6sgHVC9EBDBIEEF+XkJfEWrtCmxAwBnFOxVkNiAEtBCgEEgQQ2o0rEHtPmkyZRivzTi/4HAwSBBAFt7nTtw70SZFkGE1GbkWsDYwBLQQoBBIEEHWemJFcQytHgI2gyx3vlOMMEgQQBbe507cO9EmRZBhNRm5FrA2QAS0EKAQSBBBYsc5Qc9H6S5Z9EpDqZN6KDBIEEAW3udO3DvRJkWQYTUZuRawNlAEtBCgEEgQQWZ9h5liRP0iEKp689x5lRgwSBBAFt7nTtw70SZFkGE1GbkWsDZgBLQQoBBIEEFixzlBz0fpLln0SkOpk3ooMEgQQX5eQl8Rau0KbEDAGcU7FWQ2cAS0EKAQSBBDk8iexzvF6Q5k1eqa4h8NSDBIEEAW3udO3DvRJkWQYTUZuRawNoAEtBCgEEgQQ5PInsc7xekOZNXqmuIfDUgwSBBBfl5CXxFq7QpsQMAZxTsVZDaQBLQQoBBIEEMKhxFTlfxhChjqyAdUL0QEMEgQQBbe507cO9EmRZBhNRm5FrA2oAS0EKAQSBBCKWj5BcGPBTbHTyqPdE0jfDBIEEF+XkJfEWrtCmxAwBnFOxVkNrAEwGgQSBBDajSsQe0+aTJlGK/NOL/gcDAJDMRAANBoEEgQQH+uMOKYhy0uJMhdCBN9YNAwCQzIQADgaBBIEEHWemJFcQytHgI2gyx3vlOMMAkMzEAA8GgQSBBAzdi5WyqzPQ7if+Nf3Q/IiDAJDNBAAQBoEEgQQWZ9h5liRP0iEKp689x5lRgwCQzUQAEQaBBIEEOTyJ7HO8XpDmTV6priHw1IMAkM2EABIGwQSBBDCocRU5X8YQoY6sgHVC9EBDANDMTIQAEwbBBIEEIpaPkFwY8FNsdPKo90TSN8MA0MxMxAAUBsEEgQQWLHOUHPR+kuWfRKQ6mTeigwDQzE0EABUGwQSBBDU3xvo7AESSp7p38Gql7BlDANDMTUQAFgaBBIEEF+XkJfEWrtCmxAwBnFOxVkMAlIxEABcGgQSBBAFt7nTtw70SZFkGE1GbkWsDAJSNhAAYAYNsAEVtAFkBg24ARW8AWgGDcABFcQBbAYNuAEVyAFwBg2wARXMAXQGDbgBFdABeAYNuAEV1AF8Bg3AARXYAYABBg24ARXcAYQBBg2wARXgAYgBBg3kARXoAYwBBg3sARXwAZABBg3AARX0AZQBBg2wARX4AZgBBg3AARX8AZwBBg2wARWAAqABBg3AARWEAqQBBg24ARWIAqgBBg3kARWMAqwBBg2wARWQArABAgQAtAEFBAMFlAK4AQIEALwBBQQDBZgCwAECBADEAQUEAwWcAsgBBQQDBaACzAEFBAMFpALQAQUEAwWoAtQBBQQDBawC2AEFBAMFsALcAQUEAwW0AuABBQQDBbgC5AECBADoAQUEAwW8AuwBAgQA8AEFBAMFwAL0AQUEAwXEAvgBBQQDBcgC/AEFBAMFzAKAAgUEAwXQAoQCBQQDBdQCiAIFBAMF2AKMAgUEAwXcApACBQQDBeAClAIFAQHlAlqYAgIBAJwCBQEB7QJaoAIFAQHxAlqkAgUBAfUCWqgCBQEB+QJarAIFAQH9AlqwAgUBAYEDWrQCBQEBhQNauAIFAQGJA1q8AgUBAY0DWsACAgEAxAIFAQGRA1rIAgUBAZUDWswCBQEBmQNa0AIFAQGdA1rUAgUBAaEDWtgCBQEBpQNa3AIFAQGpA1rgAgUBAa0DWuoCL0FsdHVhLkRhdGEuSW5mcmFzdHJ1Y3R1cmUuUGFyYWdyYXBoLCBBbHR1YS5EYXRh5QJaBQwDBbAD7QJaBQwDBbQD8QJaBQwDBbgD9QJaBQwDBbwD+QJaBQwDBcAD/QJaBQwDBcQDgQNaBQwDBcgDhQNaBQwDBcwDiQNaBQwDBdADjQNaBQwDBdQDkQNaBQwDBdgDlQNaBQwDBdwDmQNaBQwDBeADnQNaBQwDBeQDoQNaBQwDBegDpQNaBQwDBewDqQNaBQwDBfADrQNaBQwDBfQDsAMFAQH5A3+0AwUBAYEEf7gDBgEBhQSCAbwDBQEBjQR/wAMGAQGRBIIBxAMGAQGVBIIByAMFAQGZBH/MAwYBAZ0EggHQAwYBAaEEggHUAwYBAaUEggHYAwUBAakEf9wDBQEBrQR/4AMFAQGxBH/kAwYBAbUEggHoAwUBAbkEf+wDBgEBvQSCAfADBQEBwQR/9AMGAQHFBIIB/gMvQWx0dWEuRGF0YS5JbmZyYXN0cnVjdHVyZS5OdW1iZXJSdW4sIEFsdHVhLkRhdGH5A38TBA4DAAAAAAAAPUAdyQSTAQ3QBIEEfxMEDgMAAAAAAABGQB3JBJMBDdAEigQtQWx0dWEuRGF0YS5JbmZyYXN0cnVjdHVyZS5UZXh0UnVuLCBBbHR1YS5EYXRhhQSCARYEEUZpc2tlcmkgLyBoYXZicnVrDdQEjQR/EwQOAwAAAAAAADJAHckEkwEN0ASRBIIBDAQHRWllbmRvbQ3YBJUEggEjBB5UamVuZXN0ZXl0aW5nIG9nIGtvbW11bmlrYXNqb24N2ASZBH8TBA4DAAAAAACAQ0AdyQSTAQ3QBJ0EggENBAhJbmR1c3RyaQ3YBKEEggEPBApWYXJlaGFuZGVsDdgEpQSCARkEFFRyYW5zcG9ydCBvZyBsYWdyaW5nDdgEqQR/EwQOAwAAAAAAgENAHckEkwEN0AStBH8TBA4DAAAAAAAAO0AdyQSTAQ3QBLEEfxMEDgMAAAAAAABCQB3JBJMBDdAEtQSCARMEDkJ5Z2cgb2cgYW5sZWdnDdgEuQR/EwQOAwAAAAAAAEJAHckEkwEN0AS9BIIBGAQTSG90ZWxsIC8gcmVzdGF1cmFudA3YBMEEfxMEDgMAAAAAAABBQB3JBJMBDdAExQSCARkEFEpvcmRicnVrIG9nIHNrb2dicnVrDdgEzgQ9QWx0dWEuRGF0YS5OdW1iZXJGb3JtYXR0aW5nLkNvbXBvc2l0ZU51bWJlckZvcm1hdCwgQWx0dWEuRGF0YckEkwELHdwEJeAENeQEPQDQBBIEABwAJAAsADQAPABMAFQAXQDUBBIEABwAJAAsADQAPABMAFQAXQDYBBIEABwAJAAsADQAPABMAFQAXQDcBAkAAAwDBegEEQDgBAkAAAwDBewEEQDkBAoEASwMAS4UAmty6AQGAQHxBJ0B7AQKAQL5BJ8BgQWdAfYEQkFsdHVhLkRhdGEuTnVtYmVyRm9ybWF0dGluZy5OdW1iZXJGb3JtYXRHZW5lcmFsU2VnbWVudCwgQWx0dWEuRGF0YfEEnQEA/gQ/QWx0dWEuRGF0YS5OdW1iZXJGb3JtYXR0aW5nLk51bWJlckZvcm1hdFRleHRTZWdtZW50LCBBbHR1YS5EYXRh+QSfAQUEAS0JAYEFnQEA"/>
  <p:tag name="GRUNT-RENDERHASH" val="b9b85d837d94931d269afebf32648066-svg"/>
  <p:tag name="GRUNT-X-SHAPEBOUNDS" val="ASIBBAAAAMD3a4BAAAAA4La3aEAAAABgj054QAAAAIAL+21AAA=="/>
  <p:tag name="GRUNT-X-PAGEOBJECT" val="AQUCzSYKOEFsdHVhLk9hay5Db3JlLkRvY3VtZW50TW9kZWwuQ2hhcnRPYmplY3QsIEFsdHVhLk9hay5Db3JlBQI1BBIEEOrB3a5z9oZLiOs5lv0bcRAMEgQQ5fd0NwvhWESlUQdcaIqKgxUNBCUUNRg9HFUgZSQSUEFsdHVhLk9hay5Db3JlLkRvY3VtZW50TW9kZWwuVGVtcGxhdGluZy5DdXN0b21Qb3NpdGlvbkRlZmluaXRpb24sIEFsdHVhLk9hay5Db3JlDQQkBCIBBAAAAAAAmIZAFACg5ba/aEAkAKAYALhlQO7/X3oL621AFBMVKB0sNTA4AEU1DkwCBTxVQF1EGAQEAgVIHAIFTCALBVAMBW5iLU5PFVQkDgEBCQERARkBIQEpATEBKBYEEgQQAAAAAAAAAAAAAAAAAAAAAAgBLBYEEgQQAAAAAAAAAAAAAAAAAAAAAAgBMAA6RUFsdHVhLk9hay5Db3JlLkNoYXJ0LlN0YWNrZWRCYXJXaXRoTGluZVBsb3REZWZpbml0aW9uLCBBbHR1YS5PYWsuQ29yZTUOMgQSBBDuQA9YTp7NT6irxBDtpdfWHAIFWCVcNWA8AgVkSQBtaKUBbRypAQC1AXUevQF8PAQBAYABQAUFhAENAEQCAQBIAgEATABQCgQBLAwBIBQCa3JUCQQFbmItTk8IAVgEAQGIAVwNAAAIARQDBYwBHAAlAGAmBCIBBAAAAAAAABBAAAAAAAAAEEAAAAAAAAAQQAAAAAAAABBACARkAgEAaAsDAAAAAAAATEAIIHJFQWx0dWEuT2FrLkNvcmUuUGxvdHRpbmcuQXV0b21hdGljQ2F0ZWdvcnlBeGlzU2V0dGluZ3MsIEFsdHVhLk9hay5Db3JlbRwTAQENkAEQABkBMAA9lAFFmAFIAXo9QWx0dWEuT2FrLkNvcmUuVGhlbWluZy5QYWdlQ29sb3JTY2hlbWVQb2ludGVyLCBBbHR1YS5PYWsuQ29yZXUeAHxKNZwBPaABRaQBVagBXawBdbABjQG0AZ0BuAGlAbwBrQHAAc0BxAHVAcgB3QHMAeUB0AHtAdQB9QHYAf0B3AGFAuABjQLkAZUC6AGAAUgEEgQQBbe507cO9EmRZBhNRm5FrCQSBBB9aSDeSXU3TZNMOE19FbqrLBIEECzjRm0Q0AVFtnKpvBXgKPY97QE8RfQBSQFd+AGEAQCIAUIBABgDJfwBKQAxAEABSAJVgAJdhAJkEgQQLONGbRDQBUW2cqm8FeAo9m2IAnWMAo0BkAKRAQGdAZQCpQGYArUBnAKMAQIBAJABAgEAlAEGBaECSQgEmAEGBakCSQgEnAEFBAMFrAKgAQUEAwWwAqQBBQQDBbQCqAEFBAMFuAKsAQUEAwWsArABBQQDBawCtAEFBAMFvAK4AQUEAwXAArwBBQQDBcQCwAEFBAMFyALEAQUEAwXMAsgBBQQDBdACzAEFBAMF1ALQAQUEAwXYAtQBBQQDBdwC2AEFBAMF4ALcAQUEAwXkAuABBQQDBegC5AEFBAMF7ALoAQUEAwXwAvIBPkFsdHVhLk9hay5Db3JlLkNoYXJ0LkRlZmF1bHRQbG90U2VyaWVzU2V0dGluZ3MsIEFsdHVhLk9hay5Db3Jl7QE8APQBBAUACAH4AQUF9AIIAfwBCwMAAAAAAAAAAAgCgAILAwAAAAAAAAAACAGEAgsDAAAAAAAAAAAIAYgCFQX4Ag38AhWAAx2EAyWIAy2MAzWQA4wCBw2UAxWZA0mQAgsDAAAAAAAAAAAIBJQCBgWdA0kIBJgCBgWdA0kIBJwCBQQDBaADpgIzQWx0dWEuT2FrLkNvcmUuVGhlbWluZy5Db2xvclBvaW50ZXIsIEFsdHVhLk9hay5Db3JloQJJUFBQ/6kCSVBQUP+sAgIBALACDgEGpAOoA6wDsAO0A7gDtAIEAQG8A7gCAgEAvAICAQDAAgIBAMQCDAEFwAPEA8gDzAPQA8gCAgEAzAIOAQbUA9gD3APgA+QD6APQAhQBCewD8AP0A/gD/AOABIQEiASMBNQCAgEA2AIEAQGQBNwCCgEElASYBJwEoATgAgIBAOQCAgEA6AICAQDsAgIBAPACAgEA9AIFBAMFpAT4AgcEAwQBAAgE/AIFBAEuCASAAwQAAQgEhAMEAAAIBIgDBAQACASMAwQEAAgEkAMEAAAIBJQDBQQDBagEmQNJPj7l/50DSVBQUP+gAwIBAKQDDgWtBIwBCwAAAAAAAAAAqAMOBbUEjgELAAAAAAAAAACsAw4FvQSQAQsAAAAAAADgP7ADDgXFBJIBCwAAAAAAAOA/tAMOBc0ElAELAAAAAAAA4D+4Aw4F1QSWAQsAAAAAAAD4P7wDCAXdBJQBDeAEwAMKBeUEmgEN7QScAcQDCgX1BIwBDfkEnwHIAwoFgQWQAQ2FBZ8BzAMKBYkFkgENjQWfAdADCQWRBaUBDZkFSdQDBwWdBagBCQDYAwcFpQWqAQkB3AMHBa0FrAEJAeADBwW1Ba4BCQHkAwcFvQWwAQkB6AMHBcUFsgEJAewDCgXNBbQBDdUFtgHwAwoF3QW4AQ3lBboB9AMKBe0FvAEN9QW+AfgDCgX9BbwBDYEGwQH8AwoFiQasAQ2BBsEBgAQKBY0GqAENkQbFAYQECgWZBq4BDZEGxQGIBAoFnQawAQ2hBskBjAQKBcUFsgENqQbLAZAECgWxBs0BDbkGzwGUBAoFwQaoAQ3FBtIBmAQKBc0GuAEN0QbSAZwECgXVBq4BDdkG0gGgBAoF3Qa0AQ3hBtIBpAQCAQCoBAQBAgEEsgRTQWx0dWEuT2FrLkNvcmUuTW9kaWZpY2F0aW9uLlN0eWxpbmcuQWxsVmFsdWVBeGlzQ3VzdG9taXphdGlvblRhcmdldCwgQWx0dWEuT2FrLkNvcmWtBIwBALoEWUFsdHVhLk9hay5Db3JlLk1vZGlmaWNhdGlvbi5TdHlsaW5nLlZhbHVlQXhpc0dyaWRsaW5lc0N1c3RvbWl6YXRpb25UYXJnZXQsIEFsdHVhLk9hay5Db3JltQSOAQDCBFNBbHR1YS5PYWsuQ29yZS5Nb2RpZmljYXRpb24uU3R5bGluZy5DYXRlZ29yeUF4aXNDdXN0b21pemF0aW9uVGFyZ2V0LCBBbHR1YS5PYWsuQ29yZb0EkAEAygRQQWx0dWEuT2FrLkNvcmUuTW9kaWZpY2F0aW9uLlN0eWxpbmcuT3JpZ29MaW5lQ3VzdG9taXphdGlvblRhcmdldCwgQWx0dWEuT2FrLkNvcmXFBJIBANIEXUFsdHVhLk9hay5Db3JlLk1vZGlmaWNhdGlvbi5TdHlsaW5nLkFsbENvbm5lY3RvcnNBdXhpbGlhcnlDdXN0b21pemF0aW9uVGFyZ2V0LCBBbHR1YS5PYWsuQ29yZc0ElAEA2gRZQWx0dWEuT2FrLkNvcmUuTW9kaWZpY2F0aW9uLlN0eWxpbmcuU2VyaWVzV2l0aFBsb3RLaW5kQ3VzdG9taXphdGlvblRhcmdldCwgQWx0dWEuT2FrLkNvcmXVBJYBAwXkBt0ElAEA4AQFDAMF6AbqBFZBbHR1YS5PYWsuQ29yZS5Nb2RpZmljYXRpb24uU3R5bGluZy5BbGxTZXJpZXNNYXJrZXJDdXN0b21pemF0aW9uVGFyZ2V0LCBBbHR1YS5PYWsuQ29yZeUEmgEA8gQ6QWx0dWEuT2FrLkNvcmUuVGhlbWluZy5CaW5kaW5nQ29sb3JQb2ludGVyLCBBbHR1YS5PYWsuQ29yZe0EnAEFBe0G3AH1BIwBAP4EN0FsdHVhLk9hay5Db3JlLlRoZW1pbmcuUGFnZUNvbG9yUG9pbnRlciwgQWx0dWEuT2FrLkNvcmX5BJ8BBAAACACBBZABAIUFnwEEAAAIAIkFkgEAjQWfAQQAAAgAlgVTQWx0dWEuT2FrLkNvcmUuTW9kaWZpY2F0aW9uLlN0eWxpbmcuQWxsR3JpZGxpbmVzQ3VzdG9taXphdGlvblRhcmdldCwgQWx0dWEuT2FrLkNvcmWRBaUBAJkFSYCAgP+iBVhBbHR1YS5PYWsuQ29yZS5Nb2RpZmljYXRpb24uU3R5bGluZy5BbGxWYWx1ZUF4aXNMYWJlbEN1c3RvbWl6YXRpb25UYXJnZXQsIEFsdHVhLk9hay5Db3JlnQWoAQCqBWZBbHR1YS5PYWsuQ29yZS5Nb2RpZmljYXRpb24uU3R5bGluZy5TdGFja2VkQmFyQXV0b21hdGljU2VnbWVudExhYmVsQ3VzdG9taXphdGlvblRhcmdldCwgQWx0dWEuT2FrLkNvcmWlBaoBALIFVUFsdHVhLk9hay5Db3JlLk1vZGlmaWNhdGlvbi5TdHlsaW5nLkFsbFRvdGFsTGFiZWxzQ3VzdG9taXphdGlvblRhcmdldCwgQWx0dWEuT2FrLkNvcmWtBawBALoFV0FsdHVhLk9hay5Db3JlLk1vZGlmaWNhdGlvbi5TdHlsaW5nLkFsbENhdGVnb3J5TGFiZWxDdXN0b21pemF0aW9uVGFyZ2V0LCBBbHR1YS5PYWsuQ29yZbUFrgEAwgVYQWx0dWEuT2FrLkNvcmUuTW9kaWZpY2F0aW9uLlN0eWxpbmcuQWxsQXV4aWxpYXJ5TGFiZWxDdXN0b21pemF0aW9uVGFyZ2V0LCBBbHR1YS5PYWsuQ29yZb0FsAEAygVYQWx0dWEuT2FrLkNvcmUuTW9kaWZpY2F0aW9uLlN0eWxpbmcuU2VyaWVzTGFiZWxPZlR5cGVDdXN0b21pemF0aW9uVGFyZ2V0LCBBbHR1YS5PYWsuQ29yZcUFsgECAALSBVhBbHR1YS5PYWsuQ29yZS5Nb2RpZmljYXRpb24uU3R5bGluZy5DYXRlZ29yeUF4aXNUaXRsZUN1c3RvbWl6YXRpb25UYXJnZXQsIEFsdHVhLk9hay5Db3JlzQW0AQDaBUJBbHR1YS5PYWsuQ29yZS5QbG90dGluZy5BeGlzVGl0bGVMYWJlbFBsYWNlbWVudEZhciwgQWx0dWEuT2FrLkNvcmXVBbYBAgAA4gVdQWx0dWEuT2FrLkNvcmUuTW9kaWZpY2F0aW9uLlN0eWxpbmcuQWxsVmFsdWVBeGlzVGl0bGVMYWJlbEN1c3RvbWl6YXRpb25UYXJnZXQsIEFsdHVhLk9hay5Db3Jl3QW4AQDqBUZBbHR1YS5PYWsuQ29yZS5QbG90dGluZy5BeGlzVGl0bGVMYWJlbFBsYWNlbWVudE91dHNpZGUsIEFsdHVhLk9hay5Db3Jl5QW6AQIAAfIFX0FsdHVhLk9hay5Db3JlLk1vZGlmaWNhdGlvbi5TdHlsaW5nLlNlcmllc0xhYmVsc1dpdGhQbG90S2luZEN1c3RvbWl6YXRpb25UYXJnZXQsIEFsdHVhLk9hay5Db3Jl7QW8AQUF9AYIAPoFPEFsdHVhLk9hay5Db3JlLlBsb3R0aW5nLkxhYmVsUGxhY2VtZW50SW5zaWRlLCBBbHR1YS5PYWsuQ29yZfUFvgEEAAEIAf0FvAEFBfgGCACGBj1BbHR1YS5PYWsuQ29yZS5QbG90dGluZy5MYWJlbFBsYWNlbWVudE91dHNpZGUsIEFsdHVhLk9hay5Db3JlgQbBAQCJBqwBAI0GqAEAlgZBQWx0dWEuT2FrLkNvcmUuUGxvdHRpbmcuQXhpc0xhYmVsUGxhY2VtZW50T3V0c2lkZSwgQWx0dWEuT2FrLkNvcmWRBsUBAgEAmQauAQCdBrABAKYGRkFsdHVhLk9hay5Db3JlLlBsb3R0aW5nLkF1eGlsaWFyeUxhYmVsUGxhY2VtZW50RGVmYXVsdCwgQWx0dWEuT2FrLkNvcmWhBskBAK4GQ0FsdHVhLk9hay5Db3JlLlBsb3R0aW5nLkxhYmVsUGxhY2VtZW50U2VyaWVzT3V0c2lkZSwgQWx0dWEuT2FrLkNvcmWpBssBAgAAtgZQQWx0dWEuT2FrLkNvcmUuTW9kaWZpY2F0aW9uLlN0eWxpbmcuQWxsTGFiZWxzQ3VzdG9taXphdGlvblRhcmdldCwgQWx0dWEuT2FrLkNvcmWxBs0BAL4GQkFsdHVhLk9hay5Db3JlLlN5bnRheFN0cnVjdHVyZS5BY3R1YWxGb250U2l6ZVZhbHVlLCBBbHR1YS5PYWsuQ29yZbkGzwEJAwAAAAAAAChAwQaoAQDKBkNBbHR1YS5PYWsuQ29yZS5TeW50YXhTdHJ1Y3R1cmUuQWN0dWFsRm9udENvbG9yVmFsdWUsIEFsdHVhLk9hay5Db3JlxQbSAQUF/QafAc0GuAEA0QbSAQUFgQefAdUGrgEA2QbSAQUFhQefAd0GtAEA4QbSAQUFiQefAeQGAQXoBgoBAgAAgEAAAEBA8gZIQWx0dWEuT2FrLkNvcmUuU3ludGF4U3RydWN0dXJlLlBsb3RTZXJpZXNCaW5kaW5nU3RyYXRlZ3ksIEFsdHVhLk9hay5Db3Jl7QbcAQD0BgIAAfgGAQX9Bp8BBAAACACBB58BBAAACACFB58BBAAACACJB58BBAAACAA="/>
  <p:tag name="GRUNT-SYNC" val="ca5cac250411466b93bc9a15346edd5c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px0KN0FsdHVhLkRhdGEuRGF0YVNlcnZpY2VzLkVtYmVkZGVkRGF0YVNlcnZpY2UsIEFsdHVhLkRhdGEFAhkEEgQQpswcNkr2K0WVF/7npZ46yQ0MJREFDAYFGAgSEAcWQUFsdHVhLkRhdGEuRGF0YVNlcnZpY2VzLkVtYmVkZGVkRGF0YVNlcnZpY2VFZGl0b3JEYXRhLCBBbHR1YS5EYXRhEQUEBRwNIBgGBSQNKBUsHDwdBBIEENNz8cQb9wFOoDLwDWItJDkLAAAAAAAAHEAdBBIEEB/rjDimIctLiTIXQgTfWDQLAAAAAAAgYkAgPB0EEgQQBbe507cO9EmRZBhNRm5FrAsAAAAAAAAyQB0EEgQQhB+R4huFNUGwuFZrPUlJDwsAAAAAAAAyQCQFMDQ4PEAoA0RITCymBSwEKAQSBBDajSsQe0+aTJlGK/NOL/gcDBIEEF+XkJfEWrtCmxAwBnFOxVkNUCwEKAQSBBB1npiRXEMrR4CNoMsd75TjDBIEEF+XkJfEWrtCmxAwBnFOxVkNVCwEKAQSBBAf64w4piHLS4kyF0IE31g0DBIEEOjcGhWyCfxHkHpCy/xxYFsNWCwEKAQSBBAzdi5WyqzPQ7if+Nf3Q/IiDBIEEF+XkJfEWrtCmxAwBnFOxVkNXCwEKAQSBBAf64w4piHLS4kyF0IE31g0DBIEEF+XkJfEWrtCmxAwBnFOxVkNYCwEKAQSBBAzdi5WyqzPQ7if+Nf3Q/IiDBIEEOjcGhWyCfxHkHpCy/xxYFsNZCwEKAQSBBBZn2HmWJE/SIQqnrz3HmVGDBIEEF+XkJfEWrtCmxAwBnFOxVkNaCwEKAQSBBDajSsQe0+aTJlGK/NOL/gcDBIEEPksWf79329Fuf5n0yPSqyMNbCwEKAQSBBB1npiRXEMrR4CNoMsd75TjDBIEEPksWf79329Fuf5n0yPSqyMNcCwEKAQSBBBZn2HmWJE/SIQqnrz3HmVGDBIEEOjcGhWyCfxHkHpCy/xxYFsNdCwEKAQSBBBZn2HmWJE/SIQqnrz3HmVGDBIEEPksWf79329Fuf5n0yPSqyMNeCwEKAQSBBDajSsQe0+aTJlGK/NOL/gcDBIEEOjcGhWyCfxHkHpCy/xxYFsNfC0EKAQSBBAf64w4piHLS4kyF0IE31g0DBIEEPksWf79329Fuf5n0yPSqyMNgAEtBCgEEgQQM3YuVsqsz0O4n/jX90PyIgwSBBD5LFn+/d9vRbn+Z9Mj0qsjDYQBLQQoBBIEEHWemJFcQytHgI2gyx3vlOMMEgQQ6NwaFbIJ/EeQekLL/HFgWw2IATAaBBIEENqNKxB7T5pMmUYr804v+BwMAkMxEAA0GgQSBBAf64w4piHLS4kyF0IE31g0DAJDMhAAOBoEEgQQdZ6YkVxDK0eAjaDLHe+U4wwCQzMQADwaBBIEEDN2LlbKrM9DuJ/41/dD8iIMAkM0EABAGgQSBBBZn2HmWJE/SIQqnrz3HmVGDAJDNRAARBoEEgQQX5eQl8Rau0KbEDAGcU7FWQwCUjEQAEgaBBIEEOjcGhWyCfxHkHpCy/xxYFsMAlIyEABMGgQSBBD5LFn+/d9vRbn+Z9Mj0qsjDAJSMxAAUAYNjAEVkAFUBg2MARWUAVgGDYwBFZgBXAYNjAEVnAFgBg2MARWgAWQGDYwBFaQBaAYNjAEVqAFsBg2MARWsAXAGDYwBFbABdAYNtAEVuAF4Bg2MARW8AXwGDYwBFcABgAEGDYwBFcQBhAEGDYwBFcgBiAEGDYwBFcwBjAECBACQAQUEAwXQAZQBBQQDBdQBmAEFBAMF2AGcAQUEAwXcAaABBQQDBeABpAEFBAMF5AGoAQUEAwXoAawBBQQDBewBsAEFBAMF8AG0AQIEALgBBQQDBfQBvAEFBAMF+AHAAQUEAwX8AcQBBQQDBYACyAEFBAMFhALMAQUEAwWIAtABAgEA1AEFAQGNAkTYAQUBAZUCRNwBBQEBmQJE4AEFAQGdAkTkAQUBAaECROgBBQEBpQJE7AEFAQGpAkTwAQUBAa0CRPQBBQEBsQJE+AEFAQG1AkT8AQUBAbkCRIACBQEBvQJEhAIFAQHBAkSIAgUBAcUCRJICL0FsdHVhLkRhdGEuSW5mcmFzdHJ1Y3R1cmUuUGFyYWdyYXBoLCBBbHR1YS5EYXRhjQJEBQwDBcgClQJEBQwDBcwCmQJEBQwDBdACnQJEBQwDBdQCoQJEBQwDBdgCpQJEBQwDBdwCqQJEBQwDBeACrQJEBQwDBeQCsQJEBQwDBegCtQJEBQwDBewCuQJEBQwDBfACvQJEBQwDBfQCwQJEBQwDBfgCxQJEBQwDBfwCyAIFAQGBA2HMAgUBAYkDY9ACBQEBkQNh1AIFAQGVA2HYAgUBAZkDY9wCBQEBnQNh4AIFAQGhA2HkAgUBAaUDY+gCBQEBqQNj7AIFAQGtA2PwAgUBAbEDY/QCBQEBtQNj+AIFAQG5A2P8AgUBAb0DY4YDLUFsdHVhLkRhdGEuSW5mcmFzdHJ1Y3R1cmUuVGV4dFJ1biwgQWx0dWEuRGF0YYEDYRsEFkphLCB1dGVuIG92ZXJnYW5nc3BsYW4NwAOOAy9BbHR1YS5EYXRhLkluZnJhc3RydWN0dXJlLk51bWJlclJ1biwgQWx0dWEuRGF0YYkDYxIEDQMAAAAAAAA4QB3FA3INzAORA2EIBANOZWkN0AOVA2EaBBVKYSwgbWVkIG92ZXJnYW5nc3BsYW4N1AOZA2MSBA0DAAAAAACAS0Ad2QNyDdwDnQNhDQQIVmV0IGlra2UN4AOhA2EKBAVOb3JnZQ3kA6UDYxIEDQMAAAAAAAA0QB3pA3IN7AOpA2MSBA0DAAAAAAAA8D8d8QNyDfQDrQNjEgQNAwAAAAAAAABAHfkDcg30A7EDYxIEDQMAAAAAAKCfQB39A3INgAS1A2MSBA0DAAAAAAAANkAdhQRyDYgEuQNjEgQNAwAAAAAAAExAHY0Ecg2QBL0DYxIEDQMAAAAAAAA0QB2VBHINmATAAxIEABwAJAAsADQAPABMAFQAXQDKAz1BbHR1YS5EYXRhLk51bWJlckZvcm1hdHRpbmcuQ29tcG9zaXRlTnVtYmVyRm9ybWF0LCBBbHR1YS5EYXRhxQNyCx2cBCWgBDWkBD0AzAMSBAAcACQALAA0ADwATABUAF0A0AMSBAAcACQALAA0ADwATABUAF0A1AMSBAAcACQALAA0ADwATABUAF0A2QNyCx2oBCWsBDWwBD0A3AMSBAAcACQALAA0ADwATABUAF0A4AMSBAAcACQALAA0ADwATABUAF0A5AMSBAAcACQALAA0ADwATABUAF0A6QNyCx20BCW4BDW8BD0A7AMSBAAcACQALAA0ADwATABUAF0A8QNyCx3ABCXEBDXIBD0A9AMSBAAcACQALAA0ADwATABUAF0A+QNyCx3MBCXQBDXUBD0A/QNyCx3YBCXcBDXgBD0AgAQSBAAcACQALAA0ADwATABUAF0AhQRyCx3kBCXoBDXsBD0AiAQSBAAcACQALAA0ADwATABUAF0AjQRyCx3wBCX0BDX4BD0AkAQSBAAcACQALAA0ADwATABUAF0AlQRyCx38BCWABTWEBT0AmAQSBAAcACQALAA0ADwATABUAF0AnAQJAAAMAwWIBREAoAQJAAAMAwWMBREApAQKBAEsDAEuFAJrcqgECQAADAMFkAURAKwECQAADAMFlAURALAECgQBLAwBLhQCa3K0BAkAAAwDBZgFEQC4BAkAAAwDBZwFEQC8BAoEASwMAS4UAmtywAQJAAAMAwWgBREAxAQJAAAMAwWkBREAyAQKBAEsDAEuFAJrcswECQAADAMFqAURANAECQAADAMFrAURANQECgQBLAwBLhQCa3LYBAkAAAwDBbAFEQDcBAkAAAwDBbQFEQDgBAoEASwMAS4UAmty5AQJAAAMAwW4BREA6AQJAAAMAwW8BREA7AQKBAEsDAEuFAJrcvAECQAADAMFwAURAPQECQAADAMFxAURAPgECgQBLAwBLhQCa3L8BAkAAAwDBcgFEQCABQkAAAwDBcwFEQCEBQoEASwMAS4UAmtyiAUGAQHRBbUBjAUKAQLZBbcB0QW1AZAFBgEB4QW1AZQFCgEC5QW3AeEFtQGYBQYBAekFtQGcBQoBAu0FtwHpBbUBoAUGAQHxBbUBpAUKAQL1BbcB8QW1AagFBgEB+QW1AawFCgEC/QW3AfkFtQGwBQYBAYEGtQG0BQoBAoUGtwGBBrUBuAUGAQGJBrUBvAUKAQKNBrcBiQa1AcAFBgEBkQa1AcQFCgEClQa3AZEGtQHIBQYBAZkGtQHMBQoBAp0GtwGZBrUB1gVAQWx0dWEuRGF0YS5OdW1iZXJGb3JtYXR0aW5nLk51bWJlckZvcm1hdFZhbHVlU2VnbWVudCwgQWx0dWEuRGF0YdEFtQEFBAMFoAbeBT9BbHR1YS5EYXRhLk51bWJlckZvcm1hdHRpbmcuTnVtYmVyRm9ybWF0VGV4dFNlZ21lbnQsIEFsdHVhLkRhdGHZBbcBBQQBLQkB4QW1AQUEAwWkBuUFtwEFBAEtCQHpBbUBBQQDBagG7QW3AQUEAS0JAfEFtQEFBAMFrAb1BbcBBQQBLQkB+QW1AQUEAwWwBv0FtwEFBAEtCQGBBrUBBQQDBbQGhQa3AQUEAS0JAYkGtQEFBAMFuAaNBrcBBQQBLQkBkQa1AQUEAwW8BpUGtwEFBAEtCQGZBrUBBQQDBcAGnQa3AQUEAS0JAaAGBgEBxQbSAaQGBgEBxQbSAagGBgEBxQbSAawGBgEBxQbSAbAGBgEBxQbSAbQGBgEBzQbSAbgGBgEBxQbSAbwGBgEBxQbSAcAGBgEBxQbSAcoGOUFsdHVhLkRhdGEuTnVtYmVyRm9ybWF0dGluZy5OdW1iZXJQbGFjZWhvbGRlciwgQWx0dWEuRGF0YcUG0gEFAjAAAADNBtIBBQIwAAAA"/>
  <p:tag name="GRUNT-X-SHAPEBOUNDS" val="ASIBBAAAAOB4sFBAAAAAYNCzZ0AAAABA3Mh2QAAAAGCgv3BAAA=="/>
  <p:tag name="GRUNT-RENDERHASH" val="207d4d9b38f893cbd1fd31f399e97b7f-svg"/>
  <p:tag name="GRUNT-SYNC" val="b51abdbaa8564b998ec8d74d2718ade7"/>
  <p:tag name="GRUNT-X-PAGEOBJECT" val="AQUCti8KOEFsdHVhLk9hay5Db3JlLkRvY3VtZW50TW9kZWwuQ2hhcnRPYmplY3QsIEFsdHVhLk9hay5Db3JlBQI1BBIEEPBXML3i54dOvRo6XIwtpgkMEgQQpswcNkr2K0WVF/7npZ46yRUNBCUUNRg9HFUgZSQSUEFsdHVhLk9hay5Db3JlLkRvY3VtZW50TW9kZWwuVGVtcGxhdGluZy5DdXN0b21Qb3NpdGlvbkRlZmluaXRpb24sIEFsdHVhLk9hay5Db3JlDQQkBCIBBEhj3N14wFBASrfpLJ3AaUBDbKlF3MB2QA4O/GjaWGtAFBMVKB0sNTA4AEU1DkwCBTxVQF1EGAQEAgVIHAIFTCALBVAMBW5iLU5PFVQkDgEBCQERARkBIQEpATEBKBYEEgQQAAAAAAAAAAAAAAAAAAAAAAgBLBYEEgQQAAAAAAAAAAAAAAAAAAAAAAgBMAA6R0FsdHVhLk9hay5Db3JlLkNoYXJ0LkNsdXN0ZXJlZEJhcldpdGhMaW5lUGxvdERlZmluaXRpb24sIEFsdHVhLk9hay5Db3JlNQ41BBIEECZefBzCF+lJsrhdp1+Z94wcAgVYJVw1YDwCBWRJAW1ojQFspQFwtQF1HrkBAMUBfSA8BgEChAGIAUAFBYwBDQBEAgEASAIBAEwAUAoEASwMASAUAmtyVAkEBW5iLU5PCAFYBAEBkAFcDQAACAEUAwWUARwAJQBgJgQiAQQAAAAAAAAQQAAAAAAAABBAAAAAAAAAEEAAAAAAAAAQQAgEZAIBAGgLAwAAAAAAgE1ACCBsCwMAAAAAAAAUQAggcEo1mAE9nAFFoAFVpAFdqAF1rAGNAbABnQG0AaUBuAGtAbwBzQHAAdUBxAHdAcgB5QHMAe0B0AH1AdQB/QHYAYUC3AGNAuABlQLkAXpFQWx0dWEuT2FrLkNvcmUuUGxvdHRpbmcuQXV0b21hdGljQ2F0ZWdvcnlBeGlzU2V0dGluZ3MsIEFsdHVhLk9hay5Db3JldR4TAQEN6AEQABkBMAA97AFF8AFIAYIBPUFsdHVhLk9hay5Db3JlLlRoZW1pbmcuUGFnZUNvbG9yU2NoZW1lUG9pbnRlciwgQWx0dWEuT2FrLkNvcmV9IACEAUgEEgQQ6NwaFbIJ/EeQekLL/HFgWyQSBBA5rqFLY+crUa/3h5kmPemoLBIEEGYXE1N9IXJDhGcjtJPoB3s99QE+RfwBSQFdgAKIAUgEEgQQ+SxZ/v3fb0W5/mfTI9KrIyQSBBDeEv+gt+OZUY2Brka6081VLBIEEGYXE1N9IXJDhGcjtJPoB3s99QE+RYQCSQFdiAKMARaMApAClAKYApwCoAKkAqgCrAKwArQCkAFCAQAYAyW4AikAMQBAAEgCVbwCXcACZBIEEGYXE1N9IXJDhGcjtJPoB3ttxAJ1yAKNAcwCkQEBnQHQAqUB1AK1AdgClAECAQCYAQUEAwXcApwBBQQDBeACoAEFBAMF5AKkAQUEAwXoAqgBBQQDBdwCrAEFBAMF3AKwAQUEAwXsArQBBQQDBfACuAEFBAMF9AK8AQUEAwX4AsABBQQDBfwCxAEFBAMFgAPIAQUEAwWEA8wBBQQDBYgD0AEFBAMFjAPUAQUEAwWQA9gBBQQDBZQD3AEFBAMFmAPgAQUEAwWcA+QBBQQDBaAD6AECAQDsAQYFpQNqCATwAQYFrQNqCAT6AT5BbHR1YS5PYWsuQ29yZS5DaGFydC5EZWZhdWx0UGxvdFNlcmllc1NldHRpbmdzLCBBbHR1YS5PYWsuQ29yZfUBPgD8AQQFAAgBgAIFBbADCAGEAgQFAAgBiAIFBbQDCAGMAioEEgQQtnl8ctBB8lCqeXW5srpkmwwSBBAf64w4piHLS4kyF0IE31g0EQGQAioEEgQQrfGRoxqCdV+4daZv8AfmjQwSBBB1npiRXEMrR4CNoMsd75TjEQGUAioEEgQQFIE32vxjZFa6XUIIrNW/8AwSBBAzdi5WyqzPQ7if+Nf3Q/IiEQGYAioEEgQQd2MwujbKQFSz3yjnTKcylwwSBBBZn2HmWJE/SIQqnrz3HmVGEQGcAioEEgQQPUNl9mfZ11aek/af0BOCQgwSBBDk8iexzvF6Q5k1eqa4h8NSEQGgAioEEgQQg/uKcvZw/ECgUyhReqIWrgwSBBCb8zfM9jAYT6Z/gRljzb+qEQGkAioEEgQQUp3Hd2NQf0aKrpw65Q0tWAwSBBC/BNzlG01aS63JT5V8CUTVEQGoAioEEgQQlwVwbPHZ+k2bHFl6ry2E9QwSBBAdBYUxHPtORKK1lO9EzwvOEQGsAioEEgQQa0nft3MvaE+qd7DWQVAN6wwSBBD70bdveNSjT7TWwOMJzXtJEQGwAioEEgQQ4ikfsnaK4EuJU/fmpsixuQwSBBDoAmmIksVpR4Wcmdp5Uj9+EQG0AioEEgQQQCreSZDAnEqcHw+Ubsix0wwSBBDaXjv7RxM+TLSXjY1wzLcIEQG4AgsDAAAAAAAAAAAIArwCCwMAAAAAAAAAAAgBwAILAwAAAAAAAAAACAHEAhUFuAMNvAMVwAMdxAMlyAMtzAM10APIAgcN1AMV2QNqzAILAwAAAAAAAAAACATQAgYF3QNqCATUAgYF3QNqCATYAgUEAwXgA9wCAgEA4AIOAQbkA+gD7APwA/QD+APkAgQBAfwD6AICAQDsAgIBAPACAgEA9AIOAQaABIQEiASMBJAElAT4AgIBAPwCDgEGmAScBKAEpASoBKwEgAMQAQewBLQEuAS8BMAExATIBIQDAgEAiAMEAQHMBIwDCgEE0ATUBNgE3ASQAwIBAJQDAgEAmAMCAQCcAwIBAKADAgEAqgMzQWx0dWEuT2FrLkNvcmUuVGhlbWluZy5Db2xvclBvaW50ZXIsIEFsdHVhLk9hay5Db3JlpQNqUFBQ/60DalBQUP+wAwUEAwXgBLQDBQQDBeQEuAMHBAMEAQAIBLwDBQQBLggEwAMEAAEIBMQDBAAACATIAwQEAAgEzAMEBAAIBNADBAAACATUAwUEAwXoBNkDaj4+5f/dA2pQUFD/4AMCAQDkAw4F7QScAQsAAAAAAAAAAOgDDgX1BJ4BCwAAAAAAAAAA7AMOBf0EoAELAAAAAAAA4D/wAw4FhQWiAQsAAAAAAADgP/QDDgWNBaQBCwAAAAAAAOA/+AMOBZUFpgELAAAAAAAA+D/8AwgFnQWkAQ2gBYAECgWlBaoBDa0FrAGEBAoFtQWcAQ25Ba8BiAQKBcEFoAENxQWvAYwECgXJBaIBDc0FrwGQBAkF0QW1AQ3ZBWqUBAoF3QW4AQ3lBa8BmAQHBekFuwEJAZwEBwXxBb0BCQCgBAcF+QW7AQkBpAQHBf0FwAEJAagEBwWFBsIBCQGsBAcFjQbEAQkBsAQKBZUGxgENnQbIAbQECgWlBsoBDa0GzAG4BAoFtQbOAQ29BtABvAQKBcUGzgENvQbQAcAECgXJBr0BDc0G1AHEBAoF1QbCAQ3NBtQByAQKBdkGxAEN3QbYAcwECgXlBtoBDe0G3AHQBAoF9Qa9AQ35Bt8B1AQKBYEHygENhQffAdgECgWJB8IBDY0H3wHcBAoFkQfGAQ2VB98B4AQGAQGZB+cB5AQGAQGhB+cB6AQEAQIBBPIEU0FsdHVhLk9hay5Db3JlLk1vZGlmaWNhdGlvbi5TdHlsaW5nLkFsbFZhbHVlQXhpc0N1c3RvbWl6YXRpb25UYXJnZXQsIEFsdHVhLk9hay5Db3Jl7QScAQD6BFlBbHR1YS5PYWsuQ29yZS5Nb2RpZmljYXRpb24uU3R5bGluZy5WYWx1ZUF4aXNHcmlkbGluZXNDdXN0b21pemF0aW9uVGFyZ2V0LCBBbHR1YS5PYWsuQ29yZfUEngEAggVTQWx0dWEuT2FrLkNvcmUuTW9kaWZpY2F0aW9uLlN0eWxpbmcuQ2F0ZWdvcnlBeGlzQ3VzdG9taXphdGlvblRhcmdldCwgQWx0dWEuT2FrLkNvcmX9BKABAIoFUEFsdHVhLk9hay5Db3JlLk1vZGlmaWNhdGlvbi5TdHlsaW5nLk9yaWdvTGluZUN1c3RvbWl6YXRpb25UYXJnZXQsIEFsdHVhLk9hay5Db3JlhQWiAQCSBV1BbHR1YS5PYWsuQ29yZS5Nb2RpZmljYXRpb24uU3R5bGluZy5BbGxDb25uZWN0b3JzQXV4aWxpYXJ5Q3VzdG9taXphdGlvblRhcmdldCwgQWx0dWEuT2FrLkNvcmWNBaQBAJoFWUFsdHVhLk9hay5Db3JlLk1vZGlmaWNhdGlvbi5TdHlsaW5nLlNlcmllc1dpdGhQbG90S2luZEN1c3RvbWl6YXRpb25UYXJnZXQsIEFsdHVhLk9hay5Db3JllQWmAQMFpAedBaQBAKAFBQwDBagHqgVWQWx0dWEuT2FrLkNvcmUuTW9kaWZpY2F0aW9uLlN0eWxpbmcuQWxsU2VyaWVzTWFya2VyQ3VzdG9taXphdGlvblRhcmdldCwgQWx0dWEuT2FrLkNvcmWlBaoBALIFOkFsdHVhLk9hay5Db3JlLlRoZW1pbmcuQmluZGluZ0NvbG9yUG9pbnRlciwgQWx0dWEuT2FrLkNvcmWtBawBBQWtB+wBtQWcAQC+BTdBbHR1YS5PYWsuQ29yZS5UaGVtaW5nLlBhZ2VDb2xvclBvaW50ZXIsIEFsdHVhLk9hay5Db3JluQWvAQQAAAgAwQWgAQDFBa8BBAAACADJBaIBAM0FrwEEAAAIANYFU0FsdHVhLk9hay5Db3JlLk1vZGlmaWNhdGlvbi5TdHlsaW5nLkFsbEdyaWRsaW5lc0N1c3RvbWl6YXRpb25UYXJnZXQsIEFsdHVhLk9hay5Db3Jl0QW1AQDZBWqAgID/4gVNQWx0dWEuT2FrLkNvcmUuTW9kaWZpY2F0aW9uLlN0eWxpbmcuU2VyaWVzQ3VzdG9taXphdGlvblRhcmdldCwgQWx0dWEuT2FrLkNvcmXdBbgBFAQSBBDeEv+gt+OZUY2Brka6081V5QWvAQQACQgA7gVYQWx0dWEuT2FrLkNvcmUuTW9kaWZpY2F0aW9uLlN0eWxpbmcuU2VyaWVzTGFiZWxPZlR5cGVDdXN0b21pemF0aW9uVGFyZ2V0LCBBbHR1YS5PYWsuQ29yZekFuwECAAL2BVhBbHR1YS5PYWsuQ29yZS5Nb2RpZmljYXRpb24uU3R5bGluZy5BbGxWYWx1ZUF4aXNMYWJlbEN1c3RvbWl6YXRpb25UYXJnZXQsIEFsdHVhLk9hay5Db3Jl8QW9AQD5BbsBAgAAggZVQWx0dWEuT2FrLkNvcmUuTW9kaWZpY2F0aW9uLlN0eWxpbmcuQWxsVG90YWxMYWJlbHNDdXN0b21pemF0aW9uVGFyZ2V0LCBBbHR1YS5PYWsuQ29yZf0FwAEAigZXQWx0dWEuT2FrLkNvcmUuTW9kaWZpY2F0aW9uLlN0eWxpbmcuQWxsQ2F0ZWdvcnlMYWJlbEN1c3RvbWl6YXRpb25UYXJnZXQsIEFsdHVhLk9hay5Db3JlhQbCAQCSBlhBbHR1YS5PYWsuQ29yZS5Nb2RpZmljYXRpb24uU3R5bGluZy5BbGxBdXhpbGlhcnlMYWJlbEN1c3RvbWl6YXRpb25UYXJnZXQsIEFsdHVhLk9hay5Db3JljQbEAQCaBlhBbHR1YS5PYWsuQ29yZS5Nb2RpZmljYXRpb24uU3R5bGluZy5DYXRlZ29yeUF4aXNUaXRsZUN1c3RvbWl6YXRpb25UYXJnZXQsIEFsdHVhLk9hay5Db3JllQbGAQCiBkZBbHR1YS5PYWsuQ29yZS5QbG90dGluZy5BeGlzVGl0bGVMYWJlbFBsYWNlbWVudE91dHNpZGUsIEFsdHVhLk9hay5Db3JlnQbIAQIAAaoGXUFsdHVhLk9hay5Db3JlLk1vZGlmaWNhdGlvbi5TdHlsaW5nLkFsbFZhbHVlQXhpc1RpdGxlTGFiZWxDdXN0b21pemF0aW9uVGFyZ2V0LCBBbHR1YS5PYWsuQ29yZaUGygEAsgZCQWx0dWEuT2FrLkNvcmUuUGxvdHRpbmcuQXhpc1RpdGxlTGFiZWxQbGFjZW1lbnRGYXIsIEFsdHVhLk9hay5Db3JlrQbMAQIAALoGX0FsdHVhLk9hay5Db3JlLk1vZGlmaWNhdGlvbi5TdHlsaW5nLlNlcmllc0xhYmVsc1dpdGhQbG90S2luZEN1c3RvbWl6YXRpb25UYXJnZXQsIEFsdHVhLk9hay5Db3JltQbOAQUFtAcIAMIGPUFsdHVhLk9hay5Db3JlLlBsb3R0aW5nLkxhYmVsUGxhY2VtZW50T3V0c2lkZSwgQWx0dWEuT2FrLkNvcmW9BtABAMUGzgEFBbgHCADJBr0BANIGQUFsdHVhLk9hay5Db3JlLlBsb3R0aW5nLkF4aXNMYWJlbFBsYWNlbWVudE91dHNpZGUsIEFsdHVhLk9hay5Db3JlzQbUAQIBANUGwgEA2QbEAQDiBkZBbHR1YS5PYWsuQ29yZS5QbG90dGluZy5BdXhpbGlhcnlMYWJlbFBsYWNlbWVudERlZmF1bHQsIEFsdHVhLk9hay5Db3Jl3QbYAQDqBlBBbHR1YS5PYWsuQ29yZS5Nb2RpZmljYXRpb24uU3R5bGluZy5BbGxMYWJlbHNDdXN0b21pemF0aW9uVGFyZ2V0LCBBbHR1YS5PYWsuQ29yZeUG2gEA8gZCQWx0dWEuT2FrLkNvcmUuU3ludGF4U3RydWN0dXJlLkFjdHVhbEZvbnRTaXplVmFsdWUsIEFsdHVhLk9hay5Db3Jl7QbcAQkDAAAAAAAAKED1Br0BAP4GQ0FsdHVhLk9hay5Db3JlLlN5bnRheFN0cnVjdHVyZS5BY3R1YWxGb250Q29sb3JWYWx1ZSwgQWx0dWEuT2FrLkNvcmX5Bt8BBQW9B68BgQfKAQCFB98BBQXBB68BiQfCAQCNB98BBQXFB68BkQfGAQCVB98BBQXJB68BngcvQWx0dWEuRGF0YS5JbmZyYXN0cnVjdHVyZS5QYXJhZ3JhcGgsIEFsdHVhLkRhdGGZB+cBBQwDBcwHoQfnAQUMAwXQB6QHAQWoBwoBAgAAgEAAAEBAsgdIQWx0dWEuT2FrLkNvcmUuU3ludGF4U3RydWN0dXJlLlBsb3RTZXJpZXNCaW5kaW5nU3RyYXRlZ3ksIEFsdHVhLk9hay5Db3JlrQfsAQC0BwIJCrgHAQW9B68BBAAACADBB68BBAAACADFB68BBAAACADJB68BBAAACADMBwYBAdUH9gHQBwYBAd0H+AHaBy9BbHR1YS5EYXRhLkluZnJhc3RydWN0dXJlLk51bWJlclJ1biwgQWx0dWEuRGF0YdUH9gETBA4DAAAAAACgn0Ad5Qf6AQ3sB+IHLUFsdHVhLkRhdGEuSW5mcmFzdHJ1Y3R1cmUuVGV4dFJ1biwgQWx0dWEuRGF0Yd0H+AEKBAVOb3JnZQ3wB+oHPUFsdHVhLkRhdGEuTnVtYmVyRm9ybWF0dGluZy5Db21wb3NpdGVOdW1iZXJGb3JtYXQsIEFsdHVhLkRhdGHlB/oBCx30ByX4BzX8Bz0A7AcSBAAcACQALAA0ADwATABUAF0A8AcSBAAcACQALAA0ADwATABUAF0A9AcJAAAMAwWACBEA+AcJAAAMAwWECBEA/AcKBAEsDAEuFAJrcoAIBgEBiQiDAoQICgECkQiFAokIgwKOCEBBbHR1YS5EYXRhLk51bWJlckZvcm1hdHRpbmcuTnVtYmVyRm9ybWF0VmFsdWVTZWdtZW50LCBBbHR1YS5EYXRhiQiDAgUEAwWYCJYIP0FsdHVhLkRhdGEuTnVtYmVyRm9ybWF0dGluZy5OdW1iZXJGb3JtYXRUZXh0U2VnbWVudCwgQWx0dWEuRGF0YZEIhQIFBAEtCQGYCAYBAZ0IiAKiCDlBbHR1YS5EYXRhLk51bWJlckZvcm1hdHRpbmcuTnVtYmVyUGxhY2Vob2xkZXIsIEFsdHVhLkRhdGGdCIgCBQIwAAA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2ec78c6b-0e6c-46d6-ab60-e533c5e31d58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rRoKN0FsdHVhLkRhdGEuRGF0YVNlcnZpY2VzLkVtYmVkZGVkRGF0YVNlcnZpY2UsIEFsdHVhLkRhdGEFAhkEEgQQt6gdP3w7uEa8z49BNslx1g0MJREFDAYFGAgQEAcWQUFsdHVhLkRhdGEuRGF0YVNlcnZpY2VzLkVtYmVkZGVkRGF0YVNlcnZpY2VFZGl0b3JEYXRhLCBBbHR1YS5EYXRhEQUEBRwNIBgGBSQNKBUsHDwdBBIEENNz8cQb9wFOoDLwDWItJDkLAAAAAAAAHEAdBBIEEB/rjDimIctLiTIXQgTfWDQLAAAAAAAgYkAgWh0EEgQQhB+R4huFNUGwuFZrPUlJDwsAAAAAAAAyQB0EEgQQ+SxZ/v3fb0W5/mfTI9KrIwsAAAAAAAAyQB0EEgQQF/fU+/rkS0KjMEQe6grewwsAAAAAAAAyQCQKMDQ4PEBESExQVCgCWFwskAcsBCgEEgQQilo+QXBjwU2x08qj3RNI3wwSBBAFt7nTtw70SZFkGE1GbkWsDWAsBCgEEgQQ2o0rEHtPmkyZRivzTi/4HAwSBBBfl5CXxFq7QpsQMAZxTsVZDWQsBCgEEgQQH+uMOKYhy0uJMhdCBN9YNAwSBBAFt7nTtw70SZFkGE1GbkWsDWgsBCgEEgQQdZ6YkVxDK0eAjaDLHe+U4wwSBBBfl5CXxFq7QpsQMAZxTsVZDWwsBCgEEgQQ1N8b6OwBEkqe6d/BqpewZQwSBBAFt7nTtw70SZFkGE1GbkWsDXAsBCgEEgQQM3YuVsqsz0O4n/jX90PyIgwSBBBfl5CXxFq7QpsQMAZxTsVZDXQsBCgEEgQQH+uMOKYhy0uJMhdCBN9YNAwSBBBfl5CXxFq7QpsQMAZxTsVZDXgsBCgEEgQQM3YuVsqsz0O4n/jX90PyIgwSBBAFt7nTtw70SZFkGE1GbkWsDXwtBCgEEgQQWZ9h5liRP0iEKp689x5lRgwSBBBfl5CXxFq7QpsQMAZxTsVZDYABLQQoBBIEENTfG+jsARJKnunfwaqXsGUMEgQQX5eQl8Rau0KbEDAGcU7FWQ2EAS0EKAQSBBDCocRU5X8YQoY6sgHVC9EBDBIEEF+XkJfEWrtCmxAwBnFOxVkNiAEtBCgEEgQQ2o0rEHtPmkyZRivzTi/4HAwSBBAFt7nTtw70SZFkGE1GbkWsDYwBLQQoBBIEEHWemJFcQytHgI2gyx3vlOMMEgQQBbe507cO9EmRZBhNRm5FrA2QAS0EKAQSBBBYsc5Qc9H6S5Z9EpDqZN6KDBIEEAW3udO3DvRJkWQYTUZuRawNlAEtBCgEEgQQWZ9h5liRP0iEKp689x5lRgwSBBAFt7nTtw70SZFkGE1GbkWsDZgBLQQoBBIEEFixzlBz0fpLln0SkOpk3ooMEgQQX5eQl8Rau0KbEDAGcU7FWQ2cAS0EKAQSBBDk8iexzvF6Q5k1eqa4h8NSDBIEEAW3udO3DvRJkWQYTUZuRawNoAEtBCgEEgQQ5PInsc7xekOZNXqmuIfDUgwSBBBfl5CXxFq7QpsQMAZxTsVZDaQBLQQoBBIEEMKhxFTlfxhChjqyAdUL0QEMEgQQBbe507cO9EmRZBhNRm5FrA2oAS0EKAQSBBCKWj5BcGPBTbHTyqPdE0jfDBIEEF+XkJfEWrtCmxAwBnFOxVkNrAEwGgQSBBDajSsQe0+aTJlGK/NOL/gcDAJDMRAANBoEEgQQH+uMOKYhy0uJMhdCBN9YNAwCQzIQADgaBBIEEHWemJFcQytHgI2gyx3vlOMMAkMzEAA8GgQSBBAzdi5WyqzPQ7if+Nf3Q/IiDAJDNBAAQBoEEgQQWZ9h5liRP0iEKp689x5lRgwCQzUQAEQaBBIEEOTyJ7HO8XpDmTV6priHw1IMAkM2EABIGwQSBBDCocRU5X8YQoY6sgHVC9EBDANDMTIQAEwbBBIEEIpaPkFwY8FNsdPKo90TSN8MA0MxMxAAUBsEEgQQWLHOUHPR+kuWfRKQ6mTeigwDQzE0EABUGwQSBBDU3xvo7AESSp7p38Gql7BlDANDMTUQAFgaBBIEEF+XkJfEWrtCmxAwBnFOxVkMAlIxEABcGgQSBBAFt7nTtw70SZFkGE1GbkWsDAJSNhAAYAYNsAEVtAFkBg24ARW8AWgGDcABFcQBbAYNuAEVyAFwBg2wARXMAXQGDbgBFdABeAYNuAEV1AF8Bg3AARXYAYABBg24ARXcAYQBBg2wARXgAYgBBg3kARXoAYwBBg3sARXwAZABBg3AARX0AZQBBg2wARX4AZgBBg3AARX8AZwBBg2wARWAAqABBg3AARWEAqQBBg24ARWIAqgBBg3kARWMAqwBBg2wARWQArABAgQAtAEFBAMFlAK4AQIEALwBBQQDBZgCwAECBADEAQUEAwWcAsgBBQQDBaACzAEFBAMFpALQAQUEAwWoAtQBBQQDBawC2AEFBAMFsALcAQUEAwW0AuABBQQDBbgC5AECBADoAQUEAwW8AuwBAgQA8AEFBAMFwAL0AQUEAwXEAvgBBQQDBcgC/AEFBAMFzAKAAgUEAwXQAoQCBQQDBdQCiAIFBAMF2AKMAgUEAwXcApACBQQDBeAClAIFAQHlAlqYAgIBAJwCBQEB7QJaoAIFAQHxAlqkAgUBAfUCWqgCBQEB+QJarAIFAQH9AlqwAgUBAYEDWrQCBQEBhQNauAIFAQGJA1q8AgUBAY0DWsACAgEAxAIFAQGRA1rIAgUBAZUDWswCBQEBmQNa0AIFAQGdA1rUAgUBAaEDWtgCBQEBpQNa3AIFAQGpA1rgAgUBAa0DWuoCL0FsdHVhLkRhdGEuSW5mcmFzdHJ1Y3R1cmUuUGFyYWdyYXBoLCBBbHR1YS5EYXRh5QJaBQwDBbAD7QJaBQwDBbQD8QJaBQwDBbgD9QJaBQwDBbwD+QJaBQwDBcAD/QJaBQwDBcQDgQNaBQwDBcgDhQNaBQwDBcwDiQNaBQwDBdADjQNaBQwDBdQDkQNaBQwDBdgDlQNaBQwDBdwDmQNaBQwDBeADnQNaBQwDBeQDoQNaBQwDBegDpQNaBQwDBewDqQNaBQwDBfADrQNaBQwDBfQDsAMFAQH5A3+0AwUBAYEEf7gDBgEBhQSCAbwDBQEBjQR/wAMGAQGRBIIBxAMGAQGVBIIByAMFAQGZBH/MAwYBAZ0EggHQAwYBAaEEggHUAwYBAaUEggHYAwUBAakEf9wDBQEBrQR/4AMFAQGxBH/kAwYBAbUEggHoAwUBAbkEf+wDBgEBvQSCAfADBQEBwQR/9AMGAQHFBIIB/gMvQWx0dWEuRGF0YS5JbmZyYXN0cnVjdHVyZS5OdW1iZXJSdW4sIEFsdHVhLkRhdGH5A38TBA4DAAAAAAAARUAdyQSTAQ3QBIEEfxMEDgMAAAAAAABPQB3JBJMBDdAEigQtQWx0dWEuRGF0YS5JbmZyYXN0cnVjdHVyZS5UZXh0UnVuLCBBbHR1YS5EYXRhhQSCARkEFFRyYW5zcG9ydCBvZyBsYWdyaW5nDdQEjQR/EwQOAwAAAAAAAD9AHckEkwEN0ASRBIIBIwQeVGplbmVzdGV5dGluZyBvZyBrb21tdW5pa2Fzam9uDdQElQSCARYEEUZpc2tlcmkgLyBoYXZicnVrDdQEmQR/EwQOAwAAAAAAAEhAHckEkwEN0ASdBIIBGQQUSm9yZGJydWsgb2cgc2tvZ2JydWsN1AShBIIBDwQKVmFyZWhhbmRlbA3UBKUEggETBA5CeWdnIG9nIGFubGVnZw3UBKkEfxMEDgMAAAAAAABOQB3JBJMBDdAErQR/EwQOAwAAAAAAAD9AHckEkwEN0ASxBH8TBA4DAAAAAACAR0AdyQSTAQ3QBLUEggENBAhJbmR1c3RyaQ3UBLkEfxMEDgMAAAAAAIBGQB3JBJMBDdAEvQSCARgEE0hvdGVsbCAvIHJlc3RhdXJhbnQN1ATBBH8TBA4DAAAAAAAARkAdyQSTAQ3QBMUEggEMBAdFaWVuZG9tDdgEzgQ9QWx0dWEuRGF0YS5OdW1iZXJGb3JtYXR0aW5nLkNvbXBvc2l0ZU51bWJlckZvcm1hdCwgQWx0dWEuRGF0YckEkwELHdwEJeAENeQEPQDQBBIEABwAJAAsADQAPABMAFQAXQDUBBIEABwAJAAsADQAPABMAFQAXQDYBBIEABwAJAAsADQAPABMAFQAXQDcBAkAAAwDBegEEQDgBAkAAAwDBewEEQDkBAoEASwMAS4UAmty6AQGAQHxBJ0B7AQKAQL5BJ8BgQWdAfYEQkFsdHVhLkRhdGEuTnVtYmVyRm9ybWF0dGluZy5OdW1iZXJGb3JtYXRHZW5lcmFsU2VnbWVudCwgQWx0dWEuRGF0YfEEnQEA/gQ/QWx0dWEuRGF0YS5OdW1iZXJGb3JtYXR0aW5nLk51bWJlckZvcm1hdFRleHRTZWdtZW50LCBBbHR1YS5EYXRh+QSfAQUEAS0JAYEFnQEA"/>
  <p:tag name="GRUNT-RENDERHASH" val="bcb65e9c2db22d95d7562bddbf0815f6-svg"/>
  <p:tag name="GRUNT-X-SHAPEBOUNDS" val="ASIBBAAAAKDvQ3hAAAAA4LaXbEAAAACg8fZ/QAAAACBJUG1AAA=="/>
  <p:tag name="GRUNT-X-PAGEOBJECT" val="AQUCzSYKOEFsdHVhLk9hay5Db3JlLkRvY3VtZW50TW9kZWwuQ2hhcnRPYmplY3QsIEFsdHVhLk9hay5Db3JlBQI1BBIEEKbHlsQZtgNCt+zNjqK351IMEgQQt6gdP3w7uEa8z49BNslx1hUNBCUUNRg9HFUgZSQSUEFsdHVhLk9hay5Db3JlLkRvY3VtZW50TW9kZWwuVGVtcGxhdGluZy5DdXN0b21Qb3NpdGlvbkRlZmluaXRpb24sIEFsdHVhLk9hay5Db3JlDQQkBCIBBPf/1/3/TYJAFACg5bafbEASAFAEAIRyQCgAgCpJQG1AFBMVKB0sNTA4AEU1DkwCBTxVQF1EGAQEAgVIHAIFTCALBVAMBW5iLU5PFVQkDgEBCQERARkBIQEpATEBKBYEEgQQAAAAAAAAAAAAAAAAAAAAAAgBLBYEEgQQAAAAAAAAAAAAAAAAAAAAAAgBMAA6RUFsdHVhLk9hay5Db3JlLkNoYXJ0LlN0YWNrZWRCYXJXaXRoTGluZVBsb3REZWZpbml0aW9uLCBBbHR1YS5PYWsuQ29yZTUOMgQSBBCTQYUDPDSXQIvxRhkT05ndHAIFWCVcNWA8AgVkSQBtaKUBbRypAQC1AXUevQF8PAQBAYABQAUFhAENAEQCAQBIAgEATABQCgQBLAwBIBQCa3JUCQQFbmItTk8IAVgEAQGIAVwNAAAIARQDBYwBHAAlAGAmBCIBBAAAAAAAABBAAAAAAAAAEEAAAAAAAAAQQAAAAAAAABBACARkAgEAaAsDAAAAAAAATEAIIHJFQWx0dWEuT2FrLkNvcmUuUGxvdHRpbmcuQXV0b21hdGljQ2F0ZWdvcnlBeGlzU2V0dGluZ3MsIEFsdHVhLk9hay5Db3JlbRwTAQENkAEQABkBMAA9lAFFmAFIAXo9QWx0dWEuT2FrLkNvcmUuVGhlbWluZy5QYWdlQ29sb3JTY2hlbWVQb2ludGVyLCBBbHR1YS5PYWsuQ29yZXUeAHxKNZwBPaABRaQBVagBXawBdbABjQG0AZ0BuAGlAbwBrQHAAc0BxAHVAcgB3QHMAeUB0AHtAdQB9QHYAf0B3AGFAuABjQLkAZUC6AGAAUgEEgQQBbe507cO9EmRZBhNRm5FrCQSBBB9aSDeSXU3TZNMOE19FbqrLBIEEPn5Ln8RU39NjoxofK+zCJk97QE8RfQBSQFd+AGEAQCIAUIBABgDJfwBKQAxAEABSAJVgAJdhAJkEgQQ+fkufxFTf02OjGh8r7MImW2IAnWMAo0BkAKRAQGdAZQCpQGYArUBnAKMAQIBAJABAgEAlAEGBaECSQgEmAEGBakCSQgEnAEFBAMFrAKgAQUEAwWwAqQBBQQDBbQCqAEFBAMFuAKsAQUEAwWsArABBQQDBawCtAEFBAMFvAK4AQUEAwXAArwBBQQDBcQCwAEFBAMFyALEAQUEAwXMAsgBBQQDBdACzAEFBAMF1ALQAQUEAwXYAtQBBQQDBdwC2AEFBAMF4ALcAQUEAwXkAuABBQQDBegC5AEFBAMF7ALoAQUEAwXwAvIBPkFsdHVhLk9hay5Db3JlLkNoYXJ0LkRlZmF1bHRQbG90U2VyaWVzU2V0dGluZ3MsIEFsdHVhLk9hay5Db3Jl7QE8APQBBAUACAH4AQUF9AIIAfwBCwMAAAAAAAAAAAgCgAILAwAAAAAAAAAACAGEAgsDAAAAAAAAAAAIAYgCFQX4Ag38AhWAAx2EAyWIAy2MAzWQA4wCBw2UAxWZA0mQAgsDAAAAAAAAAAAIBJQCBgWdA0kIBJgCBgWdA0kIBJwCBQQDBaADpgIzQWx0dWEuT2FrLkNvcmUuVGhlbWluZy5Db2xvclBvaW50ZXIsIEFsdHVhLk9hay5Db3JloQJJUFBQ/6kCSVBQUP+sAgIBALACDgEGpAOoA6wDsAO0A7gDtAIEAQG8A7gCAgEAvAICAQDAAgIBAMQCDAEFwAPEA8gDzAPQA8gCAgEAzAIOAQbUA9gD3APgA+QD6APQAhQBCewD8AP0A/gD/AOABIQEiASMBNQCAgEA2AIEAQGQBNwCCgEElASYBJwEoATgAgIBAOQCAgEA6AICAQDsAgIBAPACAgEA9AIFBAMFpAT4AgcEAwQBAAgE/AIFBAEuCASAAwQAAQgEhAMEAAAIBIgDBAQACASMAwQEAAgEkAMEAAAIBJQDBQQDBagEmQNJPj7l/50DSVBQUP+gAwIBAKQDDgWtBIwBCwAAAAAAAAAAqAMOBbUEjgELAAAAAAAAAACsAw4FvQSQAQsAAAAAAADgP7ADDgXFBJIBCwAAAAAAAOA/tAMOBc0ElAELAAAAAAAA4D+4Aw4F1QSWAQsAAAAAAAD4P7wDCAXdBJQBDeAEwAMKBeUEmgEN7QScAcQDCgX1BIwBDfkEnwHIAwoFgQWQAQ2FBZ8BzAMKBYkFkgENjQWfAdADCQWRBaUBDZkFSdQDBwWdBagBCQDYAwcFpQWqAQkB3AMHBa0FrAEJAeADBwW1Ba4BCQHkAwcFvQWwAQkB6AMHBcUFsgEJAewDCgXNBbQBDdUFtgHwAwoF3QW4AQ3lBboB9AMKBe0FvAEN9QW+AfgDCgX9BbwBDYEGwQH8AwoFiQasAQ2BBsEBgAQKBY0GqAENkQbFAYQECgWZBq4BDZEGxQGIBAoFnQawAQ2hBskBjAQKBcUFsgENqQbLAZAECgWxBs0BDbkGzwGUBAoFwQaoAQ3FBtIBmAQKBc0GuAEN0QbSAZwECgXVBq4BDdkG0gGgBAoF3Qa0AQ3hBtIBpAQCAQCoBAQBAgEEsgRTQWx0dWEuT2FrLkNvcmUuTW9kaWZpY2F0aW9uLlN0eWxpbmcuQWxsVmFsdWVBeGlzQ3VzdG9taXphdGlvblRhcmdldCwgQWx0dWEuT2FrLkNvcmWtBIwBALoEWUFsdHVhLk9hay5Db3JlLk1vZGlmaWNhdGlvbi5TdHlsaW5nLlZhbHVlQXhpc0dyaWRsaW5lc0N1c3RvbWl6YXRpb25UYXJnZXQsIEFsdHVhLk9hay5Db3JltQSOAQDCBFNBbHR1YS5PYWsuQ29yZS5Nb2RpZmljYXRpb24uU3R5bGluZy5DYXRlZ29yeUF4aXNDdXN0b21pemF0aW9uVGFyZ2V0LCBBbHR1YS5PYWsuQ29yZb0EkAEAygRQQWx0dWEuT2FrLkNvcmUuTW9kaWZpY2F0aW9uLlN0eWxpbmcuT3JpZ29MaW5lQ3VzdG9taXphdGlvblRhcmdldCwgQWx0dWEuT2FrLkNvcmXFBJIBANIEXUFsdHVhLk9hay5Db3JlLk1vZGlmaWNhdGlvbi5TdHlsaW5nLkFsbENvbm5lY3RvcnNBdXhpbGlhcnlDdXN0b21pemF0aW9uVGFyZ2V0LCBBbHR1YS5PYWsuQ29yZc0ElAEA2gRZQWx0dWEuT2FrLkNvcmUuTW9kaWZpY2F0aW9uLlN0eWxpbmcuU2VyaWVzV2l0aFBsb3RLaW5kQ3VzdG9taXphdGlvblRhcmdldCwgQWx0dWEuT2FrLkNvcmXVBJYBAwXkBt0ElAEA4AQFDAMF6AbqBFZBbHR1YS5PYWsuQ29yZS5Nb2RpZmljYXRpb24uU3R5bGluZy5BbGxTZXJpZXNNYXJrZXJDdXN0b21pemF0aW9uVGFyZ2V0LCBBbHR1YS5PYWsuQ29yZeUEmgEA8gQ6QWx0dWEuT2FrLkNvcmUuVGhlbWluZy5CaW5kaW5nQ29sb3JQb2ludGVyLCBBbHR1YS5PYWsuQ29yZe0EnAEFBe0G3AH1BIwBAP4EN0FsdHVhLk9hay5Db3JlLlRoZW1pbmcuUGFnZUNvbG9yUG9pbnRlciwgQWx0dWEuT2FrLkNvcmX5BJ8BBAAACACBBZABAIUFnwEEAAAIAIkFkgEAjQWfAQQAAAgAlgVTQWx0dWEuT2FrLkNvcmUuTW9kaWZpY2F0aW9uLlN0eWxpbmcuQWxsR3JpZGxpbmVzQ3VzdG9taXphdGlvblRhcmdldCwgQWx0dWEuT2FrLkNvcmWRBaUBAJkFSYCAgP+iBVhBbHR1YS5PYWsuQ29yZS5Nb2RpZmljYXRpb24uU3R5bGluZy5BbGxWYWx1ZUF4aXNMYWJlbEN1c3RvbWl6YXRpb25UYXJnZXQsIEFsdHVhLk9hay5Db3JlnQWoAQCqBWZBbHR1YS5PYWsuQ29yZS5Nb2RpZmljYXRpb24uU3R5bGluZy5TdGFja2VkQmFyQXV0b21hdGljU2VnbWVudExhYmVsQ3VzdG9taXphdGlvblRhcmdldCwgQWx0dWEuT2FrLkNvcmWlBaoBALIFVUFsdHVhLk9hay5Db3JlLk1vZGlmaWNhdGlvbi5TdHlsaW5nLkFsbFRvdGFsTGFiZWxzQ3VzdG9taXphdGlvblRhcmdldCwgQWx0dWEuT2FrLkNvcmWtBawBALoFV0FsdHVhLk9hay5Db3JlLk1vZGlmaWNhdGlvbi5TdHlsaW5nLkFsbENhdGVnb3J5TGFiZWxDdXN0b21pemF0aW9uVGFyZ2V0LCBBbHR1YS5PYWsuQ29yZbUFrgEAwgVYQWx0dWEuT2FrLkNvcmUuTW9kaWZpY2F0aW9uLlN0eWxpbmcuQWxsQXV4aWxpYXJ5TGFiZWxDdXN0b21pemF0aW9uVGFyZ2V0LCBBbHR1YS5PYWsuQ29yZb0FsAEAygVYQWx0dWEuT2FrLkNvcmUuTW9kaWZpY2F0aW9uLlN0eWxpbmcuU2VyaWVzTGFiZWxPZlR5cGVDdXN0b21pemF0aW9uVGFyZ2V0LCBBbHR1YS5PYWsuQ29yZcUFsgECAALSBVhBbHR1YS5PYWsuQ29yZS5Nb2RpZmljYXRpb24uU3R5bGluZy5DYXRlZ29yeUF4aXNUaXRsZUN1c3RvbWl6YXRpb25UYXJnZXQsIEFsdHVhLk9hay5Db3JlzQW0AQDaBUJBbHR1YS5PYWsuQ29yZS5QbG90dGluZy5BeGlzVGl0bGVMYWJlbFBsYWNlbWVudEZhciwgQWx0dWEuT2FrLkNvcmXVBbYBAgAA4gVdQWx0dWEuT2FrLkNvcmUuTW9kaWZpY2F0aW9uLlN0eWxpbmcuQWxsVmFsdWVBeGlzVGl0bGVMYWJlbEN1c3RvbWl6YXRpb25UYXJnZXQsIEFsdHVhLk9hay5Db3Jl3QW4AQDqBUZBbHR1YS5PYWsuQ29yZS5QbG90dGluZy5BeGlzVGl0bGVMYWJlbFBsYWNlbWVudE91dHNpZGUsIEFsdHVhLk9hay5Db3Jl5QW6AQIAAfIFX0FsdHVhLk9hay5Db3JlLk1vZGlmaWNhdGlvbi5TdHlsaW5nLlNlcmllc0xhYmVsc1dpdGhQbG90S2luZEN1c3RvbWl6YXRpb25UYXJnZXQsIEFsdHVhLk9hay5Db3Jl7QW8AQUF9AYIAPoFPEFsdHVhLk9hay5Db3JlLlBsb3R0aW5nLkxhYmVsUGxhY2VtZW50SW5zaWRlLCBBbHR1YS5PYWsuQ29yZfUFvgEEAAEIAf0FvAEFBfgGCACGBj1BbHR1YS5PYWsuQ29yZS5QbG90dGluZy5MYWJlbFBsYWNlbWVudE91dHNpZGUsIEFsdHVhLk9hay5Db3JlgQbBAQCJBqwBAI0GqAEAlgZBQWx0dWEuT2FrLkNvcmUuUGxvdHRpbmcuQXhpc0xhYmVsUGxhY2VtZW50T3V0c2lkZSwgQWx0dWEuT2FrLkNvcmWRBsUBAgEAmQauAQCdBrABAKYGRkFsdHVhLk9hay5Db3JlLlBsb3R0aW5nLkF1eGlsaWFyeUxhYmVsUGxhY2VtZW50RGVmYXVsdCwgQWx0dWEuT2FrLkNvcmWhBskBAK4GQ0FsdHVhLk9hay5Db3JlLlBsb3R0aW5nLkxhYmVsUGxhY2VtZW50U2VyaWVzT3V0c2lkZSwgQWx0dWEuT2FrLkNvcmWpBssBAgAAtgZQQWx0dWEuT2FrLkNvcmUuTW9kaWZpY2F0aW9uLlN0eWxpbmcuQWxsTGFiZWxzQ3VzdG9taXphdGlvblRhcmdldCwgQWx0dWEuT2FrLkNvcmWxBs0BAL4GQkFsdHVhLk9hay5Db3JlLlN5bnRheFN0cnVjdHVyZS5BY3R1YWxGb250U2l6ZVZhbHVlLCBBbHR1YS5PYWsuQ29yZbkGzwEJAwAAAAAAAChAwQaoAQDKBkNBbHR1YS5PYWsuQ29yZS5TeW50YXhTdHJ1Y3R1cmUuQWN0dWFsRm9udENvbG9yVmFsdWUsIEFsdHVhLk9hay5Db3JlxQbSAQUF/QafAc0GuAEA0QbSAQUFgQefAdUGrgEA2QbSAQUFhQefAd0GtAEA4QbSAQUFiQefAeQGAQXoBgoBAgAAgEAAAEBA8gZIQWx0dWEuT2FrLkNvcmUuU3ludGF4U3RydWN0dXJlLlBsb3RTZXJpZXNCaW5kaW5nU3RyYXRlZ3ksIEFsdHVhLk9hay5Db3Jl7QbcAQD0BgIAAfgGAQX9Bp8BBAAACACBB58BBAAACACFB58BBAAACACJB58BBAAACAA="/>
  <p:tag name="GRUNT-SYNC" val="bf1403cca44b4bc383098e610c9572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txsKN0FsdHVhLkRhdGEuRGF0YVNlcnZpY2VzLkVtYmVkZGVkRGF0YVNlcnZpY2UsIEFsdHVhLkRhdGEFAhkEEgQQrSwSgEyLN0K6dNRZfwhpiQ0MJREFDAYFGAgNEAcWQUFsdHVhLkRhdGEuRGF0YVNlcnZpY2VzLkVtYmVkZGVkRGF0YVNlcnZpY2VFZGl0b3JEYXRhLCBBbHR1YS5EYXRhEQUEBRwNIBgGBSQNKBUsHDwdBBIEENNz8cQb9wFOoDLwDWItJDkLAAAAAAAAHEAdBBIEEB/rjDimIctLiTIXQgTfWDQLAAAAAAAgYkAgWh0EEgQQhB+R4huFNUGwuFZrPUlJDwsAAAAAAAAyQB0EEgQQ+SxZ/v3fb0W5/mfTI9KrIwsAAAAAAAAyQB0EEgQQF/fU+/rkS0KjMEQe6grewwsAAAAAAAAyQCQHMDQ4PEBESCgCTFAs+QQsBCgEEgQQ2o0rEHtPmkyZRivzTi/4HAwSBBBfl5CXxFq7QpsQMAZxTsVZDVQsBCgEEgQQH+uMOKYhy0uJMhdCBN9YNAwSBBAFt7nTtw70SZFkGE1GbkWsDVgsBCgEEgQQdZ6YkVxDK0eAjaDLHe+U4wwSBBBfl5CXxFq7QpsQMAZxTsVZDVwsBCgEEgQQM3YuVsqsz0O4n/jX90PyIgwSBBBfl5CXxFq7QpsQMAZxTsVZDWAsBCgEEgQQH+uMOKYhy0uJMhdCBN9YNAwSBBBfl5CXxFq7QpsQMAZxTsVZDWQsBCgEEgQQM3YuVsqsz0O4n/jX90PyIgwSBBAFt7nTtw70SZFkGE1GbkWsDWgsBCgEEgQQWZ9h5liRP0iEKp689x5lRgwSBBBfl5CXxFq7QpsQMAZxTsVZDWwsBCgEEgQQwqHEVOV/GEKGOrIB1QvRAQwSBBBfl5CXxFq7QpsQMAZxTsVZDXAsBCgEEgQQ2o0rEHtPmkyZRivzTi/4HAwSBBAFt7nTtw70SZFkGE1GbkWsDXQsBCgEEgQQdZ6YkVxDK0eAjaDLHe+U4wwSBBAFt7nTtw70SZFkGE1GbkWsDXgsBCgEEgQQWZ9h5liRP0iEKp689x5lRgwSBBAFt7nTtw70SZFkGE1GbkWsDXwtBCgEEgQQ5PInsc7xekOZNXqmuIfDUgwSBBAFt7nTtw70SZFkGE1GbkWsDYABLQQoBBIEEOTyJ7HO8XpDmTV6priHw1IMEgQQX5eQl8Rau0KbEDAGcU7FWQ2EAS0EKAQSBBDCocRU5X8YQoY6sgHVC9EBDBIEEAW3udO3DvRJkWQYTUZuRawNiAEwGgQSBBDajSsQe0+aTJlGK/NOL/gcDAJDMRAANBoEEgQQH+uMOKYhy0uJMhdCBN9YNAwCQzIQADgaBBIEEHWemJFcQytHgI2gyx3vlOMMAkMzEAA8GgQSBBAzdi5WyqzPQ7if+Nf3Q/IiDAJDNBAAQBoEEgQQWZ9h5liRP0iEKp689x5lRgwCQzUQAEQaBBIEEOTyJ7HO8XpDmTV6priHw1IMAkM2EABIGwQSBBDCocRU5X8YQoY6sgHVC9EBDANDMTIQAEwaBBIEEF+XkJfEWrtCmxAwBnFOxVkMAlIxEABQGgQSBBAFt7nTtw70SZFkGE1GbkWsDAJSNhAAVAYNjAEVkAFYBg2UARWYAVwGDYwBFZwBYAYNjAEVoAFkBg2MARWkAWgGDZQBFagBbAYNjAEVrAFwBg2wARW0AXQGDbgBFbwBeAYNlAEVwAF8Bg2UARXEAYABBg2UARXIAYQBBg2MARXMAYgBBg2wARXQAYwBAgQAkAEFBAMF1AGUAQIEAJgBBQQDBdgBnAEFBAMF3AGgAQUEAwXgAaQBBQQDBeQBqAEFBAMF6AGsAQUEAwXsAbABAgQAtAEFBAMF8AG4AQIEALwBBQQDBfQBwAEFBAMF+AHEAQUEAwX8AcgBBQQDBYACzAEFBAMFhALQAQUEAwWIAtQBAgEA2AEFAQGNAkTcAQUBAZUCROABBQEBmQJE5AEFAQGdAkToAQUBAaECROwBBQEBpQJE8AEFAQGpAkT0AQUBAa0CRPgBBQEBsQJE/AEFAQG1AkSAAgUBAbkCRIQCBQEBvQJEiAIFAQHBAkSSAi9BbHR1YS5EYXRhLkluZnJhc3RydWN0dXJlLlBhcmFncmFwaCwgQWx0dWEuRGF0YY0CRAUMAwXEApUCRAUMAwXIApkCRAUMAwXMAp0CRAUMAwXQAqECRAUMAwXUAqUCRAUMAwXYAqkCRAUMAwXcAq0CRAUMAwXgArECRAUMAwXkArUCRAUMAwXoArkCRAUMAwXsAr0CRAUMAwXwAsECRAUMAwX0AsQCBQEB+QJfyAIFAQGBA2HMAgUBAYkDYdACBQEBjQNh1AIFAQGRA1/YAgUBAZUDYdwCBQEBmQNh4AIFAQGdA1/kAgUBAaEDX+gCBQEBpQNf7AIFAQGpA1/wAgUBAa0DYfQCBQEBsQNf/gIvQWx0dWEuRGF0YS5JbmZyYXN0cnVjdHVyZS5OdW1iZXJSdW4sIEFsdHVhLkRhdGH5Al8SBA0DAAAAAACAQEAdtQNuDbwDhgMtQWx0dWEuRGF0YS5JbmZyYXN0cnVjdHVyZS5UZXh0UnVuLCBBbHR1YS5EYXRhgQNhDwQKMyAtIDUgbWlsbA3AA4kDYRAECzYgLSAyMCBtaWxsDcQDjQNhFgQRTWluZHJlIGVubiAzIG1pbGwNyAORA18SBA0DAAAAAACAREAdzQNuDdADlQNhEQQMMjEgLSA1MCBtaWxsDdQDmQNhEgQNT3ZlciAxMDAgbWlsbA3YA50DXxIEDQMAAAAAAKCfQB3dA24N4AOhA18SBA0DAAAAAACAREAd5QNuDegDpQNfEgQNAwAAAAAAAEtAHe0Dbg3wA6kDXxIEDQMAAAAAAIBQQB31A24N+AOtA2ESBA01MSAtIDEwMCBtaWxsDfwDsQNfEgQNAwAAAAAAAElAHYEEbg2EBLoDPUFsdHVhLkRhdGEuTnVtYmVyRm9ybWF0dGluZy5Db21wb3NpdGVOdW1iZXJGb3JtYXQsIEFsdHVhLkRhdGG1A24LHYgEJYwENZAEPQC8AxIEABwAJAAsADQAPABMAFQAXQDAAxIEABwAJAAsADQAPABMAFQAXQDEAxIEABwAJAAsADQAPABMAFQAXQDIAxIEABwAJAAsADQAPABMAFQAXQDNA24LHZQEJZgENZwEPQDQAxIEABwAJAAsADQAPABMAFQAXQDUAxIEABwAJAAsADQAPABMAFQAXQDYAxIEABwAJAAsADQAPABMAFQAXQDdA24LHaAEJaQENagEPQDgAxIEABwAJAAsADQAPABMAFQAXQDlA24LHawEJbAENbQEPQDoAxIEABwAJAAsADQAPABMAFQAXQDtA24LHbgEJbwENcAEPQDwAxIEABwAJAAsADQAPABMAFQAXQD1A24LHcQEJcgENcwEPQD4AxIEABwAJAAsADQAPABMAFQAXQD8AxIEABwAJAAsADQAPABMAFQAXQCBBG4LHdAEJdQENdgEPQCEBBIEABwAJAAsADQAPABMAFQAXQCIBAkAAAwDBdwEEQCMBAkAAAwDBeAEEQCQBAoEASwMAS4UAmtylAQJAAAMAwXkBBEAmAQJAAAMAwXoBBEAnAQKBAEsDAEuFAJrcqAECQAADAMF7AQRAKQECQAADAMF8AQRAKgECgQBLAwBLhQCa3KsBAkAAAwDBfQEEQCwBAkAAAwDBfgEEQC0BAoEASwMAS4UAmtyuAQJAAAMAwX8BBEAvAQJAAAMAwWABREAwAQKBAEsDAEuFAJrcsQECQAADAMFhAURAMgECQAADAMFiAURAMwECgQBLAwBLhQCa3LQBAkAAAwDBYwFEQDUBAkAAAwDBZAFEQDYBAoEASwMAS4UAmty3AQGAQGVBaYB4AQKAQKdBagBlQWmAeQEBgEBpQWmAegECgECqQWoAaUFpgHsBAYBAa0FpgHwBAoBArEFqAGtBaYB9AQGAQG1BaYB+AQKAQK5BagBtQWmAfwEBgEBvQWmAYAFCgECwQWoAb0FpgGEBQYBAcUFpgGIBQoBAskFqAHFBaYBjAUGAQHNBaYBkAUKAQLRBagBzQWmAZoFQEFsdHVhLkRhdGEuTnVtYmVyRm9ybWF0dGluZy5OdW1iZXJGb3JtYXRWYWx1ZVNlZ21lbnQsIEFsdHVhLkRhdGGVBaYBBQQDBdQFogU/QWx0dWEuRGF0YS5OdW1iZXJGb3JtYXR0aW5nLk51bWJlckZvcm1hdFRleHRTZWdtZW50LCBBbHR1YS5EYXRhnQWoAQUEAS0JAaUFpgEFBAMF2AWpBagBBQQBLQkBrQWmAQUEAwXcBbEFqAEFBAEtCQG1BaYBBQQDBeAFuQWoAQUEAS0JAb0FpgEFBAMF5AXBBagBBQQBLQkBxQWmAQUEAwXoBckFqAEFBAEtCQHNBaYBBQQDBewF0QWoAQUEAS0JAdQFBgEB8QW9AdgFBgEB8QW9AdwFBgEB+QW9AeAFBgEB8QW9AeQFBgEB8QW9AegFBgEB8QW9AewFBgEB8QW9AfYFOUFsdHVhLkRhdGEuTnVtYmVyRm9ybWF0dGluZy5OdW1iZXJQbGFjZWhvbGRlciwgQWx0dWEuRGF0YfEFvQEFAjAAAAD5Bb0BBQIwAAAA"/>
  <p:tag name="GRUNT-RENDERHASH" val="8a7b71a8544821c6839ee22a86dc693d-svg"/>
  <p:tag name="GRUNT-X-SHAPEBOUNDS" val="ASIBBAAAAECuskpAAAAAgO9sb0AAAACgzkh0QAAAAAB2YW1AAA=="/>
  <p:tag name="GRUNT-X-PAGEOBJECT" val="AQUCzTMKOEFsdHVhLk9hay5Db3JlLkRvY3VtZW50TW9kZWwuQ2hhcnRPYmplY3QsIEFsdHVhLk9hay5Db3JlBQI1BBIEEEZDLPt7MGpBuV1aTWAFamkMEgQQrSwSgEyLN0K6dNRZfwhpiRUNBCUUNRg9HFUgZSQSUEFsdHVhLk9hay5Db3JlLkRvY3VtZW50TW9kZWwuVGVtcGxhdGluZy5DdXN0b21Qb3NpdGlvbkRlZmluaXRpb24sIEFsdHVhLk9hay5Db3JlDQQkBCIBBFAEADiuMkxAFACgBdsTcEB2//+YzuhzQCgAgCpJwGZAFBMVKB0sNTA4AEU1DkwCBTxVQF1EGAQEAgVIHAIFTCALBVAMBW5iLU5PFVQkDgEBCQERARkBIQEpATEBKBYEEgQQAAAAAAAAAAAAAAAAAAAAAAgBLBYEEgQQAAAAAAAAAAAAAAAAAAAAAAgBMAA6N0FsdHVhLk9hay5Db3JlLkNoYXJ0LkxpbmVQbG90RGVmaW5pdGlvbiwgQWx0dWEuT2FrLkNvcmU1DkYAAAgEJVg8EgQQ7zvzhqBrzk+r61A05uKQMUQCBVxVYFkBcwAAAAAAAPA/fAIFZIUBaRuRAQGdAXClAXUeqQEAtQF8uQEAPAYBAoABhAFABQWIAQ0ARAIBAEgCAQBMAFAKBAEsDAEgFAJrclQJBAVuYi1OTwgBWA0AAAgBFAMFjAEcACUAXAIBAGAmBCIBBAAAAAAAABBAAAAAAAAAEEAAAAAAAAAQQAAAAAAAABBACARkBAEBkAFuRUFsdHVhLk9hay5Db3JlLlBsb3R0aW5nLkF1dG9tYXRpY0NhdGVnb3J5QXhpc1NldHRpbmdzLCBBbHR1YS5PYWsuQ29yZWkbEwEBDZQBEAAZATAAPZgBRZwBSAFwBgWhASkIAno9QWx0dWEuT2FrLkNvcmUuVGhlbWluZy5QYWdlQ29sb3JTY2hlbWVQb2ludGVyLCBBbHR1YS5PYWsuQ29yZXUeAHxKNagBPawBRbABVbQBXbgBdbwBjQHAAZ0BxAGlAcgBrQHMAc0B0AHVAdQB3QHYAeUB3AHtAeAB9QHkAf0B6AGFAuwBjQLwAZUC9AGAAUgEEgQQF/fU+/rkS0KjMEQe6grewyQSBBCfU7i5Q7LmTYqjngpAomrSLBIEENHomcQ4zJpLtiI++9k98cs9+QE/RYACSQFdhAKEAUgEEgQQBbe507cO9EmRZBhNRm5FrCQSBBB9aSDeSXU3TZNMOE19FbqrLBIEENHomcQ4zJpLtiI++9k98cs9+QE/RYgCSQFdjAKIAQCMAQIBAJABQgEBGAMlkAIpADEAQABIAlWUAl2YAmQSBBDR6JnEOMyaS7YiPvvZPfHLbZwCdaACjQGkApEBAZ0BqAKlAawCtQGwApQBAgEAmAEGBbUCTggEnAEGBb0CTggEpgE6QWx0dWEuT2FrLkNvcmUuVGhlbWluZy5CaW5kaW5nQ29sb3JQb2ludGVyLCBBbHR1YS5PYWsuQ29yZaEBKQQFwQJRqAEFBAMFyAKsAQUEAwXMArABBQQDBdACtAEFBAMF1AK4AQUEAwXYArwBBQQDBcgCwAEFBAMF3ALEAQUEAwXgAsgBBQQDBeQCzAEFBAMF6ALQAQUEAwXsAtQBBQQDBfAC2AEFBAMF9ALcAQUEAwX4AuABBQQDBfwC5AEFBAMFgAPoAQUEAwWEA+wBBQQDBYgD8AEFBAMFjAP0AQUEAwWQA/4BPkFsdHVhLk9hay5Db3JlLkNoYXJ0LkRlZmF1bHRQbG90U2VyaWVzU2V0dGluZ3MsIEFsdHVhLk9hay5Db3Jl+QE/AIACBAUACAGEAgUFlAMIAYgCBAUACAGMAgUFmAMIAZACCwMAAAAAAAAkQAgClAILAwAAAAAAADRACAKYAgsDAAAAAAAAAAAIAZwCFQWcAw2gAxWkAx2oAyWsAy2wAzW0A6ACBw24AxW9A06kAgsDAAAAAAAAAAAIBKgCBgXBA04IBKwCBgXBA04IBLACBQQDBcQDugIzQWx0dWEuT2FrLkNvcmUuVGhlbWluZy5Db2xvclBvaW50ZXIsIEFsdHVhLk9hay5Db3JltQJOUFBQ/70CTlBQUP/GAkhBbHR1YS5PYWsuQ29yZS5TeW50YXhTdHJ1Y3R1cmUuUGxvdFNlcmllc0JpbmRpbmdTdHJhdGVneSwgQWx0dWEuT2FrLkNvcmXBAlEAyAICAQDMAhYBCsgDzAPQA9QD2APcA+AD5APoA+wD0AIEAQHwA9QCBAEB9APYAgQBAfgD3AICAQDgAgIBAOQCEAEH/AOABIQEiASMBJAElAToAgIBAOwCFgEKmAScBKAEpASoBKwEsAS0BLgEvATwAhIBCMAExATIBMwE0ATUBNgE3AT0AgIBAPgCBAEB4AT8AgwBBeQE6ATsBPAE9ASAAwIBAIQDAgEAiAMCAQCMAwIBAJADAgEAlAMFBAMF+ASYAwUEAwX8BJwDBwQDBAEACASgAwUEAS4IBKQDBAABCASoAwQAAAgErAMEBAAIBLADBAQACAS0AwQAAAgEuAMFBAMFgAW9A04+PuX/wQNOUFBQ/8QDAgEAyAMOBYUFogELAAAAAAAAAADMAw4FjQWkAQsAAAAAAADgP9ADDgWVBaYBCwAAAAAAAOA/1AMOBZ0FqAELAAAAAAAA4D/YAw4FpQWqAQsAAAAAAAD4P9wDDgWtBawBCwAAAAAAAOA/4AMOBbUFrgELAAAAAAAAGEDkAw4FvQWwAQsAAAAAAAAAAOgDDgXFBa4BCwAAAAAAABhA7AMOBckFswELAAAAAAAAAADwAwgF0QWoAQ3UBfQDBwXZBbcBCAH4Aw4F2QW3AQsAAAAAAAAkQPwDCQXhBbkBDekFKYAECgXtBawBDfEFvQGEBAoF+QWkAQ39Bb0BiAQKBYEGpgENhQa9AYwECQWJBsMBDZEGTpAECgXZBbcBDZUGvQGUBAoFmQauAQ2dBr0BmAQHBaEGyQEJAZwEBwWpBssBCQGgBAcFsQbNAQkBpAQHBbkGzwEJAKgEBwXBBs8BCQGsBAcFxQbSAQkAsAQHBc0G0gEJALQEBwXRBtUBCQC4BAcF2QbSAQkAvAQHBd0G2AEJAcAECgXlBtoBDe0G3AHEBAoF9QbeAQ39BuAByAQKBYUHzwENiQfjAcwECgWRB8kBDZUH5gHQBAoFnQfLAQ2VB+YB1AQKBaEHzQENpQfqAdgECgWtB88BDbEH7QHcBAoFuQfYAQ29B+MB4AQKBcEH8QENyQfzAeQECgXRB8kBDdUH9gHoBAoF3QfeAQ3hB/YB7AQKBeUHywEN6Qf2AfAECgXtB9oBDfEH9gH0BAoF9QfYAQ35B/YB+AQGAQH9B4AC/AQGAQGFCIACgAUEAQIBBIoFWUFsdHVhLk9hay5Db3JlLk1vZGlmaWNhdGlvbi5TdHlsaW5nLlZhbHVlQXhpc0dyaWRsaW5lc0N1c3RvbWl6YXRpb25UYXJnZXQsIEFsdHVhLk9hay5Db3JlhQWiAQCSBVNBbHR1YS5PYWsuQ29yZS5Nb2RpZmljYXRpb24uU3R5bGluZy5DYXRlZ29yeUF4aXNDdXN0b21pemF0aW9uVGFyZ2V0LCBBbHR1YS5PYWsuQ29yZY0FpAEAmgVQQWx0dWEuT2FrLkNvcmUuTW9kaWZpY2F0aW9uLlN0eWxpbmcuT3JpZ29MaW5lQ3VzdG9taXphdGlvblRhcmdldCwgQWx0dWEuT2FrLkNvcmWVBaYBAKIFXUFsdHVhLk9hay5Db3JlLk1vZGlmaWNhdGlvbi5TdHlsaW5nLkFsbENvbm5lY3RvcnNBdXhpbGlhcnlDdXN0b21pemF0aW9uVGFyZ2V0LCBBbHR1YS5PYWsuQ29yZZ0FqAEAqgVZQWx0dWEuT2FrLkNvcmUuTW9kaWZpY2F0aW9uLlN0eWxpbmcuU2VyaWVzV2l0aFBsb3RLaW5kQ3VzdG9taXphdGlvblRhcmdldCwgQWx0dWEuT2FrLkNvcmWlBaoBAwWICLIFU0FsdHVhLk9hay5Db3JlLk1vZGlmaWNhdGlvbi5TdHlsaW5nLkFsbFZhbHVlQXhpc0N1c3RvbWl6YXRpb25UYXJnZXQsIEFsdHVhLk9hay5Db3JlrQWsAQC6BU1BbHR1YS5PYWsuQ29yZS5Nb2RpZmljYXRpb24uU3R5bGluZy5TZXJpZXNDdXN0b21pemF0aW9uVGFyZ2V0LCBBbHR1YS5PYWsuQ29yZbUFrgEUBBIEEH1pIN5JdTdNk0w4TX0VuqvCBVtBbHR1YS5PYWsuQ29yZS5Nb2RpZmljYXRpb24uU3R5bGluZy5HcmlkbGluZUZvckRpcmVjdGlvbkN1c3RvbWl6YXRpb25UYXJnZXQsIEFsdHVhLk9hay5Db3JlvQWwAQIBAcUFrgEUBBIEEJ9TuLlDsuZNiqOeCkCiatLOBVZBbHR1YS5PYWsuQ29yZS5Nb2RpZmljYXRpb24uU3R5bGluZy5TaW5nbGVWYWx1ZUF4aXNDdXN0b21pemF0aW9uVGFyZ2V0LCBBbHR1YS5PYWsuQ29yZckFswEUBBIEENHomcQ4zJpLtiI++9k98cvRBagBANQFBQwDBYwI3gVTQWx0dWEuT2FrLkNvcmUuTW9kaWZpY2F0aW9uLlN0eWxpbmcuU2VyaWVzTWFya2VyQ3VzdG9taXphdGlvblRhcmdldCwgQWx0dWEuT2FrLkNvcmXZBbcBFAQSBBB9aSDeSXU3TZNMOE19Fbqr5gVWQWx0dWEuT2FrLkNvcmUuTW9kaWZpY2F0aW9uLlN0eWxpbmcuQWxsU2VyaWVzTWFya2VyQ3VzdG9taXphdGlvblRhcmdldCwgQWx0dWEuT2FrLkNvcmXhBbkBAOkFKQQFkQhR7QWsAQD2BTdBbHR1YS5PYWsuQ29yZS5UaGVtaW5nLlBhZ2VDb2xvclBvaW50ZXIsIEFsdHVhLk9hay5Db3Jl8QW9AQQAAAgA+QWkAQD9Bb0BBAAACACBBqYBAIUGvQEEAAAIAI4GU0FsdHVhLk9hay5Db3JlLk1vZGlmaWNhdGlvbi5TdHlsaW5nLkFsbEdyaWRsaW5lc0N1c3RvbWl6YXRpb25UYXJnZXQsIEFsdHVhLk9hay5Db3JliQbDAQCRBk6AgID/lQa9AQQAAAgAmQauARQEEgQQfWkg3kl1N02TTDhNfRW6q50GvQEEAAIIAKYGWEFsdHVhLk9hay5Db3JlLk1vZGlmaWNhdGlvbi5TdHlsaW5nLkFsbFZhbHVlQXhpc0xhYmVsQ3VzdG9taXphdGlvblRhcmdldCwgQWx0dWEuT2FrLkNvcmWhBskBAK4GV0FsdHVhLk9hay5Db3JlLk1vZGlmaWNhdGlvbi5TdHlsaW5nLkFsbENhdGVnb3J5TGFiZWxDdXN0b21pemF0aW9uVGFyZ2V0LCBBbHR1YS5PYWsuQ29yZakGywEAtgZYQWx0dWEuT2FrLkNvcmUuTW9kaWZpY2F0aW9uLlN0eWxpbmcuQWxsQXV4aWxpYXJ5TGFiZWxDdXN0b21pemF0aW9uVGFyZ2V0LCBBbHR1YS5PYWsuQ29yZbEGzQEAvgZYQWx0dWEuT2FrLkNvcmUuTW9kaWZpY2F0aW9uLlN0eWxpbmcuU2VyaWVzTGFiZWxPZlR5cGVDdXN0b21pemF0aW9uVGFyZ2V0LCBBbHR1YS5PYWsuQ29yZbkGzwECAALBBs8BAgAAygZaQWx0dWEuT2FrLkNvcmUuTW9kaWZpY2F0aW9uLlN0eWxpbmcuVmFsdWVBeGlzVGl0bGVMYWJlbEN1c3RvbWl6YXRpb25UYXJnZXQsIEFsdHVhLk9hay5Db3JlxQbSARQEEgQQg6QthzBIH0O3CcTvqQ/cpM0G0gEUBBIEELpHYQNc00BAglUgHiLRIqDWBlVBbHR1YS5PYWsuQ29yZS5Nb2RpZmljYXRpb24uU3R5bGluZy5WYWx1ZUF4aXNMYWJlbEN1c3RvbWl6YXRpb25UYXJnZXQsIEFsdHVhLk9hay5Db3Jl0QbVARQEEgQQ0eiZxDjMmku2Ij772T3xy9kG0gEUBBIEENHomcQ4zJpLtiI++9k98cviBlJBbHR1YS5PYWsuQ29yZS5Nb2RpZmljYXRpb24uU3R5bGluZy5TZXJpZXNMYWJlbEN1c3RvbWl6YXRpb25UYXJnZXQsIEFsdHVhLk9hay5Db3Jl3QbYARYEEgQQfWkg3kl1N02TTDhNfRW6qwgA6gZYQWx0dWEuT2FrLkNvcmUuTW9kaWZpY2F0aW9uLlN0eWxpbmcuQ2F0ZWdvcnlBeGlzVGl0bGVDdXN0b21pemF0aW9uVGFyZ2V0LCBBbHR1YS5PYWsuQ29yZeUG2gEA8gZGQWx0dWEuT2FrLkNvcmUuUGxvdHRpbmcuQXhpc1RpdGxlTGFiZWxQbGFjZW1lbnRPdXRzaWRlLCBBbHR1YS5PYWsuQ29yZe0G3AECAAH6Bl1BbHR1YS5PYWsuQ29yZS5Nb2RpZmljYXRpb24uU3R5bGluZy5BbGxWYWx1ZUF4aXNUaXRsZUxhYmVsQ3VzdG9taXphdGlvblRhcmdldCwgQWx0dWEuT2FrLkNvcmX1Bt4BAIIHQkFsdHVhLk9hay5Db3JlLlBsb3R0aW5nLkF4aXNUaXRsZUxhYmVsUGxhY2VtZW50RmFyLCBBbHR1YS5PYWsuQ29yZf0G4AECAACFB88BAgAAjgdAQWx0dWEuT2FrLkNvcmUuUGxvdHRpbmcuTGFiZWxQbGFjZW1lbnRQb2ludE91dGVyLCBBbHR1YS5PYWsuQ29yZYkH4wEAkQfJAQCaB0FBbHR1YS5PYWsuQ29yZS5QbG90dGluZy5BeGlzTGFiZWxQbGFjZW1lbnRPdXRzaWRlLCBBbHR1YS5PYWsuQ29yZZUH5gECAQCdB8sBAKEHzQEAqgdGQWx0dWEuT2FrLkNvcmUuUGxvdHRpbmcuQXV4aWxpYXJ5TGFiZWxQbGFjZW1lbnREZWZhdWx0LCBBbHR1YS5PYWsuQ29yZaUH6gEArQfPAQIAArYHQ0FsdHVhLk9hay5Db3JlLlBsb3R0aW5nLkxhYmVsUGxhY2VtZW50U2VyaWVzT3V0c2lkZSwgQWx0dWEuT2FrLkNvcmWxB+0BAgABuQfYARYEEgQQfWkg3kl1N02TTDhNfRW6qwgAvQfjAQDGB1BBbHR1YS5PYWsuQ29yZS5Nb2RpZmljYXRpb24uU3R5bGluZy5BbGxMYWJlbHNDdXN0b21pemF0aW9uVGFyZ2V0LCBBbHR1YS5PYWsuQ29yZcEH8QEAzgdCQWx0dWEuT2FrLkNvcmUuU3ludGF4U3RydWN0dXJlLkFjdHVhbEZvbnRTaXplVmFsdWUsIEFsdHVhLk9hay5Db3JlyQfzAQkDAAAAAAAAKEDRB8kBANoHQ0FsdHVhLk9hay5Db3JlLlN5bnRheFN0cnVjdHVyZS5BY3R1YWxGb250Q29sb3JWYWx1ZSwgQWx0dWEuT2FrLkNvcmXVB/YBBQWVCL0B3QfeAQDhB/YBBQWZCL0B5QfLAQDpB/YBBQWdCL0B7QfaAQDxB/YBBQWhCL0B9QfYARYEEgQQfWkg3kl1N02TTDhNfRW6qwgA+Qf2AQUFpQiKAoIIL0FsdHVhLkRhdGEuSW5mcmFzdHJ1Y3R1cmUuUGFyYWdyYXBoLCBBbHR1YS5EYXRh/QeAAgUMAwWsCIUIgAIFDAMFsAiICAEFjAgKAQIAAIBAAABAQJEIUQCVCL0BBAAACACZCL0BBAAACACdCL0BBAAACAChCL0BBAAACACqCD9BbHR1YS5PYWsuQ29yZS5UaGVtaW5nLkhpZ2hDb250cmFzdENvbG9yUG9pbnRlciwgQWx0dWEuT2FrLkNvcmWlCIoCAKwIBgEBtQiOArAIBgEBvQiOAroIL0FsdHVhLkRhdGEuSW5mcmFzdHJ1Y3R1cmUuTnVtYmVyUnVuLCBBbHR1YS5EYXRhtQiOAhMEDgMAAAAAAJyfQB3BCJECDcgIvQiOAhMEDgMAAAAAAKCfQB3NCJECDdAIxgg9QWx0dWEuRGF0YS5OdW1iZXJGb3JtYXR0aW5nLkNvbXBvc2l0ZU51bWJlckZvcm1hdCwgQWx0dWEuRGF0YcEIkQILHdQIJdgINdwIPQDICBIEABwAJAAsADQAPABMAFQAXQDNCJECCx3gCCXkCDXoCD0A0AgSBAAcACQALAA0ADwATABUAF0A1AgJAAAMAwXsCBEA2AgJAAAMAwXwCBEA3AgKBAEsDAEuFAJrcuAICQAADAMF9AgRAOQICQAADAMF+AgRAOgICgQBLAwBLhQCa3LsCAYBAf0IoALwCAoBAoUJogL9CKAC9AgGAQGNCaAC+AgKAQKRCaICjQmgAoIJQEFsdHVhLkRhdGEuTnVtYmVyRm9ybWF0dGluZy5OdW1iZXJGb3JtYXRWYWx1ZVNlZ21lbnQsIEFsdHVhLkRhdGH9CKACBQQDBZQJigk/QWx0dWEuRGF0YS5OdW1iZXJGb3JtYXR0aW5nLk51bWJlckZvcm1hdFRleHRTZWdtZW50LCBBbHR1YS5EYXRhhQmiAgUEAS0JAY0JoAIFBAMFmAmRCaICBQQBLQkBlAkGAQGdCagCmAkGAQGdCagCogk5QWx0dWEuRGF0YS5OdW1iZXJGb3JtYXR0aW5nLk51bWJlclBsYWNlaG9sZGVyLCBBbHR1YS5EYXRhnQmoAgUCMAAAAA=="/>
  <p:tag name="GRUNT-SYNC" val="75a01fd4e4484747827f57d7a1cad6b3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053c4963-0923-4fc0-8d42-8c5250f0a956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rRoKN0FsdHVhLkRhdGEuRGF0YVNlcnZpY2VzLkVtYmVkZGVkRGF0YVNlcnZpY2UsIEFsdHVhLkRhdGEFAhkEEgQQm/XRNK5DDk6pDKkqGTIExA0MJREFDAYFGAgQEAcWQUFsdHVhLkRhdGEuRGF0YVNlcnZpY2VzLkVtYmVkZGVkRGF0YVNlcnZpY2VFZGl0b3JEYXRhLCBBbHR1YS5EYXRhEQUEBRwNIBgGBSQNKBUsHDwdBBIEENNz8cQb9wFOoDLwDWItJDkLAAAAAAAAHEAdBBIEEB/rjDimIctLiTIXQgTfWDQLAAAAAAAgYkAgWh0EEgQQhB+R4huFNUGwuFZrPUlJDwsAAAAAAAAyQB0EEgQQ+SxZ/v3fb0W5/mfTI9KrIwsAAAAAAAAyQB0EEgQQF/fU+/rkS0KjMEQe6grewwsAAAAAAAAyQCQKMDQ4PEBESExQVCgCWFwskAcsBCgEEgQQilo+QXBjwU2x08qj3RNI3wwSBBAFt7nTtw70SZFkGE1GbkWsDWAsBCgEEgQQ2o0rEHtPmkyZRivzTi/4HAwSBBBfl5CXxFq7QpsQMAZxTsVZDWQsBCgEEgQQH+uMOKYhy0uJMhdCBN9YNAwSBBAFt7nTtw70SZFkGE1GbkWsDWgsBCgEEgQQdZ6YkVxDK0eAjaDLHe+U4wwSBBBfl5CXxFq7QpsQMAZxTsVZDWwsBCgEEgQQ1N8b6OwBEkqe6d/BqpewZQwSBBAFt7nTtw70SZFkGE1GbkWsDXAsBCgEEgQQM3YuVsqsz0O4n/jX90PyIgwSBBBfl5CXxFq7QpsQMAZxTsVZDXQsBCgEEgQQH+uMOKYhy0uJMhdCBN9YNAwSBBBfl5CXxFq7QpsQMAZxTsVZDXgsBCgEEgQQM3YuVsqsz0O4n/jX90PyIgwSBBAFt7nTtw70SZFkGE1GbkWsDXwtBCgEEgQQWZ9h5liRP0iEKp689x5lRgwSBBBfl5CXxFq7QpsQMAZxTsVZDYABLQQoBBIEENTfG+jsARJKnunfwaqXsGUMEgQQX5eQl8Rau0KbEDAGcU7FWQ2EAS0EKAQSBBDCocRU5X8YQoY6sgHVC9EBDBIEEF+XkJfEWrtCmxAwBnFOxVkNiAEtBCgEEgQQ2o0rEHtPmkyZRivzTi/4HAwSBBAFt7nTtw70SZFkGE1GbkWsDYwBLQQoBBIEEHWemJFcQytHgI2gyx3vlOMMEgQQBbe507cO9EmRZBhNRm5FrA2QAS0EKAQSBBBYsc5Qc9H6S5Z9EpDqZN6KDBIEEAW3udO3DvRJkWQYTUZuRawNlAEtBCgEEgQQWZ9h5liRP0iEKp689x5lRgwSBBAFt7nTtw70SZFkGE1GbkWsDZgBLQQoBBIEEFixzlBz0fpLln0SkOpk3ooMEgQQX5eQl8Rau0KbEDAGcU7FWQ2cAS0EKAQSBBDk8iexzvF6Q5k1eqa4h8NSDBIEEAW3udO3DvRJkWQYTUZuRawNoAEtBCgEEgQQ5PInsc7xekOZNXqmuIfDUgwSBBBfl5CXxFq7QpsQMAZxTsVZDaQBLQQoBBIEEMKhxFTlfxhChjqyAdUL0QEMEgQQBbe507cO9EmRZBhNRm5FrA2oAS0EKAQSBBCKWj5BcGPBTbHTyqPdE0jfDBIEEF+XkJfEWrtCmxAwBnFOxVkNrAEwGgQSBBDajSsQe0+aTJlGK/NOL/gcDAJDMRAANBoEEgQQH+uMOKYhy0uJMhdCBN9YNAwCQzIQADgaBBIEEHWemJFcQytHgI2gyx3vlOMMAkMzEAA8GgQSBBAzdi5WyqzPQ7if+Nf3Q/IiDAJDNBAAQBoEEgQQWZ9h5liRP0iEKp689x5lRgwCQzUQAEQaBBIEEOTyJ7HO8XpDmTV6priHw1IMAkM2EABIGwQSBBDCocRU5X8YQoY6sgHVC9EBDANDMTIQAEwbBBIEEIpaPkFwY8FNsdPKo90TSN8MA0MxMxAAUBsEEgQQWLHOUHPR+kuWfRKQ6mTeigwDQzE0EABUGwQSBBDU3xvo7AESSp7p38Gql7BlDANDMTUQAFgaBBIEEF+XkJfEWrtCmxAwBnFOxVkMAlIxEABcGgQSBBAFt7nTtw70SZFkGE1GbkWsDAJSNhAAYAYNsAEVtAFkBg24ARW8AWgGDcABFcQBbAYNuAEVyAFwBg2wARXMAXQGDbgBFdABeAYNuAEV1AF8Bg3AARXYAYABBg24ARXcAYQBBg2wARXgAYgBBg3kARXoAYwBBg3sARXwAZABBg3AARX0AZQBBg2wARX4AZgBBg3AARX8AZwBBg2wARWAAqABBg3AARWEAqQBBg24ARWIAqgBBg3kARWMAqwBBg2wARWQArABAgQAtAEFBAMFlAK4AQIEALwBBQQDBZgCwAECBADEAQUEAwWcAsgBBQQDBaACzAEFBAMFpALQAQUEAwWoAtQBBQQDBawC2AEFBAMFsALcAQUEAwW0AuABBQQDBbgC5AECBADoAQUEAwW8AuwBAgQA8AEFBAMFwAL0AQUEAwXEAvgBBQQDBcgC/AEFBAMFzAKAAgUEAwXQAoQCBQQDBdQCiAIFBAMF2AKMAgUEAwXcApACBQQDBeAClAIFAQHlAlqYAgIBAJwCBQEB7QJaoAIFAQHxAlqkAgUBAfUCWqgCBQEB+QJarAIFAQH9AlqwAgUBAYEDWrQCBQEBhQNauAIFAQGJA1q8AgUBAY0DWsACAgEAxAIFAQGRA1rIAgUBAZUDWswCBQEBmQNa0AIFAQGdA1rUAgUBAaEDWtgCBQEBpQNa3AIFAQGpA1rgAgUBAa0DWuoCL0FsdHVhLkRhdGEuSW5mcmFzdHJ1Y3R1cmUuUGFyYWdyYXBoLCBBbHR1YS5EYXRh5QJaBQwDBbAD7QJaBQwDBbQD8QJaBQwDBbgD9QJaBQwDBbwD+QJaBQwDBcAD/QJaBQwDBcQDgQNaBQwDBcgDhQNaBQwDBcwDiQNaBQwDBdADjQNaBQwDBdQDkQNaBQwDBdgDlQNaBQwDBdwDmQNaBQwDBeADnQNaBQwDBeQDoQNaBQwDBegDpQNaBQwDBewDqQNaBQwDBfADrQNaBQwDBfQDsAMFAQH5A3+0AwUBAYEEf7gDBgEBhQSCAbwDBQEBjQR/wAMGAQGRBIIBxAMGAQGVBIIByAMFAQGZBH/MAwYBAZ0EggHQAwYBAaEEggHUAwYBAaUEggHYAwUBAakEf9wDBQEBrQR/4AMFAQGxBH/kAwYBAbUEggHoAwUBAbkEf+wDBgEBvQSCAfADBQEBwQR/9AMGAQHFBIIB/gMvQWx0dWEuRGF0YS5JbmZyYXN0cnVjdHVyZS5OdW1iZXJSdW4sIEFsdHVhLkRhdGH5A38TBA4DAAAAAAAANEAdyQSTAQ3QBIEEfxMEDgMAAAAAAABGQB3JBJMBDdAEigQtQWx0dWEuRGF0YS5JbmZyYXN0cnVjdHVyZS5UZXh0UnVuLCBBbHR1YS5EYXRhhQSCARkEFEpvcmRicnVrIG9nIHNrb2dicnVrDdQEjQR/EwQOAwAAAAAAADBAHckEkwEN0ASRBIIBDwQKVmFyZWhhbmRlbA3UBJUEggEjBB5UamVuZXN0ZXl0aW5nIG9nIGtvbW11bmlrYXNqb24N1ASZBH8TBA4DAAAAAAAAPkAdyQSTAQ3QBJ0EggEMBAdFaWVuZG9tDdQEoQSCARkEFFRyYW5zcG9ydCBvZyBsYWdyaW5nDdgEpQSCAQ0ECEluZHVzdHJpDdQEqQR/EwQOAwAAAAAAAD9AHckEkwEN0AStBH8TBA4DAAAAAAAAM0AdyQSTAQ3QBLEEfxMEDgMAAAAAAAA7QB3JBJMBDdAEtQSCARgEE0hvdGVsbCAvIHJlc3RhdXJhbnQN2AS5BH8TBA4DAAAAAAAANkAdyQSTAQ3QBL0EggETBA5CeWdnIG9nIGFubGVnZw3YBMEEfxMEDgMAAAAAAAA1QB3JBJMBDdAExQSCARYEEUZpc2tlcmkgLyBoYXZicnVrDdQEzgQ9QWx0dWEuRGF0YS5OdW1iZXJGb3JtYXR0aW5nLkNvbXBvc2l0ZU51bWJlckZvcm1hdCwgQWx0dWEuRGF0YckEkwELHdwEJeAENeQEPQDQBBIEABwAJAAsADQAPABMAFQAXQDUBBIEABwAJAAsADQAPABMAFQAXQDYBBIEABwAJAAsADQAPABMAFQAXQDcBAkAAAwDBegEEQDgBAkAAAwDBewEEQDkBAoEASwMAS4UAmty6AQGAQHxBJ0B7AQKAQL5BJ8BgQWdAfYEQkFsdHVhLkRhdGEuTnVtYmVyRm9ybWF0dGluZy5OdW1iZXJGb3JtYXRHZW5lcmFsU2VnbWVudCwgQWx0dWEuRGF0YfEEnQEA/gQ/QWx0dWEuRGF0YS5OdW1iZXJGb3JtYXR0aW5nLk51bWJlckZvcm1hdFRleHRTZWdtZW50LCBBbHR1YS5EYXRh+QSfAQUEAS0JAYEFnQEA"/>
  <p:tag name="GRUNT-RENDERHASH" val="64f1cad5abe09871df06330e7449c378-svg"/>
  <p:tag name="GRUNT-X-SHAPEBOUNDS" val="ASIBBAAAAKDvU3lAAAAA4LY3akAAAABgjzZ9QAAAACBJsG9AAA=="/>
  <p:tag name="GRUNT-X-PAGEOBJECT" val="AQUCzSYKOEFsdHVhLk9hay5Db3JlLkRvY3VtZW50TW9kZWwuQ2hhcnRPYmplY3QsIEFsdHVhLk9hay5Db3JlBQI1BBIEEFfj2uKQ6xZDtTt0W+wgmE0MEgQQm/XRNK5DDk6pDKkqGTIExBUNBCUUNRg9HFUgZSQSUEFsdHVhLk9hay5Db3JlLkRvY3VtZW50TW9kZWwuVGVtcGxhdGluZy5DdXN0b21Qb3NpdGlvbkRlZmluaXRpb24sIEFsdHVhLk9hay5Db3JlDQQkBCIBBPf/1/3/1YJAFACg5bY/akAkAKAIAIhvQCgAgCpJoG9AFBMVKB0sNTA4AEU1DkwCBTxVQF1EGAQEAgVIHAIFTCALBVAMBW5iLU5PFVQkDgEBCQERARkBIQEpATEBKBYEEgQQAAAAAAAAAAAAAAAAAAAAAAgBLBYEEgQQAAAAAAAAAAAAAAAAAAAAAAgBMAA6RUFsdHVhLk9hay5Db3JlLkNoYXJ0LlN0YWNrZWRCYXJXaXRoTGluZVBsb3REZWZpbml0aW9uLCBBbHR1YS5PYWsuQ29yZTUOMgQSBBAk88nZwvZWSqLtMxBeEK7tHAIFWCVcNWA8AgVkSQBtaKUBbRypAQC1AXUevQF8PAQBAYABQAUFhAENAEQCAQBIAgEATABQCgQBLAwBIBQCa3JUCQQFbmItTk8IAVgEAQGIAVwNAAAIARQDBYwBHAAlAGAmBCIBBAAAAAAAABBAAAAAAAAAEEAAAAAAAAAQQAAAAAAAABBACARkAgEAaAsDAAAAAAAATEAIIHJFQWx0dWEuT2FrLkNvcmUuUGxvdHRpbmcuQXV0b21hdGljQ2F0ZWdvcnlBeGlzU2V0dGluZ3MsIEFsdHVhLk9hay5Db3JlbRwTAQENkAEQABkBMAA9lAFFmAFIAXo9QWx0dWEuT2FrLkNvcmUuVGhlbWluZy5QYWdlQ29sb3JTY2hlbWVQb2ludGVyLCBBbHR1YS5PYWsuQ29yZXUeAHxKNZwBPaABRaQBVagBXawBdbABjQG0AZ0BuAGlAbwBrQHAAc0BxAHVAcgB3QHMAeUB0AHtAdQB9QHYAf0B3AGFAuABjQLkAZUC6AGAAUgEEgQQBbe507cO9EmRZBhNRm5FrCQSBBB9aSDeSXU3TZNMOE19FbqrLBIEEMyJEczVXdxGl+ROE+KaMgs97QE8RfQBSQFd+AGEAQCIAUIBABgDJfwBKQAxAEABSAJVgAJdhAJkEgQQzIkRzNVd3EaX5E4T4poyC22IAnWMAo0BkAKRAQGdAZQCpQGYArUBnAKMAQIBAJABAgEAlAEGBaECSQgEmAEGBakCSQgEnAEFBAMFrAKgAQUEAwWwAqQBBQQDBbQCqAEFBAMFuAKsAQUEAwWsArABBQQDBawCtAEFBAMFvAK4AQUEAwXAArwBBQQDBcQCwAEFBAMFyALEAQUEAwXMAsgBBQQDBdACzAEFBAMF1ALQAQUEAwXYAtQBBQQDBdwC2AEFBAMF4ALcAQUEAwXkAuABBQQDBegC5AEFBAMF7ALoAQUEAwXwAvIBPkFsdHVhLk9hay5Db3JlLkNoYXJ0LkRlZmF1bHRQbG90U2VyaWVzU2V0dGluZ3MsIEFsdHVhLk9hay5Db3Jl7QE8APQBBAUACAH4AQUF9AIIAfwBCwMAAAAAAAAAAAgCgAILAwAAAAAAAAAACAGEAgsDAAAAAAAAAAAIAYgCFQX4Ag38AhWAAx2EAyWIAy2MAzWQA4wCBw2UAxWZA0mQAgsDAAAAAAAAAAAIBJQCBgWdA0kIBJgCBgWdA0kIBJwCBQQDBaADpgIzQWx0dWEuT2FrLkNvcmUuVGhlbWluZy5Db2xvclBvaW50ZXIsIEFsdHVhLk9hay5Db3JloQJJUFBQ/6kCSVBQUP+sAgIBALACDgEGpAOoA6wDsAO0A7gDtAIEAQG8A7gCAgEAvAICAQDAAgIBAMQCDAEFwAPEA8gDzAPQA8gCAgEAzAIOAQbUA9gD3APgA+QD6APQAhQBCewD8AP0A/gD/AOABIQEiASMBNQCAgEA2AIEAQGQBNwCCgEElASYBJwEoATgAgIBAOQCAgEA6AICAQDsAgIBAPACAgEA9AIFBAMFpAT4AgcEAwQBAAgE/AIFBAEuCASAAwQAAQgEhAMEAAAIBIgDBAQACASMAwQEAAgEkAMEAAAIBJQDBQQDBagEmQNJPj7l/50DSVBQUP+gAwIBAKQDDgWtBIwBCwAAAAAAAAAAqAMOBbUEjgELAAAAAAAAAACsAw4FvQSQAQsAAAAAAADgP7ADDgXFBJIBCwAAAAAAAOA/tAMOBc0ElAELAAAAAAAA4D+4Aw4F1QSWAQsAAAAAAAD4P7wDCAXdBJQBDeAEwAMKBeUEmgEN7QScAcQDCgX1BIwBDfkEnwHIAwoFgQWQAQ2FBZ8BzAMKBYkFkgENjQWfAdADCQWRBaUBDZkFSdQDBwWdBagBCQDYAwcFpQWqAQkB3AMHBa0FrAEJAeADBwW1Ba4BCQHkAwcFvQWwAQkB6AMHBcUFsgEJAewDCgXNBbQBDdUFtgHwAwoF3QW4AQ3lBboB9AMKBe0FvAEN9QW+AfgDCgX9BbwBDYEGwQH8AwoFiQasAQ2BBsEBgAQKBY0GqAENkQbFAYQECgWZBq4BDZEGxQGIBAoFnQawAQ2hBskBjAQKBcUFsgENqQbLAZAECgWxBs0BDbkGzwGUBAoFwQaoAQ3FBtIBmAQKBc0GuAEN0QbSAZwECgXVBq4BDdkG0gGgBAoF3Qa0AQ3hBtIBpAQCAQCoBAQBAgEEsgRTQWx0dWEuT2FrLkNvcmUuTW9kaWZpY2F0aW9uLlN0eWxpbmcuQWxsVmFsdWVBeGlzQ3VzdG9taXphdGlvblRhcmdldCwgQWx0dWEuT2FrLkNvcmWtBIwBALoEWUFsdHVhLk9hay5Db3JlLk1vZGlmaWNhdGlvbi5TdHlsaW5nLlZhbHVlQXhpc0dyaWRsaW5lc0N1c3RvbWl6YXRpb25UYXJnZXQsIEFsdHVhLk9hay5Db3JltQSOAQDCBFNBbHR1YS5PYWsuQ29yZS5Nb2RpZmljYXRpb24uU3R5bGluZy5DYXRlZ29yeUF4aXNDdXN0b21pemF0aW9uVGFyZ2V0LCBBbHR1YS5PYWsuQ29yZb0EkAEAygRQQWx0dWEuT2FrLkNvcmUuTW9kaWZpY2F0aW9uLlN0eWxpbmcuT3JpZ29MaW5lQ3VzdG9taXphdGlvblRhcmdldCwgQWx0dWEuT2FrLkNvcmXFBJIBANIEXUFsdHVhLk9hay5Db3JlLk1vZGlmaWNhdGlvbi5TdHlsaW5nLkFsbENvbm5lY3RvcnNBdXhpbGlhcnlDdXN0b21pemF0aW9uVGFyZ2V0LCBBbHR1YS5PYWsuQ29yZc0ElAEA2gRZQWx0dWEuT2FrLkNvcmUuTW9kaWZpY2F0aW9uLlN0eWxpbmcuU2VyaWVzV2l0aFBsb3RLaW5kQ3VzdG9taXphdGlvblRhcmdldCwgQWx0dWEuT2FrLkNvcmXVBJYBAwXkBt0ElAEA4AQFDAMF6AbqBFZBbHR1YS5PYWsuQ29yZS5Nb2RpZmljYXRpb24uU3R5bGluZy5BbGxTZXJpZXNNYXJrZXJDdXN0b21pemF0aW9uVGFyZ2V0LCBBbHR1YS5PYWsuQ29yZeUEmgEA8gQ6QWx0dWEuT2FrLkNvcmUuVGhlbWluZy5CaW5kaW5nQ29sb3JQb2ludGVyLCBBbHR1YS5PYWsuQ29yZe0EnAEFBe0G3AH1BIwBAP4EN0FsdHVhLk9hay5Db3JlLlRoZW1pbmcuUGFnZUNvbG9yUG9pbnRlciwgQWx0dWEuT2FrLkNvcmX5BJ8BBAAACACBBZABAIUFnwEEAAAIAIkFkgEAjQWfAQQAAAgAlgVTQWx0dWEuT2FrLkNvcmUuTW9kaWZpY2F0aW9uLlN0eWxpbmcuQWxsR3JpZGxpbmVzQ3VzdG9taXphdGlvblRhcmdldCwgQWx0dWEuT2FrLkNvcmWRBaUBAJkFSYCAgP+iBVhBbHR1YS5PYWsuQ29yZS5Nb2RpZmljYXRpb24uU3R5bGluZy5BbGxWYWx1ZUF4aXNMYWJlbEN1c3RvbWl6YXRpb25UYXJnZXQsIEFsdHVhLk9hay5Db3JlnQWoAQCqBWZBbHR1YS5PYWsuQ29yZS5Nb2RpZmljYXRpb24uU3R5bGluZy5TdGFja2VkQmFyQXV0b21hdGljU2VnbWVudExhYmVsQ3VzdG9taXphdGlvblRhcmdldCwgQWx0dWEuT2FrLkNvcmWlBaoBALIFVUFsdHVhLk9hay5Db3JlLk1vZGlmaWNhdGlvbi5TdHlsaW5nLkFsbFRvdGFsTGFiZWxzQ3VzdG9taXphdGlvblRhcmdldCwgQWx0dWEuT2FrLkNvcmWtBawBALoFV0FsdHVhLk9hay5Db3JlLk1vZGlmaWNhdGlvbi5TdHlsaW5nLkFsbENhdGVnb3J5TGFiZWxDdXN0b21pemF0aW9uVGFyZ2V0LCBBbHR1YS5PYWsuQ29yZbUFrgEAwgVYQWx0dWEuT2FrLkNvcmUuTW9kaWZpY2F0aW9uLlN0eWxpbmcuQWxsQXV4aWxpYXJ5TGFiZWxDdXN0b21pemF0aW9uVGFyZ2V0LCBBbHR1YS5PYWsuQ29yZb0FsAEAygVYQWx0dWEuT2FrLkNvcmUuTW9kaWZpY2F0aW9uLlN0eWxpbmcuU2VyaWVzTGFiZWxPZlR5cGVDdXN0b21pemF0aW9uVGFyZ2V0LCBBbHR1YS5PYWsuQ29yZcUFsgECAALSBVhBbHR1YS5PYWsuQ29yZS5Nb2RpZmljYXRpb24uU3R5bGluZy5DYXRlZ29yeUF4aXNUaXRsZUN1c3RvbWl6YXRpb25UYXJnZXQsIEFsdHVhLk9hay5Db3JlzQW0AQDaBUJBbHR1YS5PYWsuQ29yZS5QbG90dGluZy5BeGlzVGl0bGVMYWJlbFBsYWNlbWVudEZhciwgQWx0dWEuT2FrLkNvcmXVBbYBAgAA4gVdQWx0dWEuT2FrLkNvcmUuTW9kaWZpY2F0aW9uLlN0eWxpbmcuQWxsVmFsdWVBeGlzVGl0bGVMYWJlbEN1c3RvbWl6YXRpb25UYXJnZXQsIEFsdHVhLk9hay5Db3Jl3QW4AQDqBUZBbHR1YS5PYWsuQ29yZS5QbG90dGluZy5BeGlzVGl0bGVMYWJlbFBsYWNlbWVudE91dHNpZGUsIEFsdHVhLk9hay5Db3Jl5QW6AQIAAfIFX0FsdHVhLk9hay5Db3JlLk1vZGlmaWNhdGlvbi5TdHlsaW5nLlNlcmllc0xhYmVsc1dpdGhQbG90S2luZEN1c3RvbWl6YXRpb25UYXJnZXQsIEFsdHVhLk9hay5Db3Jl7QW8AQUF9AYIAPoFPEFsdHVhLk9hay5Db3JlLlBsb3R0aW5nLkxhYmVsUGxhY2VtZW50SW5zaWRlLCBBbHR1YS5PYWsuQ29yZfUFvgEEAAEIAf0FvAEFBfgGCACGBj1BbHR1YS5PYWsuQ29yZS5QbG90dGluZy5MYWJlbFBsYWNlbWVudE91dHNpZGUsIEFsdHVhLk9hay5Db3JlgQbBAQCJBqwBAI0GqAEAlgZBQWx0dWEuT2FrLkNvcmUuUGxvdHRpbmcuQXhpc0xhYmVsUGxhY2VtZW50T3V0c2lkZSwgQWx0dWEuT2FrLkNvcmWRBsUBAgEAmQauAQCdBrABAKYGRkFsdHVhLk9hay5Db3JlLlBsb3R0aW5nLkF1eGlsaWFyeUxhYmVsUGxhY2VtZW50RGVmYXVsdCwgQWx0dWEuT2FrLkNvcmWhBskBAK4GQ0FsdHVhLk9hay5Db3JlLlBsb3R0aW5nLkxhYmVsUGxhY2VtZW50U2VyaWVzT3V0c2lkZSwgQWx0dWEuT2FrLkNvcmWpBssBAgAAtgZQQWx0dWEuT2FrLkNvcmUuTW9kaWZpY2F0aW9uLlN0eWxpbmcuQWxsTGFiZWxzQ3VzdG9taXphdGlvblRhcmdldCwgQWx0dWEuT2FrLkNvcmWxBs0BAL4GQkFsdHVhLk9hay5Db3JlLlN5bnRheFN0cnVjdHVyZS5BY3R1YWxGb250U2l6ZVZhbHVlLCBBbHR1YS5PYWsuQ29yZbkGzwEJAwAAAAAAAChAwQaoAQDKBkNBbHR1YS5PYWsuQ29yZS5TeW50YXhTdHJ1Y3R1cmUuQWN0dWFsRm9udENvbG9yVmFsdWUsIEFsdHVhLk9hay5Db3JlxQbSAQUF/QafAc0GuAEA0QbSAQUFgQefAdUGrgEA2QbSAQUFhQefAd0GtAEA4QbSAQUFiQefAeQGAQXoBgoBAgAAgEAAAEBA8gZIQWx0dWEuT2FrLkNvcmUuU3ludGF4U3RydWN0dXJlLlBsb3RTZXJpZXNCaW5kaW5nU3RyYXRlZ3ksIEFsdHVhLk9hay5Db3Jl7QbcAQD0BgIAAfgGAQX9Bp8BBAAACACBB58BBAAACACFB58BBAAACACJB58BBAAACAA="/>
  <p:tag name="GRUNT-SYNC" val="7c5f0556db4741c2bf37867fb7af891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txsKN0FsdHVhLkRhdGEuRGF0YVNlcnZpY2VzLkVtYmVkZGVkRGF0YVNlcnZpY2UsIEFsdHVhLkRhdGEFAhkEEgQQ27HkrKMTlU+/u19OcTrvIw0MJREFDAYFGAgNEAcWQUFsdHVhLkRhdGEuRGF0YVNlcnZpY2VzLkVtYmVkZGVkRGF0YVNlcnZpY2VFZGl0b3JEYXRhLCBBbHR1YS5EYXRhEQUEBRwNIBgGBSQNKBUsHDwdBBIEENNz8cQb9wFOoDLwDWItJDkLAAAAAAAAHEAdBBIEEB/rjDimIctLiTIXQgTfWDQLAAAAAAAgYkAgWh0EEgQQhB+R4huFNUGwuFZrPUlJDwsAAAAAAAAyQB0EEgQQ+SxZ/v3fb0W5/mfTI9KrIwsAAAAAAAAyQB0EEgQQF/fU+/rkS0KjMEQe6grewwsAAAAAAAAyQCQHMDQ4PEBESCgCTFAs+QQsBCgEEgQQ2o0rEHtPmkyZRivzTi/4HAwSBBBfl5CXxFq7QpsQMAZxTsVZDVQsBCgEEgQQH+uMOKYhy0uJMhdCBN9YNAwSBBAFt7nTtw70SZFkGE1GbkWsDVgsBCgEEgQQdZ6YkVxDK0eAjaDLHe+U4wwSBBBfl5CXxFq7QpsQMAZxTsVZDVwsBCgEEgQQM3YuVsqsz0O4n/jX90PyIgwSBBBfl5CXxFq7QpsQMAZxTsVZDWAsBCgEEgQQH+uMOKYhy0uJMhdCBN9YNAwSBBBfl5CXxFq7QpsQMAZxTsVZDWQsBCgEEgQQM3YuVsqsz0O4n/jX90PyIgwSBBAFt7nTtw70SZFkGE1GbkWsDWgsBCgEEgQQWZ9h5liRP0iEKp689x5lRgwSBBBfl5CXxFq7QpsQMAZxTsVZDWwsBCgEEgQQwqHEVOV/GEKGOrIB1QvRAQwSBBBfl5CXxFq7QpsQMAZxTsVZDXAsBCgEEgQQ2o0rEHtPmkyZRivzTi/4HAwSBBAFt7nTtw70SZFkGE1GbkWsDXQsBCgEEgQQdZ6YkVxDK0eAjaDLHe+U4wwSBBAFt7nTtw70SZFkGE1GbkWsDXgsBCgEEgQQWZ9h5liRP0iEKp689x5lRgwSBBAFt7nTtw70SZFkGE1GbkWsDXwtBCgEEgQQ5PInsc7xekOZNXqmuIfDUgwSBBAFt7nTtw70SZFkGE1GbkWsDYABLQQoBBIEEOTyJ7HO8XpDmTV6priHw1IMEgQQX5eQl8Rau0KbEDAGcU7FWQ2EAS0EKAQSBBDCocRU5X8YQoY6sgHVC9EBDBIEEAW3udO3DvRJkWQYTUZuRawNiAEwGgQSBBDajSsQe0+aTJlGK/NOL/gcDAJDMRAANBoEEgQQH+uMOKYhy0uJMhdCBN9YNAwCQzIQADgaBBIEEHWemJFcQytHgI2gyx3vlOMMAkMzEAA8GgQSBBAzdi5WyqzPQ7if+Nf3Q/IiDAJDNBAAQBoEEgQQWZ9h5liRP0iEKp689x5lRgwCQzUQAEQaBBIEEOTyJ7HO8XpDmTV6priHw1IMAkM2EABIGwQSBBDCocRU5X8YQoY6sgHVC9EBDANDMTIQAEwaBBIEEF+XkJfEWrtCmxAwBnFOxVkMAlIxEABQGgQSBBAFt7nTtw70SZFkGE1GbkWsDAJSNhAAVAYNjAEVkAFYBg2UARWYAVwGDYwBFZwBYAYNjAEVoAFkBg2MARWkAWgGDZQBFagBbAYNjAEVrAFwBg2wARW0AXQGDbgBFbwBeAYNlAEVwAF8Bg2UARXEAYABBg2UARXIAYQBBg2MARXMAYgBBg2wARXQAYwBAgQAkAEFBAMF1AGUAQIEAJgBBQQDBdgBnAEFBAMF3AGgAQUEAwXgAaQBBQQDBeQBqAEFBAMF6AGsAQUEAwXsAbABAgQAtAEFBAMF8AG4AQIEALwBBQQDBfQBwAEFBAMF+AHEAQUEAwX8AcgBBQQDBYACzAEFBAMFhALQAQUEAwWIAtQBAgEA2AEFAQGNAkTcAQUBAZUCROABBQEBmQJE5AEFAQGdAkToAQUBAaECROwBBQEBpQJE8AEFAQGpAkT0AQUBAa0CRPgBBQEBsQJE/AEFAQG1AkSAAgUBAbkCRIQCBQEBvQJEiAIFAQHBAkSSAi9BbHR1YS5EYXRhLkluZnJhc3RydWN0dXJlLlBhcmFncmFwaCwgQWx0dWEuRGF0YY0CRAUMAwXEApUCRAUMAwXIApkCRAUMAwXMAp0CRAUMAwXQAqECRAUMAwXUAqUCRAUMAwXYAqkCRAUMAwXcAq0CRAUMAwXgArECRAUMAwXkArUCRAUMAwXoArkCRAUMAwXsAr0CRAUMAwXwAsECRAUMAwX0AsQCBQEB+QJfyAIFAQGBA2HMAgUBAYkDYdACBQEBjQNh1AIFAQGRA1/YAgUBAZUDYdwCBQEBmQNh4AIFAQGdA1/kAgUBAaEDX+gCBQEBpQNf7AIFAQGpA1/wAgUBAa0DYfQCBQEBsQNf/gIvQWx0dWEuRGF0YS5JbmZyYXN0cnVjdHVyZS5OdW1iZXJSdW4sIEFsdHVhLkRhdGH5Al8SBA0DAAAAAAAAOEAdtQNuDbwDhgMtQWx0dWEuRGF0YS5JbmZyYXN0cnVjdHVyZS5UZXh0UnVuLCBBbHR1YS5EYXRhgQNhDwQKMyAtIDUgbWlsbA3AA4kDYRAECzYgLSAyMCBtaWxsDcQDjQNhFgQRTWluZHJlIGVubiAzIG1pbGwNyAORA18SBA0DAAAAAAAAPkAdzQNuDdADlQNhEQQMMjEgLSA1MCBtaWxsDdQDmQNhEgQNT3ZlciAxMDAgbWlsbA3YA50DXxIEDQMAAAAAAKCfQB3dA24N4AOhA18SBA0DAAAAAAAAN0Ad5QNuDegDpQNfEgQNAwAAAAAAAD9AHe0Dbg3wA6kDXxIEDQMAAAAAAAA4QB31A24N+AOtA2ESBA01MSAtIDEwMCBtaWxsDfwDsQNfEgQNAwAAAAAAAE1AHYEEbg2EBLoDPUFsdHVhLkRhdGEuTnVtYmVyRm9ybWF0dGluZy5Db21wb3NpdGVOdW1iZXJGb3JtYXQsIEFsdHVhLkRhdGG1A24LHYgEJYwENZAEPQC8AxIEABwAJAAsADQAPABMAFQAXQDAAxIEABwAJAAsADQAPABMAFQAXQDEAxIEABwAJAAsADQAPABMAFQAXQDIAxIEABwAJAAsADQAPABMAFQAXQDNA24LHZQEJZgENZwEPQDQAxIEABwAJAAsADQAPABMAFQAXQDUAxIEABwAJAAsADQAPABMAFQAXQDYAxIEABwAJAAsADQAPABMAFQAXQDdA24LHaAEJaQENagEPQDgAxIEABwAJAAsADQAPABMAFQAXQDlA24LHawEJbAENbQEPQDoAxIEABwAJAAsADQAPABMAFQAXQDtA24LHbgEJbwENcAEPQDwAxIEABwAJAAsADQAPABMAFQAXQD1A24LHcQEJcgENcwEPQD4AxIEABwAJAAsADQAPABMAFQAXQD8AxIEABwAJAAsADQAPABMAFQAXQCBBG4LHdAEJdQENdgEPQCEBBIEABwAJAAsADQAPABMAFQAXQCIBAkAAAwDBdwEEQCMBAkAAAwDBeAEEQCQBAoEASwMAS4UAmtylAQJAAAMAwXkBBEAmAQJAAAMAwXoBBEAnAQKBAEsDAEuFAJrcqAECQAADAMF7AQRAKQECQAADAMF8AQRAKgECgQBLAwBLhQCa3KsBAkAAAwDBfQEEQCwBAkAAAwDBfgEEQC0BAoEASwMAS4UAmtyuAQJAAAMAwX8BBEAvAQJAAAMAwWABREAwAQKBAEsDAEuFAJrcsQECQAADAMFhAURAMgECQAADAMFiAURAMwECgQBLAwBLhQCa3LQBAkAAAwDBYwFEQDUBAkAAAwDBZAFEQDYBAoEASwMAS4UAmty3AQGAQGVBaYB4AQKAQKdBagBlQWmAeQEBgEBpQWmAegECgECqQWoAaUFpgHsBAYBAa0FpgHwBAoBArEFqAGtBaYB9AQGAQG1BaYB+AQKAQK5BagBtQWmAfwEBgEBvQWmAYAFCgECwQWoAb0FpgGEBQYBAcUFpgGIBQoBAskFqAHFBaYBjAUGAQHNBaYBkAUKAQLRBagBzQWmAZoFQEFsdHVhLkRhdGEuTnVtYmVyRm9ybWF0dGluZy5OdW1iZXJGb3JtYXRWYWx1ZVNlZ21lbnQsIEFsdHVhLkRhdGGVBaYBBQQDBdQFogU/QWx0dWEuRGF0YS5OdW1iZXJGb3JtYXR0aW5nLk51bWJlckZvcm1hdFRleHRTZWdtZW50LCBBbHR1YS5EYXRhnQWoAQUEAS0JAaUFpgEFBAMF2AWpBagBBQQBLQkBrQWmAQUEAwXcBbEFqAEFBAEtCQG1BaYBBQQDBeAFuQWoAQUEAS0JAb0FpgEFBAMF5AXBBagBBQQBLQkBxQWmAQUEAwXoBckFqAEFBAEtCQHNBaYBBQQDBewF0QWoAQUEAS0JAdQFBgEB8QW9AdgFBgEB8QW9AdwFBgEB+QW9AeAFBgEB8QW9AeQFBgEB8QW9AegFBgEB8QW9AewFBgEB8QW9AfYFOUFsdHVhLkRhdGEuTnVtYmVyRm9ybWF0dGluZy5OdW1iZXJQbGFjZWhvbGRlciwgQWx0dWEuRGF0YfEFvQEFAjAAAAD5Bb0BBQIwAAAA"/>
  <p:tag name="GRUNT-RENDERHASH" val="922d584962b114e9da3b316042945dcc-svg"/>
  <p:tag name="GRUNT-X-SHAPEBOUNDS" val="ASIBBAAAAODFHFNAAAAAAB8BaUAAAACAJO9wQAAAAIBHRW9AAA=="/>
  <p:tag name="GRUNT-X-PAGEOBJECT" val="AQUCoTIKOEFsdHVhLk9hay5Db3JlLkRvY3VtZW50TW9kZWwuQ2hhcnRPYmplY3QsIEFsdHVhLk9hay5Db3JlBQI1BBIEEPC+4aUBbihCjfYl1d5TdpQMEgQQ27HkrKMTlU+/u19OcTrvIxUNBCUUNRg9HFUgZSQSUEFsdHVhLk9hay5Db3JlLkRvY3VtZW50TW9kZWwuVGVtcGxhdGluZy5DdXN0b21Qb3NpdGlvbkRlZmluaXRpb24sIEFsdHVhLk9hay5Db3JlDQQkBCIBBCACANzF3FNAFACg5bY/akB4//98JI9wQCgAgCpJIGhAFBMVKB0sNTA4AEU1DkwCBTxVQF1EGAQEAgVIHAIFTCALBVAMBW5iLU5PFVQkDgEBCQERARkBIQEpATEBKBYEEgQQAAAAAAAAAAAAAAAAAAAAAAgBLBYEEgQQAAAAAAAAAAAAAAAAAAAAAAgBMAA6N0FsdHVhLk9hay5Db3JlLkNoYXJ0LkxpbmVQbG90RGVmaW5pdGlvbiwgQWx0dWEuT2FrLkNvcmU1DkYAAAgEJVg8EgQQC8lBwpLr20KQCpLwS5FOaEQCBVxVYFkBcwAAAAAAAPA/fAIFZIUBaRuRAQGdAXClAXUeqQEAtQF8uQEAPAYBAoABhAFABQWIAQ0ARAIBAEgCAQBMAFAKBAEsDAEgFAJrclQJBAVuYi1OTwgBWA0AAAgBFAMFjAEcACUAXAIBAGAmBCIBBAAAAAAAABBAAAAAAAAAEEAAAAAAAAAQQAAAAAAAABBACARkBAEBkAFuRUFsdHVhLk9hay5Db3JlLlBsb3R0aW5nLkF1dG9tYXRpY0NhdGVnb3J5QXhpc1NldHRpbmdzLCBBbHR1YS5PYWsuQ29yZWkbEwEBDZQBEAAZATAAPZgBRZwBSAFwBgWhASkIAno9QWx0dWEuT2FrLkNvcmUuVGhlbWluZy5QYWdlQ29sb3JTY2hlbWVQb2ludGVyLCBBbHR1YS5PYWsuQ29yZXUeAHxKNagBPawBRbABVbQBXbgBdbwBjQHAAZ0BxAGlAcgBrQHMAc0B0AHVAdQB3QHYAeUB3AHtAeAB9QHkAf0B6AGFAuwBjQLwAZUC9AGAAUgEEgQQF/fU+/rkS0KjMEQe6grewyQSBBCfU7i5Q7LmTYqjngpAomrSLBIEECCsb5ldAwhIiEQfTvnPwqw9+QE/RYACSQFdhAKEAUgEEgQQBbe507cO9EmRZBhNRm5FrCQSBBB9aSDeSXU3TZNMOE19FbqrLBIEECCsb5ldAwhIiEQfTvnPwqw9+QE/RYgCSQFdjAKIAQCMAQIBAJABQgEBGAMlkAIpADEAQABIAlWUAl2YAmQSBBAgrG+ZXQMISIhEH075z8KsbZwCdaACjQGkApEBAZ0BqAKlAawCtQGwApQBAgEAmAEGBbUCTggEnAEGBb0CTggEpgE6QWx0dWEuT2FrLkNvcmUuVGhlbWluZy5CaW5kaW5nQ29sb3JQb2ludGVyLCBBbHR1YS5PYWsuQ29yZaEBKQQFwQJRqAEFBAMFyAKsAQUEAwXMArABBQQDBdACtAEFBAMF1AK4AQUEAwXYArwBBQQDBcgCwAEFBAMF3ALEAQUEAwXgAsgBBQQDBeQCzAEFBAMF6ALQAQUEAwXsAtQBBQQDBfAC2AEFBAMF9ALcAQUEAwX4AuABBQQDBfwC5AEFBAMFgAPoAQUEAwWEA+wBBQQDBYgD8AEFBAMFjAP0AQUEAwWQA/4BPkFsdHVhLk9hay5Db3JlLkNoYXJ0LkRlZmF1bHRQbG90U2VyaWVzU2V0dGluZ3MsIEFsdHVhLk9hay5Db3Jl+QE/AIACBAUACAGEAgUFlAMIAYgCBAUACAGMAgUFmAMIAZACCwMAAAAAAAAkQAgClAILAwAAAAAAADRACAKYAgsDAAAAAAAAAAAIAZwCFQWcAw2gAxWkAx2oAyWsAy2wAzW0A6ACBw24AxW9A06kAgsDAAAAAAAAAAAIBKgCBgXBA04IBKwCBgXBA04IBLACBQQDBcQDugIzQWx0dWEuT2FrLkNvcmUuVGhlbWluZy5Db2xvclBvaW50ZXIsIEFsdHVhLk9hay5Db3JltQJOUFBQ/70CTlBQUP/GAkhBbHR1YS5PYWsuQ29yZS5TeW50YXhTdHJ1Y3R1cmUuUGxvdFNlcmllc0JpbmRpbmdTdHJhdGVneSwgQWx0dWEuT2FrLkNvcmXBAlEAyAICAQDMAhYBCsgDzAPQA9QD2APcA+AD5APoA+wD0AIEAQHwA9QCBAEB9APYAgQBAfgD3AICAQDgAgIBAOQCDgEG/AOABIQEiASMBJAE6AICAQDsAhYBCpQEmAScBKAEpASoBKwEsAS0BLgE8AISAQi8BMAExATIBMwE0ATUBNgE9AICAQD4AgQBAdwE/AIKAQTgBOQE6ATsBIADAgEAhAMCAQCIAwIBAIwDAgEAkAMCAQCUAwUEAwXwBJgDBQQDBfQEnAMHBAMEAQAIBKADBQQBLggEpAMEAAEIBKgDBAAACASsAwQEAAgEsAMEBAAIBLQDBAAACAS4AwUEAwX4BL0DTj4+5f/BA05QUFD/xAMCAQDIAw4F/QSgAQsAAAAAAAAAAMwDDgWFBaIBCwAAAAAAAOA/0AMOBY0FpAELAAAAAAAA4D/UAw4FlQWmAQsAAAAAAADgP9gDDgWdBagBCwAAAAAAAPg/3AMOBaUFqgELAAAAAAAA4D/gAw4FrQWsAQsAAAAAAAAYQOQDDgW1Ba4BCwAAAAAAAAAA6AMOBb0FrAELAAAAAAAAGEDsAw4FwQWxAQsAAAAAAAAAAPADCAXJBaYBDcwF9AMHBdEFtQEIAfgDDgXRBbUBCwAAAAAAACRA/AMJBdkFtwEN4QUpgAQKBeUFqgEN6QW7AYQECgXxBaIBDfUFuwGIBAoF+QWkAQ39BbsBjAQJBYEGwQENiQZOkAQKBdEFtQENjQa7AZQEBwWRBsUBCQGYBAcFmQbHAQkBnAQHBaEGyQEJAaAEBwWpBssBCQCkBAcFsQbLAQkBqAQHBbUGzgEJAKwEBwW9Bs4BCQCwBAcFwQbRAQkAtAQHBckGzgEJALgEBwXNBtQBCQG8BAoF1QbWAQ3dBtgBwAQKBeUG2gEN7QbcAcQECgX1BssBDfkG3wHIBAoFgQfFAQ2FB+IBzAQKBY0HxwENhQfiAdAECgWRB8kBDZUH5gHUBAoFnQfLAQ2hB+kB2AQKBakH1AENrQffAdwECgWxB+0BDbkH7wHgBAoFwQfFAQ3FB/IB5AQKBc0H2gEN0QfyAegECgXVB8cBDdkH8gHsBAoF3QfWAQ3hB/IB8AQGAQHlB/oB9AQGAQHtB/oB+AQEAQIBBIIFWUFsdHVhLk9hay5Db3JlLk1vZGlmaWNhdGlvbi5TdHlsaW5nLlZhbHVlQXhpc0dyaWRsaW5lc0N1c3RvbWl6YXRpb25UYXJnZXQsIEFsdHVhLk9hay5Db3Jl/QSgAQCKBVNBbHR1YS5PYWsuQ29yZS5Nb2RpZmljYXRpb24uU3R5bGluZy5DYXRlZ29yeUF4aXNDdXN0b21pemF0aW9uVGFyZ2V0LCBBbHR1YS5PYWsuQ29yZYUFogEAkgVQQWx0dWEuT2FrLkNvcmUuTW9kaWZpY2F0aW9uLlN0eWxpbmcuT3JpZ29MaW5lQ3VzdG9taXphdGlvblRhcmdldCwgQWx0dWEuT2FrLkNvcmWNBaQBAJoFXUFsdHVhLk9hay5Db3JlLk1vZGlmaWNhdGlvbi5TdHlsaW5nLkFsbENvbm5lY3RvcnNBdXhpbGlhcnlDdXN0b21pemF0aW9uVGFyZ2V0LCBBbHR1YS5PYWsuQ29yZZUFpgEAogVZQWx0dWEuT2FrLkNvcmUuTW9kaWZpY2F0aW9uLlN0eWxpbmcuU2VyaWVzV2l0aFBsb3RLaW5kQ3VzdG9taXphdGlvblRhcmdldCwgQWx0dWEuT2FrLkNvcmWdBagBAwXwB6oFU0FsdHVhLk9hay5Db3JlLk1vZGlmaWNhdGlvbi5TdHlsaW5nLkFsbFZhbHVlQXhpc0N1c3RvbWl6YXRpb25UYXJnZXQsIEFsdHVhLk9hay5Db3JlpQWqAQCyBU1BbHR1YS5PYWsuQ29yZS5Nb2RpZmljYXRpb24uU3R5bGluZy5TZXJpZXNDdXN0b21pemF0aW9uVGFyZ2V0LCBBbHR1YS5PYWsuQ29yZa0FrAEUBBIEEH1pIN5JdTdNk0w4TX0Vuqu6BVtBbHR1YS5PYWsuQ29yZS5Nb2RpZmljYXRpb24uU3R5bGluZy5HcmlkbGluZUZvckRpcmVjdGlvbkN1c3RvbWl6YXRpb25UYXJnZXQsIEFsdHVhLk9hay5Db3JltQWuAQIBAb0FrAEUBBIEEJ9TuLlDsuZNiqOeCkCiatLGBVZBbHR1YS5PYWsuQ29yZS5Nb2RpZmljYXRpb24uU3R5bGluZy5TaW5nbGVWYWx1ZUF4aXNDdXN0b21pemF0aW9uVGFyZ2V0LCBBbHR1YS5PYWsuQ29yZcEFsQEUBBIEECCsb5ldAwhIiEQfTvnPwqzJBaYBAMwFBQwDBfQH1gVTQWx0dWEuT2FrLkNvcmUuTW9kaWZpY2F0aW9uLlN0eWxpbmcuU2VyaWVzTWFya2VyQ3VzdG9taXphdGlvblRhcmdldCwgQWx0dWEuT2FrLkNvcmXRBbUBFAQSBBB9aSDeSXU3TZNMOE19Fbqr3gVWQWx0dWEuT2FrLkNvcmUuTW9kaWZpY2F0aW9uLlN0eWxpbmcuQWxsU2VyaWVzTWFya2VyQ3VzdG9taXphdGlvblRhcmdldCwgQWx0dWEuT2FrLkNvcmXZBbcBAOEFKQQF+QdR5QWqAQDuBTdBbHR1YS5PYWsuQ29yZS5UaGVtaW5nLlBhZ2VDb2xvclBvaW50ZXIsIEFsdHVhLk9hay5Db3Jl6QW7AQQAAAgA8QWiAQD1BbsBBAAACAD5BaQBAP0FuwEEAAAIAIYGU0FsdHVhLk9hay5Db3JlLk1vZGlmaWNhdGlvbi5TdHlsaW5nLkFsbEdyaWRsaW5lc0N1c3RvbWl6YXRpb25UYXJnZXQsIEFsdHVhLk9hay5Db3JlgQbBAQCJBk6AgID/jQa7AQQAAAgAlgZYQWx0dWEuT2FrLkNvcmUuTW9kaWZpY2F0aW9uLlN0eWxpbmcuQWxsVmFsdWVBeGlzTGFiZWxDdXN0b21pemF0aW9uVGFyZ2V0LCBBbHR1YS5PYWsuQ29yZZEGxQEAngZXQWx0dWEuT2FrLkNvcmUuTW9kaWZpY2F0aW9uLlN0eWxpbmcuQWxsQ2F0ZWdvcnlMYWJlbEN1c3RvbWl6YXRpb25UYXJnZXQsIEFsdHVhLk9hay5Db3JlmQbHAQCmBlhBbHR1YS5PYWsuQ29yZS5Nb2RpZmljYXRpb24uU3R5bGluZy5BbGxBdXhpbGlhcnlMYWJlbEN1c3RvbWl6YXRpb25UYXJnZXQsIEFsdHVhLk9hay5Db3JloQbJAQCuBlhBbHR1YS5PYWsuQ29yZS5Nb2RpZmljYXRpb24uU3R5bGluZy5TZXJpZXNMYWJlbE9mVHlwZUN1c3RvbWl6YXRpb25UYXJnZXQsIEFsdHVhLk9hay5Db3JlqQbLAQIAArEGywECAAC6BlpBbHR1YS5PYWsuQ29yZS5Nb2RpZmljYXRpb24uU3R5bGluZy5WYWx1ZUF4aXNUaXRsZUxhYmVsQ3VzdG9taXphdGlvblRhcmdldCwgQWx0dWEuT2FrLkNvcmW1Bs4BFAQSBBCDpC2HMEgfQ7cJxO+pD9ykvQbOARQEEgQQukdhA1zTQECCVSAeItEioMYGVUFsdHVhLk9hay5Db3JlLk1vZGlmaWNhdGlvbi5TdHlsaW5nLlZhbHVlQXhpc0xhYmVsQ3VzdG9taXphdGlvblRhcmdldCwgQWx0dWEuT2FrLkNvcmXBBtEBFAQSBBAgrG+ZXQMISIhEH075z8KsyQbOARQEEgQQIKxvmV0DCEiIRB9O+c/CrNIGUkFsdHVhLk9hay5Db3JlLk1vZGlmaWNhdGlvbi5TdHlsaW5nLlNlcmllc0xhYmVsQ3VzdG9taXphdGlvblRhcmdldCwgQWx0dWEuT2FrLkNvcmXNBtQBFgQSBBB9aSDeSXU3TZNMOE19FbqrCADaBlhBbHR1YS5PYWsuQ29yZS5Nb2RpZmljYXRpb24uU3R5bGluZy5DYXRlZ29yeUF4aXNUaXRsZUN1c3RvbWl6YXRpb25UYXJnZXQsIEFsdHVhLk9hay5Db3Jl1QbWAQDiBkZBbHR1YS5PYWsuQ29yZS5QbG90dGluZy5BeGlzVGl0bGVMYWJlbFBsYWNlbWVudE91dHNpZGUsIEFsdHVhLk9hay5Db3Jl3QbYAQIAAeoGXUFsdHVhLk9hay5Db3JlLk1vZGlmaWNhdGlvbi5TdHlsaW5nLkFsbFZhbHVlQXhpc1RpdGxlTGFiZWxDdXN0b21pemF0aW9uVGFyZ2V0LCBBbHR1YS5PYWsuQ29yZeUG2gEA8gZCQWx0dWEuT2FrLkNvcmUuUGxvdHRpbmcuQXhpc1RpdGxlTGFiZWxQbGFjZW1lbnRGYXIsIEFsdHVhLk9hay5Db3Jl7QbcAQIAAPUGywECAAD+BkBBbHR1YS5PYWsuQ29yZS5QbG90dGluZy5MYWJlbFBsYWNlbWVudFBvaW50T3V0ZXIsIEFsdHVhLk9hay5Db3Jl+QbfAQCBB8UBAIoHQUFsdHVhLk9hay5Db3JlLlBsb3R0aW5nLkF4aXNMYWJlbFBsYWNlbWVudE91dHNpZGUsIEFsdHVhLk9hay5Db3JlhQfiAQIBAI0HxwEAkQfJAQCaB0ZBbHR1YS5PYWsuQ29yZS5QbG90dGluZy5BdXhpbGlhcnlMYWJlbFBsYWNlbWVudERlZmF1bHQsIEFsdHVhLk9hay5Db3JllQfmAQCdB8sBAgACpgdDQWx0dWEuT2FrLkNvcmUuUGxvdHRpbmcuTGFiZWxQbGFjZW1lbnRTZXJpZXNPdXRzaWRlLCBBbHR1YS5PYWsuQ29yZaEH6QECAAGpB9QBFgQSBBB9aSDeSXU3TZNMOE19FbqrCACtB98BALYHUEFsdHVhLk9hay5Db3JlLk1vZGlmaWNhdGlvbi5TdHlsaW5nLkFsbExhYmVsc0N1c3RvbWl6YXRpb25UYXJnZXQsIEFsdHVhLk9hay5Db3JlsQftAQC+B0JBbHR1YS5PYWsuQ29yZS5TeW50YXhTdHJ1Y3R1cmUuQWN0dWFsRm9udFNpemVWYWx1ZSwgQWx0dWEuT2FrLkNvcmW5B+8BCQMAAAAAAAAoQMEHxQEAygdDQWx0dWEuT2FrLkNvcmUuU3ludGF4U3RydWN0dXJlLkFjdHVhbEZvbnRDb2xvclZhbHVlLCBBbHR1YS5PYWsuQ29yZcUH8gEFBf0HuwHNB9oBANEH8gEFBYEIuwHVB8cBANkH8gEFBYUIuwHdB9YBAOEH8gEFBYkIuwHqBy9BbHR1YS5EYXRhLkluZnJhc3RydWN0dXJlLlBhcmFncmFwaCwgQWx0dWEuRGF0YeUH+gEFDAMFjAjtB/oBBQwDBZAI8AcBBfQHCgECAACAQAAAQED5B1EA/Qe7AQQAAAgAgQi7AQQAAAgAhQi7AQQAAAgAiQi7AQQAAAgAjAgGAQGVCIYCkAgGAQGdCIYCmggvQWx0dWEuRGF0YS5JbmZyYXN0cnVjdHVyZS5OdW1iZXJSdW4sIEFsdHVhLkRhdGGVCIYCEwQOAwAAAAAAnJ9AHaEIiQINqAidCIYCEwQOAwAAAAAAoJ9AHa0IiQINsAimCD1BbHR1YS5EYXRhLk51bWJlckZvcm1hdHRpbmcuQ29tcG9zaXRlTnVtYmVyRm9ybWF0LCBBbHR1YS5EYXRhoQiJAgsdtAgluAg1vAg9AKgIEgQAHAAkACwANAA8AEwAVABdAK0IiQILHcAIJcQINcgIPQCwCBIEABwAJAAsADQAPABMAFQAXQC0CAkAAAwDBcwIEQC4CAkAAAwDBdAIEQC8CAoEASwMAS4UAmtywAgJAAAMAwXUCBEAxAgJAAAMAwXYCBEAyAgKBAEsDAEuFAJrcswIBgEB3QiYAtAICgEC5QiaAt0ImALUCAYBAe0ImALYCAoBAvEImgLtCJgC4ghAQWx0dWEuRGF0YS5OdW1iZXJGb3JtYXR0aW5nLk51bWJlckZvcm1hdFZhbHVlU2VnbWVudCwgQWx0dWEuRGF0Yd0ImAIFBAMF9AjqCD9BbHR1YS5EYXRhLk51bWJlckZvcm1hdHRpbmcuTnVtYmVyRm9ybWF0VGV4dFNlZ21lbnQsIEFsdHVhLkRhdGHlCJoCBQQBLQkB7QiYAgUEAwX4CPEImgIFBAEtCQH0CAYBAf0IoAL4CAYBAf0IoAKCCTlBbHR1YS5EYXRhLk51bWJlckZvcm1hdHRpbmcuTnVtYmVyUGxhY2Vob2xkZXIsIEFsdHVhLkRhdGH9CKACBQIwAAAA"/>
  <p:tag name="GRUNT-SYNC" val="1f79e390380247098100ae71d83ea24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41c3f9e6-7654-41c8-afb8-64701db1026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f26c41fe-75fd-4725-b439-8a2fe2a329cc"/>
  <p:tag name="GRUNT-X-RESOURCES" val="AQIFBAQEAgEA"/>
  <p:tag name="GRUNT-VERSION" val="20.23.267.0"/>
  <p:tag name="GRUNT-RENDERHASH" val="95911654a65eeedea9515ee0bdd40bb5-svg"/>
  <p:tag name="GRUNT-X-SHAPEBOUNDS" val="ASIBBAAAAAAliVpAAAAAoGQIZUAAAACA/39iQAAAAOAYTjpAAA=="/>
  <p:tag name="GRUNT-X-PAGEOBJECT" val="AQUCswIKPkFsdHVhLk9hay5Db3JlLkRvY3VtZW50TW9kZWwuQ2hhcnRMZWdlbmRPYmplY3QsIEFsdHVhLk9hay5Db3JlBQI5BBIEEP5BbPL9dSVHtDmKL+KjKcwUEgQQJl58HMIX6UmyuF2nX5n3jC0MNRBEAgUUSABVGQdlIG0kDAQEAgUoEAIFLBQCAQAeUEFsdHVhLk9hay5Db3JlLkRvY3VtZW50TW9kZWwuVGVtcGxhdGluZy5DdXN0b21Qb3NpdGlvbkRlZmluaXRpb24sIEFsdHVhLk9hay5Db3JlGQckBCIBBAgAAAAliVpAAAAAoGQIZUD+//9//39iQGDbtu0YTjpAIAsFMAwFbmItTk8VNCQEAQEJASgCAQAsADAKBAEsDAEgFAJrcjQJBAVuYi1OTwgB"/>
  <p:tag name="GRUNT-SYNC" val="120a23b7136642198d9557132fd879cb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txsKN0FsdHVhLkRhdGEuRGF0YVNlcnZpY2VzLkVtYmVkZGVkRGF0YVNlcnZpY2UsIEFsdHVhLkRhdGEFAhkEEgQQIiUAlO66g06a7azEmzUskQ0MJREFDAYFGAgNEAcWQUFsdHVhLkRhdGEuRGF0YVNlcnZpY2VzLkVtYmVkZGVkRGF0YVNlcnZpY2VFZGl0b3JEYXRhLCBBbHR1YS5EYXRhEQUEBRwNIBgGBSQNKBUsHDwdBBIEENNz8cQb9wFOoDLwDWItJDkLAAAAAAAAHEAdBBIEEB/rjDimIctLiTIXQgTfWDQLAAAAAAAgYkAgWh0EEgQQhB+R4huFNUGwuFZrPUlJDwsAAAAAAAAyQB0EEgQQ+SxZ/v3fb0W5/mfTI9KrIwsAAAAAAAAyQB0EEgQQF/fU+/rkS0KjMEQe6grewwsAAAAAAAAyQCQHMDQ4PEBESCgCTFAs+QQsBCgEEgQQ2o0rEHtPmkyZRivzTi/4HAwSBBBfl5CXxFq7QpsQMAZxTsVZDVQsBCgEEgQQH+uMOKYhy0uJMhdCBN9YNAwSBBAFt7nTtw70SZFkGE1GbkWsDVgsBCgEEgQQdZ6YkVxDK0eAjaDLHe+U4wwSBBBfl5CXxFq7QpsQMAZxTsVZDVwsBCgEEgQQM3YuVsqsz0O4n/jX90PyIgwSBBBfl5CXxFq7QpsQMAZxTsVZDWAsBCgEEgQQH+uMOKYhy0uJMhdCBN9YNAwSBBBfl5CXxFq7QpsQMAZxTsVZDWQsBCgEEgQQM3YuVsqsz0O4n/jX90PyIgwSBBAFt7nTtw70SZFkGE1GbkWsDWgsBCgEEgQQWZ9h5liRP0iEKp689x5lRgwSBBBfl5CXxFq7QpsQMAZxTsVZDWwsBCgEEgQQwqHEVOV/GEKGOrIB1QvRAQwSBBBfl5CXxFq7QpsQMAZxTsVZDXAsBCgEEgQQ2o0rEHtPmkyZRivzTi/4HAwSBBAFt7nTtw70SZFkGE1GbkWsDXQsBCgEEgQQdZ6YkVxDK0eAjaDLHe+U4wwSBBAFt7nTtw70SZFkGE1GbkWsDXgsBCgEEgQQWZ9h5liRP0iEKp689x5lRgwSBBAFt7nTtw70SZFkGE1GbkWsDXwtBCgEEgQQ5PInsc7xekOZNXqmuIfDUgwSBBAFt7nTtw70SZFkGE1GbkWsDYABLQQoBBIEEOTyJ7HO8XpDmTV6priHw1IMEgQQX5eQl8Rau0KbEDAGcU7FWQ2EAS0EKAQSBBDCocRU5X8YQoY6sgHVC9EBDBIEEAW3udO3DvRJkWQYTUZuRawNiAEwGgQSBBDajSsQe0+aTJlGK/NOL/gcDAJDMRAANBoEEgQQH+uMOKYhy0uJMhdCBN9YNAwCQzIQADgaBBIEEHWemJFcQytHgI2gyx3vlOMMAkMzEAA8GgQSBBAzdi5WyqzPQ7if+Nf3Q/IiDAJDNBAAQBoEEgQQWZ9h5liRP0iEKp689x5lRgwCQzUQAEQaBBIEEOTyJ7HO8XpDmTV6priHw1IMAkM2EABIGwQSBBDCocRU5X8YQoY6sgHVC9EBDANDMTIQAEwaBBIEEF+XkJfEWrtCmxAwBnFOxVkMAlIxEABQGgQSBBAFt7nTtw70SZFkGE1GbkWsDAJSNhAAVAYNjAEVkAFYBg2UARWYAVwGDYwBFZwBYAYNjAEVoAFkBg2MARWkAWgGDZQBFagBbAYNjAEVrAFwBg2wARW0AXQGDbgBFbwBeAYNlAEVwAF8Bg2UARXEAYABBg2UARXIAYQBBg2MARXMAYgBBg2wARXQAYwBAgQAkAEFBAMF1AGUAQIEAJgBBQQDBdgBnAEFBAMF3AGgAQUEAwXgAaQBBQQDBeQBqAEFBAMF6AGsAQUEAwXsAbABAgQAtAEFBAMF8AG4AQIEALwBBQQDBfQBwAEFBAMF+AHEAQUEAwX8AcgBBQQDBYACzAEFBAMFhALQAQUEAwWIAtQBAgEA2AEFAQGNAkTcAQUBAZUCROABBQEBmQJE5AEFAQGdAkToAQUBAaECROwBBQEBpQJE8AEFAQGpAkT0AQUBAa0CRPgBBQEBsQJE/AEFAQG1AkSAAgUBAbkCRIQCBQEBvQJEiAIFAQHBAkSSAi9BbHR1YS5EYXRhLkluZnJhc3RydWN0dXJlLlBhcmFncmFwaCwgQWx0dWEuRGF0YY0CRAUMAwXEApUCRAUMAwXIApkCRAUMAwXMAp0CRAUMAwXQAqECRAUMAwXUAqUCRAUMAwXYAqkCRAUMAwXcAq0CRAUMAwXgArECRAUMAwXkArUCRAUMAwXoArkCRAUMAwXsAr0CRAUMAwXwAsECRAUMAwX0AsQCBQEB+QJfyAIFAQGBA2HMAgUBAYkDYdACBQEBjQNh1AIFAQGRA1/YAgUBAZUDYdwCBQEBmQNh4AIFAQGdA1/kAgUBAaEDX+gCBQEBpQNf7AIFAQGpA1/wAgUBAa0DYfQCBQEBsQNf/gIvQWx0dWEuRGF0YS5JbmZyYXN0cnVjdHVyZS5OdW1iZXJSdW4sIEFsdHVhLkRhdGH5Al8SBA0DAAAAAAAAREAdtQNuDbwDhgMtQWx0dWEuRGF0YS5JbmZyYXN0cnVjdHVyZS5UZXh0UnVuLCBBbHR1YS5EYXRhgQNhDwQKMyAtIDUgbWlsbA3AA4kDYRAECzYgLSAyMCBtaWxsDcQDjQNhFgQRTWluZHJlIGVubiAzIG1pbGwNyAORA18SBA0DAAAAAACATUAdzQNuDdADlQNhEQQMMjEgLSA1MCBtaWxsDdQDmQNhEgQNT3ZlciAxMDAgbWlsbA3YA50DXxIEDQMAAAAAAKCfQB3dA24N4AOhA18SBA0DAAAAAAAASUAd5QNuDegDpQNfEgQNAwAAAAAAQFNAHe0Dbg3wA6kDXxIEDQMAAAAAAEBRQB31A24N+AOtA2ESBA01MSAtIDEwMCBtaWxsDfwDsQNfEgQNAwAAAAAAQFVAHYEEbg2EBLoDPUFsdHVhLkRhdGEuTnVtYmVyRm9ybWF0dGluZy5Db21wb3NpdGVOdW1iZXJGb3JtYXQsIEFsdHVhLkRhdGG1A24LHYgEJYwENZAEPQC8AxIEABwAJAAsADQAPABMAFQAXQDAAxIEABwAJAAsADQAPABMAFQAXQDEAxIEABwAJAAsADQAPABMAFQAXQDIAxIEABwAJAAsADQAPABMAFQAXQDNA24LHZQEJZgENZwEPQDQAxIEABwAJAAsADQAPABMAFQAXQDUAxIEABwAJAAsADQAPABMAFQAXQDYAxIEABwAJAAsADQAPABMAFQAXQDdA24LHaAEJaQENagEPQDgAxIEABwAJAAsADQAPABMAFQAXQDlA24LHawEJbAENbQEPQDoAxIEABwAJAAsADQAPABMAFQAXQDtA24LHbgEJbwENcAEPQDwAxIEABwAJAAsADQAPABMAFQAXQD1A24LHcQEJcgENcwEPQD4AxIEABwAJAAsADQAPABMAFQAXQD8AxIEABwAJAAsADQAPABMAFQAXQCBBG4LHdAEJdQENdgEPQCEBBIEABwAJAAsADQAPABMAFQAXQCIBAkAAAwDBdwEEQCMBAkAAAwDBeAEEQCQBAoEASwMAS4UAmtylAQJAAAMAwXkBBEAmAQJAAAMAwXoBBEAnAQKBAEsDAEuFAJrcqAECQAADAMF7AQRAKQECQAADAMF8AQRAKgECgQBLAwBLhQCa3KsBAkAAAwDBfQEEQCwBAkAAAwDBfgEEQC0BAoEASwMAS4UAmtyuAQJAAAMAwX8BBEAvAQJAAAMAwWABREAwAQKBAEsDAEuFAJrcsQECQAADAMFhAURAMgECQAADAMFiAURAMwECgQBLAwBLhQCa3LQBAkAAAwDBYwFEQDUBAkAAAwDBZAFEQDYBAoEASwMAS4UAmty3AQGAQGVBaYB4AQKAQKdBagBlQWmAeQEBgEBpQWmAegECgECqQWoAaUFpgHsBAYBAa0FpgHwBAoBArEFqAGtBaYB9AQGAQG1BaYB+AQKAQK5BagBtQWmAfwEBgEBvQWmAYAFCgECwQWoAb0FpgGEBQYBAcUFpgGIBQoBAskFqAHFBaYBjAUGAQHNBaYBkAUKAQLRBagBzQWmAZoFQEFsdHVhLkRhdGEuTnVtYmVyRm9ybWF0dGluZy5OdW1iZXJGb3JtYXRWYWx1ZVNlZ21lbnQsIEFsdHVhLkRhdGGVBaYBBQQDBdQFogU/QWx0dWEuRGF0YS5OdW1iZXJGb3JtYXR0aW5nLk51bWJlckZvcm1hdFRleHRTZWdtZW50LCBBbHR1YS5EYXRhnQWoAQUEAS0JAaUFpgEFBAMF2AWpBagBBQQBLQkBrQWmAQUEAwXcBbEFqAEFBAEtCQG1BaYBBQQDBeAFuQWoAQUEAS0JAb0FpgEFBAMF5AXBBagBBQQBLQkBxQWmAQUEAwXoBckFqAEFBAEtCQHNBaYBBQQDBewF0QWoAQUEAS0JAdQFBgEB8QW9AdgFBgEB8QW9AdwFBgEB+QW9AeAFBgEB8QW9AeQFBgEB8QW9AegFBgEB8QW9AewFBgEB8QW9AfYFOUFsdHVhLkRhdGEuTnVtYmVyRm9ybWF0dGluZy5OdW1iZXJQbGFjZWhvbGRlciwgQWx0dWEuRGF0YfEFvQEFAjAAAAD5Bb0BBQIwAAAA"/>
  <p:tag name="GRUNT-RENDERHASH" val="cf8b425e824a7e9b89fa0ee2ee8eab1e-svg"/>
  <p:tag name="GRUNT-X-SHAPEBOUNDS" val="ASIBBAAAAKBte1BAAAAA4La/ZkAAAACAJO9wQAAAAMBXE3FAAA=="/>
  <p:tag name="GRUNT-X-PAGEOBJECT" val="AQUCvTIKOEFsdHVhLk9hay5Db3JlLkRvY3VtZW50TW9kZWwuQ2hhcnRPYmplY3QsIEFsdHVhLk9hay5Db3JlBQI1BBIEEN+UJYL/fxtDkSzqOp9rTEQMEgQQIiUAlO66g06a7azEmzUskRUNBCUUNRg9HFUgZSQSUEFsdHVhLk9hay5Db3JlLkRvY3VtZW50TW9kZWwuVGVtcGxhdGluZy5DdXN0b21Qb3NpdGlvbkRlZmluaXRpb24sIEFsdHVhLk9hay5Db3JlDQQkBCIBBED8/5RtO1FAFACg5bYfZ0B4//98JI9wQCgAgCpJ4GtAFBMVKB0sNTA4AEU1DkwCBTxVQF1EGAQEAgVIHAIFTCALBVAMBW5iLU5PFVQkDgEBCQERARkBIQEpATEBKBYEEgQQAAAAAAAAAAAAAAAAAAAAAAgBLBYEEgQQAAAAAAAAAAAAAAAAAAAAAAgBMAA6N0FsdHVhLk9hay5Db3JlLkNoYXJ0LkxpbmVQbG90RGVmaW5pdGlvbiwgQWx0dWEuT2FrLkNvcmU1DkYAAAgEJVg8EgQQKfnqMs3XIUm4bWoiSzFJz0QCBVxVYFkBcwAAAAAAAPA/fAIFZIUBaRuRAQGdAXClAXUeqQEAtQF8uQEAPAYBAoABhAFABQWIAQ0ARAIBAEgCAQBMAFAKBAEsDAEgFAJrclQJBAVuYi1OTwgBWA0AAAgBFAMFjAEcACUAXAIBAGAmBCIBBAAAAAAAABBAAAAAAAAAEEAAAAAAAAAQQAAAAAAAABBACARkBAEBkAFuRUFsdHVhLk9hay5Db3JlLlBsb3R0aW5nLkF1dG9tYXRpY0NhdGVnb3J5QXhpc1NldHRpbmdzLCBBbHR1YS5PYWsuQ29yZWkbEwEBDZQBEAAZATAAPZgBRZwBSAFwBgWhASkIAno9QWx0dWEuT2FrLkNvcmUuVGhlbWluZy5QYWdlQ29sb3JTY2hlbWVQb2ludGVyLCBBbHR1YS5PYWsuQ29yZXUeAHxKNagBPawBRbABVbQBXbgBdbwBjQHAAZ0BxAGlAcgBrQHMAc0B0AHVAdQB3QHYAeUB3AHtAeAB9QHkAf0B6AGFAuwBjQLwAZUC9AGAAUgEEgQQF/fU+/rkS0KjMEQe6grewyQSBBCfU7i5Q7LmTYqjngpAomrSLBIEENebR4VB+U5LqT3DL52rkmo9+QE/RYACSQFdhAKEAUgEEgQQBbe507cO9EmRZBhNRm5FrCQSBBB9aSDeSXU3TZNMOE19FbqrLBIEENebR4VB+U5LqT3DL52rkmo9+QE/RYgCSQFdjAKIAQCMAQIBAJABQgEBGAMlkAIpADEAQABIAlWUAl2YAmQSBBDXm0eFQflOS6k9wy+dq5JqbZwCdaACjQGkApEBAZ0BqAKlAawCtQGwApQBAgEAmAEGBbUCTggEnAEGBb0CTggEpgE6QWx0dWEuT2FrLkNvcmUuVGhlbWluZy5CaW5kaW5nQ29sb3JQb2ludGVyLCBBbHR1YS5PYWsuQ29yZaEBKQQFwQJRqAEFBAMFyAKsAQUEAwXMArABBQQDBdACtAEFBAMF1AK4AQUEAwXYArwBBQQDBcgCwAEFBAMF3ALEAQUEAwXgAsgBBQQDBeQCzAEFBAMF6ALQAQUEAwXsAtQBBQQDBfAC2AEFBAMF9ALcAQUEAwX4AuABBQQDBfwC5AEFBAMFgAPoAQUEAwWEA+wBBQQDBYgD8AEFBAMFjAP0AQUEAwWQA/4BPkFsdHVhLk9hay5Db3JlLkNoYXJ0LkRlZmF1bHRQbG90U2VyaWVzU2V0dGluZ3MsIEFsdHVhLk9hay5Db3Jl+QE/AIACBAUACAGEAgUFlAMIAYgCBAUACAGMAgUFmAMIAZACCwMAAAAAAAAkQAgClAILAwAAAAAAADRACAKYAgsDAAAAAAAAAAAIAZwCFQWcAw2gAxWkAx2oAyWsAy2wAzW0A6ACBw24AxW9A06kAgsDAAAAAAAAAAAIBKgCBgXBA04IBKwCBgXBA04IBLACBQQDBcQDugIzQWx0dWEuT2FrLkNvcmUuVGhlbWluZy5Db2xvclBvaW50ZXIsIEFsdHVhLk9hay5Db3JltQJOUFBQ/70CTlBQUP/GAkhBbHR1YS5PYWsuQ29yZS5TeW50YXhTdHJ1Y3R1cmUuUGxvdFNlcmllc0JpbmRpbmdTdHJhdGVneSwgQWx0dWEuT2FrLkNvcmXBAlEAyAICAQDMAhYBCsgDzAPQA9QD2APcA+AD5APoA+wD0AIEAQHwA9QCBAEB9APYAgQBAfgD3AICAQDgAgIBAOQCDgEG/AOABIQEiASMBJAE6AICAQDsAhQBCZQEmAScBKAEpASoBKwEsAS0BPACEgEIuAS8BMAExATIBMwE0ATUBPQCAgEA+AIEAQHYBPwCCgEE3ATgBOQE6ASAAwIBAIQDAgEAiAMCAQCMAwIBAJADAgEAlAMFBAMF7ASYAwUEAwXwBJwDBwQDBAEACASgAwUEAS4IBKQDBAABCASoAwQAAAgErAMEBAAIBLADBAQACAS0AwQAAAgEuAMFBAMF9AS9A04+PuX/wQNOUFBQ/8QDAgEAyAMOBfkEnwELAAAAAAAAAADMAw4FgQWhAQsAAAAAAADgP9ADDgWJBaMBCwAAAAAAAOA/1AMOBZEFpQELAAAAAAAA4D/YAw4FmQWnAQsAAAAAAAD4P9wDDgWhBakBCwAAAAAAAOA/4AMOBakFqwELAAAAAAAAGEDkAw4FsQWtAQsAAAAAAAAAAOgDDgW5BasBCwAAAAAAABhA7AMOBb0FsAELAAAAAAAAAADwAwgFxQWlAQ3IBfQDBwXNBbQBCAH4Aw4FzQW0AQsAAAAAAAAkQPwDCQXVBbYBDd0FKYAECgXhBakBDeUFugGEBAoF7QWhAQ3xBboBiAQKBfUFowEN+QW6AYwECQX9BcABDYUGTpAECgXNBbQBDYkGugGUBAcFjQbEAQkBmAQHBZUGxgEJAZwEBwWdBsgBCQGgBAcFpQbKAQkApAQHBa0GygEJAagEBwWxBs0BCQCsBAcFuQbNAQkAsAQHBb0G0AEJALQEBwXFBs0BCQC4BAoFyQbTAQ3RBtUBvAQKBdkG1wEN4QbZAcAECgXpBsoBDe0G3AHEBAoF9QbEAQ35Bt8ByAQKBYEHxgEN+QbfAcwECgWFB8gBDYkH4wHQBAoFkQfKAQ2VB+YB1AQKBZ0H6AENpQfqAdgECgWtB+wBDbUH7gHcBAoFvQfEAQ3BB/EB4AQKBckH1wENzQfxAeQECgXRB8YBDdUH8QHoBAoF2QfTAQ3dB/EB7AQGAQHhB/kB8AQGAQHpB/kB9AQEAQIBBP4EWUFsdHVhLk9hay5Db3JlLk1vZGlmaWNhdGlvbi5TdHlsaW5nLlZhbHVlQXhpc0dyaWRsaW5lc0N1c3RvbWl6YXRpb25UYXJnZXQsIEFsdHVhLk9hay5Db3Jl+QSfAQCGBVNBbHR1YS5PYWsuQ29yZS5Nb2RpZmljYXRpb24uU3R5bGluZy5DYXRlZ29yeUF4aXNDdXN0b21pemF0aW9uVGFyZ2V0LCBBbHR1YS5PYWsuQ29yZYEFoQEAjgVQQWx0dWEuT2FrLkNvcmUuTW9kaWZpY2F0aW9uLlN0eWxpbmcuT3JpZ29MaW5lQ3VzdG9taXphdGlvblRhcmdldCwgQWx0dWEuT2FrLkNvcmWJBaMBAJYFXUFsdHVhLk9hay5Db3JlLk1vZGlmaWNhdGlvbi5TdHlsaW5nLkFsbENvbm5lY3RvcnNBdXhpbGlhcnlDdXN0b21pemF0aW9uVGFyZ2V0LCBBbHR1YS5PYWsuQ29yZZEFpQEAngVZQWx0dWEuT2FrLkNvcmUuTW9kaWZpY2F0aW9uLlN0eWxpbmcuU2VyaWVzV2l0aFBsb3RLaW5kQ3VzdG9taXphdGlvblRhcmdldCwgQWx0dWEuT2FrLkNvcmWZBacBAwXsB6YFU0FsdHVhLk9hay5Db3JlLk1vZGlmaWNhdGlvbi5TdHlsaW5nLkFsbFZhbHVlQXhpc0N1c3RvbWl6YXRpb25UYXJnZXQsIEFsdHVhLk9hay5Db3JloQWpAQCuBU1BbHR1YS5PYWsuQ29yZS5Nb2RpZmljYXRpb24uU3R5bGluZy5TZXJpZXNDdXN0b21pemF0aW9uVGFyZ2V0LCBBbHR1YS5PYWsuQ29yZakFqwEUBBIEEH1pIN5JdTdNk0w4TX0Vuqu2BVtBbHR1YS5PYWsuQ29yZS5Nb2RpZmljYXRpb24uU3R5bGluZy5HcmlkbGluZUZvckRpcmVjdGlvbkN1c3RvbWl6YXRpb25UYXJnZXQsIEFsdHVhLk9hay5Db3JlsQWtAQIBAbkFqwEUBBIEEJ9TuLlDsuZNiqOeCkCiatLCBVZBbHR1YS5PYWsuQ29yZS5Nb2RpZmljYXRpb24uU3R5bGluZy5TaW5nbGVWYWx1ZUF4aXNDdXN0b21pemF0aW9uVGFyZ2V0LCBBbHR1YS5PYWsuQ29yZb0FsAEUBBIEENebR4VB+U5LqT3DL52rkmrFBaUBAMgFBQwDBfAH0gVTQWx0dWEuT2FrLkNvcmUuTW9kaWZpY2F0aW9uLlN0eWxpbmcuU2VyaWVzTWFya2VyQ3VzdG9taXphdGlvblRhcmdldCwgQWx0dWEuT2FrLkNvcmXNBbQBFAQSBBB9aSDeSXU3TZNMOE19Fbqr2gVWQWx0dWEuT2FrLkNvcmUuTW9kaWZpY2F0aW9uLlN0eWxpbmcuQWxsU2VyaWVzTWFya2VyQ3VzdG9taXphdGlvblRhcmdldCwgQWx0dWEuT2FrLkNvcmXVBbYBAN0FKQQF9QdR4QWpAQDqBTdBbHR1YS5PYWsuQ29yZS5UaGVtaW5nLlBhZ2VDb2xvclBvaW50ZXIsIEFsdHVhLk9hay5Db3Jl5QW6AQQAAAgA7QWhAQDxBboBBAAACAD1BaMBAPkFugEEAAAIAIIGU0FsdHVhLk9hay5Db3JlLk1vZGlmaWNhdGlvbi5TdHlsaW5nLkFsbEdyaWRsaW5lc0N1c3RvbWl6YXRpb25UYXJnZXQsIEFsdHVhLk9hay5Db3Jl/QXAAQCFBk6AgID/iQa6AQQAAAgAkgZYQWx0dWEuT2FrLkNvcmUuTW9kaWZpY2F0aW9uLlN0eWxpbmcuQWxsVmFsdWVBeGlzTGFiZWxDdXN0b21pemF0aW9uVGFyZ2V0LCBBbHR1YS5PYWsuQ29yZY0GxAEAmgZXQWx0dWEuT2FrLkNvcmUuTW9kaWZpY2F0aW9uLlN0eWxpbmcuQWxsQ2F0ZWdvcnlMYWJlbEN1c3RvbWl6YXRpb25UYXJnZXQsIEFsdHVhLk9hay5Db3JllQbGAQCiBlhBbHR1YS5PYWsuQ29yZS5Nb2RpZmljYXRpb24uU3R5bGluZy5BbGxBdXhpbGlhcnlMYWJlbEN1c3RvbWl6YXRpb25UYXJnZXQsIEFsdHVhLk9hay5Db3JlnQbIAQCqBlhBbHR1YS5PYWsuQ29yZS5Nb2RpZmljYXRpb24uU3R5bGluZy5TZXJpZXNMYWJlbE9mVHlwZUN1c3RvbWl6YXRpb25UYXJnZXQsIEFsdHVhLk9hay5Db3JlpQbKAQIAAq0GygECAAC2BlpBbHR1YS5PYWsuQ29yZS5Nb2RpZmljYXRpb24uU3R5bGluZy5WYWx1ZUF4aXNUaXRsZUxhYmVsQ3VzdG9taXphdGlvblRhcmdldCwgQWx0dWEuT2FrLkNvcmWxBs0BFAQSBBCDpC2HMEgfQ7cJxO+pD9ykuQbNARQEEgQQukdhA1zTQECCVSAeItEioMIGVUFsdHVhLk9hay5Db3JlLk1vZGlmaWNhdGlvbi5TdHlsaW5nLlZhbHVlQXhpc0xhYmVsQ3VzdG9taXphdGlvblRhcmdldCwgQWx0dWEuT2FrLkNvcmW9BtABFAQSBBDXm0eFQflOS6k9wy+dq5JqxQbNARQEEgQQ15tHhUH5TkupPcMvnauSas4GWEFsdHVhLk9hay5Db3JlLk1vZGlmaWNhdGlvbi5TdHlsaW5nLkNhdGVnb3J5QXhpc1RpdGxlQ3VzdG9taXphdGlvblRhcmdldCwgQWx0dWEuT2FrLkNvcmXJBtMBANYGRkFsdHVhLk9hay5Db3JlLlBsb3R0aW5nLkF4aXNUaXRsZUxhYmVsUGxhY2VtZW50T3V0c2lkZSwgQWx0dWEuT2FrLkNvcmXRBtUBAgAB3gZdQWx0dWEuT2FrLkNvcmUuTW9kaWZpY2F0aW9uLlN0eWxpbmcuQWxsVmFsdWVBeGlzVGl0bGVMYWJlbEN1c3RvbWl6YXRpb25UYXJnZXQsIEFsdHVhLk9hay5Db3Jl2QbXAQDmBkJBbHR1YS5PYWsuQ29yZS5QbG90dGluZy5BeGlzVGl0bGVMYWJlbFBsYWNlbWVudEZhciwgQWx0dWEuT2FrLkNvcmXhBtkBAgAA6QbKAQIAAPIGQEFsdHVhLk9hay5Db3JlLlBsb3R0aW5nLkxhYmVsUGxhY2VtZW50UG9pbnRPdXRlciwgQWx0dWEuT2FrLkNvcmXtBtwBAPUGxAEA/gZBQWx0dWEuT2FrLkNvcmUuUGxvdHRpbmcuQXhpc0xhYmVsUGxhY2VtZW50T3V0c2lkZSwgQWx0dWEuT2FrLkNvcmX5Bt8BAgEAgQfGAQCFB8gBAI4HRkFsdHVhLk9hay5Db3JlLlBsb3R0aW5nLkF1eGlsaWFyeUxhYmVsUGxhY2VtZW50RGVmYXVsdCwgQWx0dWEuT2FrLkNvcmWJB+MBAJEHygECAAKaB0NBbHR1YS5PYWsuQ29yZS5QbG90dGluZy5MYWJlbFBsYWNlbWVudFNlcmllc091dHNpZGUsIEFsdHVhLk9hay5Db3JllQfmAQIAAaIHUkFsdHVhLk9hay5Db3JlLk1vZGlmaWNhdGlvbi5TdHlsaW5nLlNlcmllc0xhYmVsQ3VzdG9taXphdGlvblRhcmdldCwgQWx0dWEuT2FrLkNvcmWdB+gBFgQSBBB9aSDeSXU3TZNMOE19FbqrCACqB0BBbHR1YS5PYWsuQ29yZS5QbG90dGluZy5MYWJlbFBsYWNlbWVudFBvaW50SW5uZXIsIEFsdHVhLk9hay5Db3JlpQfqAQCyB1BBbHR1YS5PYWsuQ29yZS5Nb2RpZmljYXRpb24uU3R5bGluZy5BbGxMYWJlbHNDdXN0b21pemF0aW9uVGFyZ2V0LCBBbHR1YS5PYWsuQ29yZa0H7AEAugdCQWx0dWEuT2FrLkNvcmUuU3ludGF4U3RydWN0dXJlLkFjdHVhbEZvbnRTaXplVmFsdWUsIEFsdHVhLk9hay5Db3JltQfuAQkDAAAAAAAAKEC9B8QBAMYHQ0FsdHVhLk9hay5Db3JlLlN5bnRheFN0cnVjdHVyZS5BY3R1YWxGb250Q29sb3JWYWx1ZSwgQWx0dWEuT2FrLkNvcmXBB/EBBQX5B7oByQfXAQDNB/EBBQX9B7oB0QfGAQDVB/EBBQWBCLoB2QfTAQDdB/EBBQWFCLoB5gcvQWx0dWEuRGF0YS5JbmZyYXN0cnVjdHVyZS5QYXJhZ3JhcGgsIEFsdHVhLkRhdGHhB/kBBQwDBYgI6Qf5AQUMAwWMCOwHAQXwBwoBAgAAgEAAAEBA9QdRAPkHugEEAAAIAP0HugEEAAAIAIEIugEEAAAIAIUIugEEAAAIAIgIBgEBkQiFAowIBgEBmQiFApYIL0FsdHVhLkRhdGEuSW5mcmFzdHJ1Y3R1cmUuTnVtYmVyUnVuLCBBbHR1YS5EYXRhkQiFAhMEDgMAAAAAAJyfQB2dCIgCDaQImQiFAhMEDgMAAAAAAKCfQB2pCIgCDawIogg9QWx0dWEuRGF0YS5OdW1iZXJGb3JtYXR0aW5nLkNvbXBvc2l0ZU51bWJlckZvcm1hdCwgQWx0dWEuRGF0YZ0IiAILHbAIJbQINbgIPQCkCBIEABwAJAAsADQAPABMAFQAXQCpCIgCCx28CCXACDXECD0ArAgSBAAcACQALAA0ADwATABUAF0AsAgJAAAMAwXICBEAtAgJAAAMAwXMCBEAuAgKBAEsDAEuFAJrcrwICQAADAMF0AgRAMAICQAADAMF1AgRAMQICgQBLAwBLhQCa3LICAYBAdkIlwLMCAoBAuEImQLZCJcC0AgGAQHpCJcC1AgKAQLtCJkC6QiXAt4IQEFsdHVhLkRhdGEuTnVtYmVyRm9ybWF0dGluZy5OdW1iZXJGb3JtYXRWYWx1ZVNlZ21lbnQsIEFsdHVhLkRhdGHZCJcCBQQDBfAI5gg/QWx0dWEuRGF0YS5OdW1iZXJGb3JtYXR0aW5nLk51bWJlckZvcm1hdFRleHRTZWdtZW50LCBBbHR1YS5EYXRh4QiZAgUEAS0JAekIlwIFBAMF9AjtCJkCBQQBLQkB8AgGAQH5CJ8C9AgGAQH5CJ8C/gg5QWx0dWEuRGF0YS5OdW1iZXJGb3JtYXR0aW5nLk51bWJlclBsYWNlaG9sZGVyLCBBbHR1YS5EYXRh+QifAgUCMAAAAA=="/>
  <p:tag name="GRUNT-SYNC" val="552d731a3a7b431fb5aef28d331c425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3.267.0"/>
  <p:tag name="GRUNT-X-DATASERVICE" val="AQUC/C8KN0FsdHVhLkRhdGEuRGF0YVNlcnZpY2VzLkVtYmVkZGVkRGF0YVNlcnZpY2UsIEFsdHVhLkRhdGEFAhkEEgQQYiAg1QKsz02dnFlrs4UU7g0MJREFDAYFGAgQEAkWQUFsdHVhLkRhdGEuRGF0YVNlcnZpY2VzLkVtYmVkZGVkRGF0YVNlcnZpY2VFZGl0b3JEYXRhLCBBbHR1YS5EYXRhEQUEBRwNIBgGBSQNKBUsHDwdBBIEENNz8cQb9wFOoDLwDWItJDkLAAAAAAAAHEAdBBIEEB/rjDimIctLiTIXQgTfWDQLAAAAAAAgYkAgWh0EEgQQhB+R4huFNUGwuFZrPUlJDwsAAAAAAAAyQB0EEgQQ+SxZ/v3fb0W5/mfTI9KrIwsAAAAAAAAyQB0EEgQQF/fU+/rkS0KjMEQe6grewwsAAAAAAAAyQCQKMDQ4PEBESExQVCgEWFxgZCygDSwEKAQSBBCKWj5BcGPBTbHTyqPdE0jfDBIEEAW3udO3DvRJkWQYTUZuRawNaCwEKAQSBBDajSsQe0+aTJlGK/NOL/gcDBIEEF+XkJfEWrtCmxAwBnFOxVkNbCwEKAQSBBDk8iexzvF6Q5k1eqa4h8NSDBIEEDh+rR00hC1PvyYmZf6MkpoNcCwEKAQSBBAf64w4piHLS4kyF0IE31g0DBIEEAW3udO3DvRJkWQYTUZuRawNdCwEKAQSBBB1npiRXEMrR4CNoMsd75TjDBIEEF+XkJfEWrtCmxAwBnFOxVkNeCwEKAQSBBAzdi5WyqzPQ7if+Nf3Q/IiDBIEENvXJMtfCcRFlr7Z9NSNu0UNfC0EKAQSBBDU3xvo7AESSp7p38Gql7BlDBIEEAW3udO3DvRJkWQYTUZuRawNgAEtBCgEEgQQM3YuVsqsz0O4n/jX90PyIgwSBBBfl5CXxFq7QpsQMAZxTsVZDYQBLQQoBBIEEB/rjDimIctLiTIXQgTfWDQMEgQQX5eQl8Rau0KbEDAGcU7FWQ2IAS0EKAQSBBAzdi5WyqzPQ7if+Nf3Q/IiDBIEEDh+rR00hC1PvyYmZf6MkpoNjAEtBCgEEgQQwqHEVOV/GEKGOrIB1QvRAQwSBBDb1yTLXwnERZa+2fTUjbtFDZABLQQoBBIEEHWemJFcQytHgI2gyx3vlOMMEgQQOH6tHTSELU+/JiZl/oySmg2UAS0EKAQSBBAf64w4piHLS4kyF0IE31g0DBIEEDh+rR00hC1PvyYmZf6MkpoNmAEtBCgEEgQQdZ6YkVxDK0eAjaDLHe+U4wwSBBDb1yTLXwnERZa+2fTUjbtFDZwBLQQoBBIEEDN2LlbKrM9DuJ/41/dD8iIMEgQQBbe507cO9EmRZBhNRm5FrA2gAS0EKAQSBBBZn2HmWJE/SIQqnrz3HmVGDBIEEF+XkJfEWrtCmxAwBnFOxVkNpAEtBCgEEgQQ1N8b6OwBEkqe6d/BqpewZQwSBBBfl5CXxFq7QpsQMAZxTsVZDagBLQQoBBIEEMKhxFTlfxhChjqyAdUL0QEMEgQQX5eQl8Rau0KbEDAGcU7FWQ2sAS0EKAQSBBDU3xvo7AESSp7p38Gql7BlDBIEEDh+rR00hC1PvyYmZf6MkpoNsAEtBCgEEgQQwqHEVOV/GEKGOrIB1QvRAQwSBBA4fq0dNIQtT78mJmX+jJKaDbQBLQQoBBIEEFixzlBz0fpLln0SkOpk3ooMEgQQ29cky18JxEWWvtn01I27RQ24AS0EKAQSBBAf64w4piHLS4kyF0IE31g0DBIEENvXJMtfCcRFlr7Z9NSNu0UNvAEtBCgEEgQQilo+QXBjwU2x08qj3RNI3wwSBBA4fq0dNIQtT78mJmX+jJKaDcABLQQoBBIEENqNKxB7T5pMmUYr804v+BwMEgQQOH6tHTSELU+/JiZl/oySmg3EAS0EKAQSBBDajSsQe0+aTJlGK/NOL/gcDBIEEAW3udO3DvRJkWQYTUZuRawNyAEtBCgEEgQQilo+QXBjwU2x08qj3RNI3wwSBBDb1yTLXwnERZa+2fTUjbtFDcwBLQQoBBIEEFixzlBz0fpLln0SkOpk3ooMEgQQOH6tHTSELU+/JiZl/oySmg3QAS0EKAQSBBB1npiRXEMrR4CNoMsd75TjDBIEEAW3udO3DvRJkWQYTUZuRawN1AEtBCgEEgQQWLHOUHPR+kuWfRKQ6mTeigwSBBAFt7nTtw70SZFkGE1GbkWsDdgBLQQoBBIEEFmfYeZYkT9IhCqevPceZUYMEgQQBbe507cO9EmRZBhNRm5FrA3cAS0EKAQSBBBYsc5Qc9H6S5Z9EpDqZN6KDBIEEF+XkJfEWrtCmxAwBnFOxVkN4AEtBCgEEgQQWZ9h5liRP0iEKp689x5lRgwSBBA4fq0dNIQtT78mJmX+jJKaDeQBLQQoBBIEEOTyJ7HO8XpDmTV6priHw1IMEgQQBbe507cO9EmRZBhNRm5FrA3oAS0EKAQSBBDk8iexzvF6Q5k1eqa4h8NSDBIEEF+XkJfEWrtCmxAwBnFOxVkN7AEtBCgEEgQQwqHEVOV/GEKGOrIB1QvRAQwSBBAFt7nTtw70SZFkGE1GbkWsDfABLQQoBBIEENqNKxB7T5pMmUYr804v+BwMEgQQ29cky18JxEWWvtn01I27RQ30AS0EKAQSBBCKWj5BcGPBTbHTyqPdE0jfDBIEEF+XkJfEWrtCmxAwBnFOxVkN+AEwGgQSBBDajSsQe0+aTJlGK/NOL/gcDAJDMRAANBoEEgQQH+uMOKYhy0uJMhdCBN9YNAwCQzIQADgaBBIEEHWemJFcQytHgI2gyx3vlOMMAkMzEAA8GgQSBBAzdi5WyqzPQ7if+Nf3Q/IiDAJDNBAAQBoEEgQQWZ9h5liRP0iEKp689x5lRgwCQzUQAEQaBBIEEOTyJ7HO8XpDmTV6priHw1IMAkM2EABIGwQSBBDCocRU5X8YQoY6sgHVC9EBDANDMTIQAEwbBBIEEIpaPkFwY8FNsdPKo90TSN8MA0MxMxAAUBsEEgQQWLHOUHPR+kuWfRKQ6mTeigwDQzE0EABUGwQSBBDU3xvo7AESSp7p38Gql7BlDANDMTUQAFgaBBIEEF+XkJfEWrtCmxAwBnFOxVkMAlIxEABcGgQSBBAFt7nTtw70SZFkGE1GbkWsDAJSNhAAYBoEEgQQOH6tHTSELU+/JiZl/oySmgwCUjcQAGQaBBIEENvXJMtfCcRFlr7Z9NSNu0UMAlI4EABoBg38ARWAAmwGDYQCFYgCcAYNjAIVkAJ0Bg2UAhWYAngGDYQCFZwCfAYNjAIVoAKAAQYN/AEVpAKEAQYNhAIVqAKIAQYNhAIVrAKMAQYNjAIVsAKQAQYNjAIVtAKUAQYNjAIVuAKYAQYNjAIVvAKcAQYNjAIVwAKgAQYNlAIVxAKkAQYNhAIVyAKoAQYN/AEVzAKsAQYN0AIV1AKwAQYNjAIV2AK0AQYNjAIV3AK4AQYNjAIV4AK8AQYNjAIV5ALAAQYNjAIV6ALEAQYNjAIV7ALIAQYN8AIV9ALMAQYNjAIV+ALQAQYNjAIV/ALUAQYNlAIVgAPYAQYN/AEVhAPcAQYNlAIViAPgAQYN/AEVjAPkAQYNjAIVkAPoAQYNlAIVlAPsAQYNhAIVmAPwAQYN0AIVnAP0AQYNjAIVoAP4AQYN/AEVpAP8AQIEAIACBQQDBagDhAICBACIAgUEAwWsA4wCAgQAkAIFBAMFsAOUAgIEAJgCBQQDBbQDnAIFBAMFuAOgAgUEAwW8A6QCBQQDBcADqAIFBAMFxAOsAgUEAwXIA7ACBQQDBcwDtAIFBAMF0AO4AgUEAwXUA7wCBQQDBdgDwAIFBAMF3APEAgUEAwXgA8gCBQQDBeQDzAIFBAMF6APQAgIEANQCBQQDBewD2AIFBAMF8APcAgUEAwX0A+ACBQQDBfgD5AIFBAMF/APoAgUEAwWABOwCBQQDBYQE8AICBAD0AgUEAwWIBPgCBQQDBYwE/AIFBAMFkASAAwUEAwWUBIQDBQQDBZgEiAMFBAMFnASMAwUEAwWgBJADBQQDBaQElAMFBAMFqASYAwUEAwWsBJwDBQQDBbAEoAMFBAMFtASkAwUEAwW4BKgDBgEBvQSQAawDAgEAsAMGAQHFBJABtAMGAQHJBJABuAMGAQHNBJABvAMGAQHRBJABwAMGAQHVBJABxAMGAQHZBJAByAMGAQHdBJABzAMGAQHhBJAB0AMGAQHlBJAB1AMGAQHpBJAB2AMGAQHtBJAB3AMGAQHxBJAB4AMGAQH1BJAB5AMGAQH5BJAB6AMGAQH9BJAB7AMGAQGBBZAB8AMGAQGFBZAB9AMGAQGJBZAB+AMGAQGNBZAB/AMCAQCABAYBAZEFkAGEBAYBAZUFkAGIBAYBAZkFkAGMBAYBAZ0FkAGQBAYBAaEFkAGUBAYBAaUFkAGYBAYBAakFkAGcBAYBAa0FkAGgBAYBAbEFkAGkBAYBAbUFkAGoBAYBAbkFkAGsBAYBAb0FkAGwBAYBAcEFkAG0BAYBAcUFkAG4BAYBAckFkAHCBC9BbHR1YS5EYXRhLkluZnJhc3RydWN0dXJlLlBhcmFncmFwaCwgQWx0dWEuRGF0Yb0EkAEFDAMFzAXFBJABBQwDBdAFyQSQAQUMAwXUBc0EkAEFDAMF2AXRBJABBQwDBdwF1QSQAQUMAwXgBdkEkAEFDAMF5AXdBJABBQwDBegF4QSQAQUMAwXsBeUEkAEFDAMF8AXpBJABBQwDBfQF7QSQAQUMAwX4BfEEkAEFDAMF/AX1BJABBQwDBYAG+QSQAQUMAwWEBv0EkAEFDAMFiAaBBZABBQwDBYwGhQWQAQUMAwWQBokFkAEFDAMFlAaNBZABBQwDBZgGkQWQAQUMAwWcBpUFkAEFDAMFoAaZBZABBQwDBaQGnQWQAQUMAwWoBqEFkAEFDAMFrAalBZABBQwDBbAGqQWQAQUMAwW0Bq0FkAEFDAMFuAaxBZABBQwDBbwGtQWQAQUMAwXABrkFkAEFDAMFxAa9BZABBQwDBcgGwQWQAQUMAwXMBsUFkAEFDAMF0AbJBZABBQwDBdQGzAUGAQHZBtcB0AUGAQHhBtcB1AUGAQHlBtcB2AUGAQHpBtsB3AUGAQHxBtcB4AUGAQH1BtcB5AUGAQH5BtsB6AUGAQH9BtsB7AUGAQGBB9cB8AUGAQGFB9cB9AUGAQGJB9cB+AUGAQGNB9cB/AUGAQGRB9cBgAYGAQGVB9cBhAYGAQGZB9sBiAYGAQGdB9sBjAYGAQGhB9sBkAYGAQGlB9cBlAYGAQGpB9cBmAYGAQGtB9cBnAYGAQGxB9cBoAYGAQG1B9sBpAYGAQG5B9sBqAYGAQG9B9cBrAYGAQHBB9cBsAYGAQHFB9cBtAYGAQHJB9cBuAYGAQHNB9cBvAYGAQHRB9sBwAYGAQHVB9cBxAYGAQHZB9cByAYGAQHdB9sBzAYGAQHhB9cB0AYGAQHlB9sB1AYGAQHpB9sB3gYvQWx0dWEuRGF0YS5JbmZyYXN0cnVjdHVyZS5OdW1iZXJSdW4sIEFsdHVhLkRhdGHZBtcBEwQOAwAAAAAAgEdAHe0H/AEN9AfhBtcBEwQOAwAAAAAAgEZAHe0H/AEN9AflBtcBEwQOAwAAAAAAgE5AHe0H/AEN9AfuBi1BbHR1YS5EYXRhLkluZnJhc3RydWN0dXJlLlRleHRSdW4sIEFsdHVhLkRhdGHpBtsBDQQISW5kdXN0cmkN+AfxBtcBEwQOAwAAAAAAAPA/Hf0H/AEN9Af1BtcBEwQOAwAAAAAAAEVAHe0H/AEN9Af5BtsBEwQOQnlnZyBvZyBhbmxlZ2cN+Af9BtsBGAQTSG90ZWxsIC8gcmVzdGF1cmFudA34B4EH1wETBA4DAAAAAAAARUAd7Qf8AQ30B4UH1wETBA4DAAAAAAAACEAdgQj8AQ30B4kH1wETBA4DAAAAAAAARUAd7Qf8AQ30B40H1wETBA4DAAAAAACAQ0Ad7Qf8AQ30B5EH1wETBA4DAAAAAAAA8D8dhQj8AQ30B5UH1wETBA4DAAAAAACATEAd7Qf8AQ30B5kH2wEjBB5UamVuZXN0ZXl0aW5nIG9nIGtvbW11bmlrYXNqb24NiAidB9sBGQQUSm9yZGJydWsgb2cgc2tvZ2JydWsN+AehB9sBDAQHRWllbmRvbQ34B6UH1wETBA4DAAAAAAAATUAd7Qf8AQ30B6kH1wETBA4DAAAAAAAASUAd7Qf8AQ30B60H1wETBA4DAAAAAAAACEAdjQj8AQ30B7EH1wETBA4DAAAAAAAASUAd7Qf8AQ30B7UH2wEIBANOZWkNkAi5B9sBBwQCSmENlAi9B9cBEwQOAwAAAAAAAAhAHZkI/AEN9AfBB9cBEwQOAwAAAAAAgEpAHe0H/AEN9AfFB9cBEwQOAwAAAAAAgExAHe0H/AEN9AfJB9cBEwQOAwAAAAAAAEZAHe0H/AEN9AfNB9cBEwQOAwAAAAAAgEtAHe0H/AEN9AfRB9sBFgQRRmlza2VyaSAvIGhhdmJydWsN+AfVB9cBEwQOAwAAAAAAgEZAHe0H/AEN9AfZB9cBEwQOAwAAAAAAgEtAHe0H/AEN9AfdB9sBDwQKVmFyZWhhbmRlbA34B+EH1wETBA4DAAAAAACAR0Ad7Qf8AQ30B+UH2wENBAhWZXQgaWtrZQ2cCOkH2wEZBBRUcmFuc3BvcnQgb2cgbGFncmluZw34B/IHPUFsdHVhLkRhdGEuTnVtYmVyRm9ybWF0dGluZy5Db21wb3NpdGVOdW1iZXJGb3JtYXQsIEFsdHVhLkRhdGHtB/wBCx2gCCWkCDWoCD0A9AcSBAAcACQALAA0ADwATABUAF0A+AcSBAAcACQALAA0ADwATABUAF0A/Qf8AQsdrAglsAg1tAg9AIEI/AELHbgIJbwINcAIPQCFCPwBCx3ECCXICDXMCD0AiAgSBAAcACQALAA0ADwATABUAF0AjQj8AQsd0Agl1Ag12Ag9AJAIEgQAHAAkACwANAA8AEwAVABdAJQIEgQAHAAkACwANAA8AEwAVABdAJkI/AELHdwIJeAINeQIPQCcCBIEABwAJAAsADQAPABMAFQAXQCgCAkAAAwDBegIEQCkCAkAAAwDBewIEQCoCAoEASwMAS4UAmtyrAgJAAAMAwXwCBEAsAgJAAAMAwX0CBEAtAgKBAEsDAEuFAJrcrgICQAADAMF+AgRALwICQAADAMF/AgRAMAICgQBLAwBLhQCa3LECAkAAAwDBYAJEQDICAkAAAwDBYQJEQDMCAoEASwMAS4UAmty0AgJAAAMAwWICREA1AgJAAAMAwWMCREA2AgKBAEsDAEuFAJrctwICQAADAMFkAkRAOAICQAADAMFlAkRAOQICgQBLAwBLhQCa3LoCAYBAZkJpwLsCAoBAqEJqQKpCacC8AgGAQGtCawC9AgKAQK1CakCrQmsAvgIBgEBuQmsAvwICgECvQmpArkJrAKACQYBAcEJrAKECQoBAsUJqQLBCawCiAkGAQHJCawCjAkKAQLNCakCyQmsApAJBgEB0QmsApQJCgEC1QmpAtEJrAKeCUJBbHR1YS5EYXRhLk51bWJlckZvcm1hdHRpbmcuTnVtYmVyRm9ybWF0R2VuZXJhbFNlZ21lbnQsIEFsdHVhLkRhdGGZCacCAKYJP0FsdHVhLkRhdGEuTnVtYmVyRm9ybWF0dGluZy5OdW1iZXJGb3JtYXRUZXh0U2VnbWVudCwgQWx0dWEuRGF0YaEJqQIFBAEtCQGpCacCALIJQEFsdHVhLkRhdGEuTnVtYmVyRm9ybWF0dGluZy5OdW1iZXJGb3JtYXRWYWx1ZVNlZ21lbnQsIEFsdHVhLkRhdGGtCawCBQQDBdgJtQmpAgUEAS0JAbkJrAIFBAMF3Am9CakCBQQBLQkBwQmsAgUEAwXgCcUJqQIFBAEtCQHJCawCBQQDBeQJzQmpAgUEAS0JAdEJrAIFBAMF6AnVCakCBQQBLQkB2AkGAQHtCbwC3AkGAQHtCbwC4AkGAQHtCbwC5AkGAQHtCbwC6AkGAQHtCbwC8gk5QWx0dWEuRGF0YS5OdW1iZXJGb3JtYXR0aW5nLk51bWJlclBsYWNlaG9sZGVyLCBBbHR1YS5EYXRh7Qm8AgUCMAAAAA=="/>
  <p:tag name="GRUNT-X-SHAPEBOUNDS" val="ASIBBAAAAKDvB3dAAAAA4LYXZ0AAAAAAYq1/QAAAAKAkaHFAAA=="/>
  <p:tag name="GRUNT-RENDERHASH" val="ef2658bdbdeaee7d542ded4e2f267879-svg"/>
  <p:tag name="GRUNT-X-PAGEOBJECT" val="AQUCry4KOEFsdHVhLk9hay5Db3JlLkRvY3VtZW50TW9kZWwuQ2hhcnRPYmplY3QsIEFsdHVhLk9hay5Db3JlBQI1BBIEELEp6EC0COFMiJWlo5j92XAMEgQQYiAg1QKsz02dnFlrs4UU7hUNBCUUNRg9HFUgZSQSUEFsdHVhLk9hay5Db3JlLkRvY3VtZW50TW9kZWwuVGVtcGxhdGluZy5DdXN0b21Qb3NpdGlvbkRlZmluaXRpb24sIEFsdHVhLk9hay5Db3JlDQQkBCIBBAAAAAAAsIFAFACg5bYfZ0AAAAC0/zdzQBQAQJUkYHFAFBMVKB0sNTA4AEU1DkwCBTxVQF1EGAQEAgVIHAIFTCALBVAMBW5iLU5PFVQkDgEBCQERARkBIQEpATEBKBYEEgQQAAAAAAAAAAAAAAAAAAAAAAgBLBYEEgQQAAAAAAAAAAAAAAAAAAAAAAgBMAA6RUFsdHVhLk9hay5Db3JlLkNoYXJ0LlN0YWNrZWRCYXJXaXRoTGluZVBsb3REZWZpbml0aW9uLCBBbHR1YS5PYWsuQ29yZTUOMgQSBBB3c1vZlNYfS6NqZ5RtysRgHAIFWCVcNWA8AgVkSQBtaKUBbRypAQC1AXUevQF8PAgBA4ABhAGIAUAFBYwBDQBEAgEASAIBAEwAUAoEASwMASAUAmtyVAkEBW5iLU5PCAFYBAEBkAFcDQAACAEUAwWUARwAJQBgJgQiAQQAAAAAAAAQQAAAAAAAABBAAAAAAAAAEEAAAAAAAAAQQAgEZAIBAGgLAwAAAAAAAExACCByRUFsdHVhLk9hay5Db3JlLlBsb3R0aW5nLkF1dG9tYXRpY0NhdGVnb3J5QXhpc1NldHRpbmdzLCBBbHR1YS5PYWsuQ29yZW0cEwEBDZgBEAAZATAAPZwBRaABSAF6PUFsdHVhLk9hay5Db3JlLlRoZW1pbmcuUGFnZUNvbG9yU2NoZW1lUG9pbnRlciwgQWx0dWEuT2FrLkNvcmV1HgB8SjWkAT2oAUWsAVWwAV20AXW4AY0BvAGdAcABpQHEAa0ByAHNAcwB1QHQAd0B1AHlAdgB7QHcAfUB4AH9AeQBhQLoAY0C7AGVAvABgAFIBBIEEAW3udO3DvRJkWQYTUZuRawkEgQQfWkg3kl1N02TTDhNfRW6qywSBBDttDvploDjQ6u0VIIfh2i6PfUBPkX8AUkBXYAChAFIBBIEEDh+rR00hC1PvyYmZf6MkpokEgQQpxYFLzI+KkSSKoRzq4oCSiwSBBDttDvploDjQ6u0VIIfh2i6PfUBPkWEAkkBXYgCiAFIBBIEENvXJMtfCcRFlr7Z9NSNu0UkEgQQiU59FHUVjkKUIKp2wvAwbywSBBDttDvploDjQ6u0VIIfh2i6PfUBPkWMAkkBXZACjAEAkAFCAQAYAyWUAikAMQBAAUgCVZgCXZwCZBIEEO20O+mWgONDq7RUgh+HaLptoAJ1pAKNAagCkQEBnQGsAqUBsAK1AbQClAECAQCYAQIBAJwBBgW5Ak8IBKABBgXBAk8IBKQBBQQDBcQCqAEFBAMFyAKsAQUEAwXMArABBQQDBdACtAEFBAMF1AK4AQUEAwXUArwBBQQDBdgCwAEFBAMF3ALEAQUEAwXgAsgBBQQDBeQCzAEFBAMF6ALQAQUEAwXsAtQBBQQDBfAC2AEFBAMF9ALcAQUEAwX4AuABBQQDBfwC5AEFBAMFgAPoAQUEAwWEA+wBBQQDBYgD8AEFBAMFjAP6AT5BbHR1YS5PYWsuQ29yZS5DaGFydC5EZWZhdWx0UGxvdFNlcmllc1NldHRpbmdzLCBBbHR1YS5PYWsuQ29yZfUBPgD8AQQFAAgBgAIFBZADCAGEAgQFAAgBiAIFBZQDCAGMAgQFAAgBkAIFBZgDCAGUAgsDAAAAAAAAAAAIApgCCwMAAAAAAAAAAAgBnAILAwAAAAAAAAAACAGgAhUFnAMNoAMVpAMdqAMlrAMtsAM1tAOkAgcNuAMVvQNPqAILAwAAAAAAAAAACASsAgYFwQNPCASwAgYFwQNPCAS0AgUEAwXEA74CM0FsdHVhLk9hay5Db3JlLlRoZW1pbmcuQ29sb3JQb2ludGVyLCBBbHR1YS5PYWsuQ29yZbkCT1BQUP/BAk9QUFD/xAIIAQPIA8wD0APIAg4BBtQD2APcA+AD5APoA8wCBAEB7APQAgIBANQCAgEA2AICAQDcAgIBAOACEgEI8AP0A/gD/AOABIQEiASMBOQCAgEA6AIOAQaQBJQEmAScBKAEpATsAhQBCagErASwBLQEuAS8BMAExATIBPACAgEA9AIEAQHMBPgCDAEF0ATUBNgE3ATgBPwCAgEAgAMCAQCEAwIBAIgDAgEAjAMCAQCQAwUEAwXkBJQDBQQDBegEmAMFBAMF7AScAwcEAwQBAAgEoAMFBAEuCASkAwQAAQgEqAMEAAAIBKwDBAQACASwAwQEAAgEtAMEAAAIBLgDBQQDBfAEvQNPPj7l/8EDT1BQUP/EAwIBAMgDDgX1BJ4BCwAAAAAAANA/zAMOBf0EngELAAAAAAAA4D/QAw4FgQWeAQsAAAAAAADgP9QDDgWFBaIBCwAAAAAAAAAA2AMOBY0FpAELAAAAAAAAAADcAw4FlQWmAQsAAAAAAADgP+ADDgWdBagBCwAAAAAAAOA/5AMOBaUFqgELAAAAAAAA4D/oAw4FrQWsAQsAAAAAAAD4P+wDCAW1BaoBDbgF8AMKBb0FsAENxQWyAfQDCgXNBaIBDdEFtQH4AwoF2QWmAQ3dBbUB/AMKBeEFqAEN5QW1AYAECQXpBbsBDfEFT4QECQX1BZ4BDfkFT4gECQX9BZ4BDYEGT4wECgWFBp4BDYkGtQGQBAcFjQbEAQkAlAQHBZUGxgEJAZgEBwWdBsgBCQGcBAcFpQbKAQkBoAQHBa0GzAEJAKQEBwW1Bs4BCQCoBAoFvQbQAQ3FBtIBrAQKBc0G1AEN1QbWAbAECgXdBtgBDeUG2gG0BAoF7QbYAQ3xBt0BuAQKBfkGzAEN8QbdAbwECgX9BsQBDYEH4QHABAoFiQfIAQ2BB+EBxAQKBY0HygENkQflAcgECgWZB84BDZ0H6AHMBAoFpQfqAQ2tB+wB0AQKBbUHxAENuQfvAdQECgXBB9QBDcUH7wHYBAoFyQfIAQ3NB+8B3AQKBdEH0AEN1QfvAeAECgXZB/cBDeEH7wHkBAYBAeUH+gHoBAYBAe0H+gHsBAYBAfEH+gHwBAQBAgEE+gRNQWx0dWEuT2FrLkNvcmUuTW9kaWZpY2F0aW9uLlN0eWxpbmcuU2VyaWVzQ3VzdG9taXphdGlvblRhcmdldCwgQWx0dWEuT2FrLkNvcmX1BJ4BFAQSBBCJTn0UdRWOQpQgqnbC8DBv/QSeARQEEgQQfWkg3kl1N02TTDhNfRW6q4EFngEUBBIEEKcWBS8yPipEkiqEc6uKAkqKBVNBbHR1YS5PYWsuQ29yZS5Nb2RpZmljYXRpb24uU3R5bGluZy5BbGxWYWx1ZUF4aXNDdXN0b21pemF0aW9uVGFyZ2V0LCBBbHR1YS5PYWsuQ29yZYUFogEAkgVZQWx0dWEuT2FrLkNvcmUuTW9kaWZpY2F0aW9uLlN0eWxpbmcuVmFsdWVBeGlzR3JpZGxpbmVzQ3VzdG9taXphdGlvblRhcmdldCwgQWx0dWEuT2FrLkNvcmWNBaQBAJoFU0FsdHVhLk9hay5Db3JlLk1vZGlmaWNhdGlvbi5TdHlsaW5nLkNhdGVnb3J5QXhpc0N1c3RvbWl6YXRpb25UYXJnZXQsIEFsdHVhLk9hay5Db3JllQWmAQCiBVBBbHR1YS5PYWsuQ29yZS5Nb2RpZmljYXRpb24uU3R5bGluZy5Pcmlnb0xpbmVDdXN0b21pemF0aW9uVGFyZ2V0LCBBbHR1YS5PYWsuQ29yZZ0FqAEAqgVdQWx0dWEuT2FrLkNvcmUuTW9kaWZpY2F0aW9uLlN0eWxpbmcuQWxsQ29ubmVjdG9yc0F1eGlsaWFyeUN1c3RvbWl6YXRpb25UYXJnZXQsIEFsdHVhLk9hay5Db3JlpQWqAQCyBVlBbHR1YS5PYWsuQ29yZS5Nb2RpZmljYXRpb24uU3R5bGluZy5TZXJpZXNXaXRoUGxvdEtpbmRDdXN0b21pemF0aW9uVGFyZ2V0LCBBbHR1YS5PYWsuQ29yZa0FrAEDBfQHtQWqAQC4BQUMAwX4B8IFVkFsdHVhLk9hay5Db3JlLk1vZGlmaWNhdGlvbi5TdHlsaW5nLkFsbFNlcmllc01hcmtlckN1c3RvbWl6YXRpb25UYXJnZXQsIEFsdHVhLk9hay5Db3JlvQWwAQDKBTpBbHR1YS5PYWsuQ29yZS5UaGVtaW5nLkJpbmRpbmdDb2xvclBvaW50ZXIsIEFsdHVhLk9hay5Db3JlxQWyAQUF/QeAAs0FogEA1gU3QWx0dWEuT2FrLkNvcmUuVGhlbWluZy5QYWdlQ29sb3JQb2ludGVyLCBBbHR1YS5PYWsuQ29yZdEFtQEEAAAIANkFpgEA3QW1AQQAAAgA4QWoAQDlBbUBBAAACADuBVNBbHR1YS5PYWsuQ29yZS5Nb2RpZmljYXRpb24uU3R5bGluZy5BbGxHcmlkbGluZXNDdXN0b21pemF0aW9uVGFyZ2V0LCBBbHR1YS5PYWsuQ29yZekFuwEA8QVPgICA//UFngEUBBIEEH1pIN5JdTdNk0w4TX0Vuqv5BU9QsAD//QWeARQEEgQQpxYFLzI+KkSSKoRzq4oCSoEGTwAAwP+FBp4BFAQSBBCJTn0UdRWOQpQgqnbC8DBviQa1AQQAAQgBkgZYQWx0dWEuT2FrLkNvcmUuTW9kaWZpY2F0aW9uLlN0eWxpbmcuQWxsVmFsdWVBeGlzTGFiZWxDdXN0b21pemF0aW9uVGFyZ2V0LCBBbHR1YS5PYWsuQ29yZY0GxAEAmgZmQWx0dWEuT2FrLkNvcmUuTW9kaWZpY2F0aW9uLlN0eWxpbmcuU3RhY2tlZEJhckF1dG9tYXRpY1NlZ21lbnRMYWJlbEN1c3RvbWl6YXRpb25UYXJnZXQsIEFsdHVhLk9hay5Db3JllQbGAQCiBldBbHR1YS5PYWsuQ29yZS5Nb2RpZmljYXRpb24uU3R5bGluZy5BbGxDYXRlZ29yeUxhYmVsQ3VzdG9taXphdGlvblRhcmdldCwgQWx0dWEuT2FrLkNvcmWdBsgBAKoGWEFsdHVhLk9hay5Db3JlLk1vZGlmaWNhdGlvbi5TdHlsaW5nLkFsbEF1eGlsaWFyeUxhYmVsQ3VzdG9taXphdGlvblRhcmdldCwgQWx0dWEuT2FrLkNvcmWlBsoBALIGVUFsdHVhLk9hay5Db3JlLk1vZGlmaWNhdGlvbi5TdHlsaW5nLkFsbFRvdGFsTGFiZWxzQ3VzdG9taXphdGlvblRhcmdldCwgQWx0dWEuT2FrLkNvcmWtBswBALoGWEFsdHVhLk9hay5Db3JlLk1vZGlmaWNhdGlvbi5TdHlsaW5nLlNlcmllc0xhYmVsT2ZUeXBlQ3VzdG9taXphdGlvblRhcmdldCwgQWx0dWEuT2FrLkNvcmW1Bs4BAgACwgZYQWx0dWEuT2FrLkNvcmUuTW9kaWZpY2F0aW9uLlN0eWxpbmcuQ2F0ZWdvcnlBeGlzVGl0bGVDdXN0b21pemF0aW9uVGFyZ2V0LCBBbHR1YS5PYWsuQ29yZb0G0AEAygZCQWx0dWEuT2FrLkNvcmUuUGxvdHRpbmcuQXhpc1RpdGxlTGFiZWxQbGFjZW1lbnRGYXIsIEFsdHVhLk9hay5Db3JlxQbSAQIAANIGXUFsdHVhLk9hay5Db3JlLk1vZGlmaWNhdGlvbi5TdHlsaW5nLkFsbFZhbHVlQXhpc1RpdGxlTGFiZWxDdXN0b21pemF0aW9uVGFyZ2V0LCBBbHR1YS5PYWsuQ29yZc0G1AEA2gZGQWx0dWEuT2FrLkNvcmUuUGxvdHRpbmcuQXhpc1RpdGxlTGFiZWxQbGFjZW1lbnRPdXRzaWRlLCBBbHR1YS5PYWsuQ29yZdUG1gECAAHiBl9BbHR1YS5PYWsuQ29yZS5Nb2RpZmljYXRpb24uU3R5bGluZy5TZXJpZXNMYWJlbHNXaXRoUGxvdEtpbmRDdXN0b21pemF0aW9uVGFyZ2V0LCBBbHR1YS5PYWsuQ29yZd0G2AEFBYQICADqBjxBbHR1YS5PYWsuQ29yZS5QbG90dGluZy5MYWJlbFBsYWNlbWVudEluc2lkZSwgQWx0dWEuT2FrLkNvcmXlBtoBBAABCAHtBtgBBQWICAgA9gY9QWx0dWEuT2FrLkNvcmUuUGxvdHRpbmcuTGFiZWxQbGFjZW1lbnRPdXRzaWRlLCBBbHR1YS5PYWsuQ29yZfEG3QEA+QbMAQD9BsQBAIYHQUFsdHVhLk9hay5Db3JlLlBsb3R0aW5nLkF4aXNMYWJlbFBsYWNlbWVudE91dHNpZGUsIEFsdHVhLk9hay5Db3JlgQfhAQIBAIkHyAEAjQfKAQCWB0ZBbHR1YS5PYWsuQ29yZS5QbG90dGluZy5BdXhpbGlhcnlMYWJlbFBsYWNlbWVudERlZmF1bHQsIEFsdHVhLk9hay5Db3JlkQflAQCZB84BAgACogdDQWx0dWEuT2FrLkNvcmUuUGxvdHRpbmcuTGFiZWxQbGFjZW1lbnRTZXJpZXNPdXRzaWRlLCBBbHR1YS5PYWsuQ29yZZ0H6AECAACqB1BBbHR1YS5PYWsuQ29yZS5Nb2RpZmljYXRpb24uU3R5bGluZy5BbGxMYWJlbHNDdXN0b21pemF0aW9uVGFyZ2V0LCBBbHR1YS5PYWsuQ29yZaUH6gEAsgdCQWx0dWEuT2FrLkNvcmUuU3ludGF4U3RydWN0dXJlLkFjdHVhbEZvbnRTaXplVmFsdWUsIEFsdHVhLk9hay5Db3JlrQfsAQkDAAAAAAAAKEC1B8QBAL4HQ0FsdHVhLk9hay5Db3JlLlN5bnRheFN0cnVjdHVyZS5BY3R1YWxGb250Q29sb3JWYWx1ZSwgQWx0dWEuT2FrLkNvcmW5B+8BBQWNCLUBwQfUAQDFB+8BBQWRCLUByQfIAQDNB+8BBQWVCLUB0QfQAQDVB+8BBQWZCLUB3gdSQWx0dWEuT2FrLkNvcmUuTW9kaWZpY2F0aW9uLlN0eWxpbmcuU2VyaWVzTGFiZWxDdXN0b21pemF0aW9uVGFyZ2V0LCBBbHR1YS5PYWsuQ29yZdkH9wEWBBIEEH1pIN5JdTdNk0w4TX0VuqsIAOEH7wEFBZ0ItQHqBy9BbHR1YS5EYXRhLkluZnJhc3RydWN0dXJlLlBhcmFncmFwaCwgQWx0dWEuRGF0YeUH+gEFDAMFoAjtB/oBBQwDBaQI8Qf6AQUMAwWoCPQHAQX4BwoBAgAAgEAAAEBAgghIQWx0dWEuT2FrLkNvcmUuU3ludGF4U3RydWN0dXJlLlBsb3RTZXJpZXNCaW5kaW5nU3RyYXRlZ3ksIEFsdHVhLk9hay5Db3Jl/QeAAgCECAIAAYgIAQWNCLUBBAAACACRCLUBBAAACACVCLUBBAAACACZCLUBBAAACACdCLUBBAABCACgCAYBAa0IjAKkCAYBAbUIjAKoCAYBAbkIjAKyCC1BbHR1YS5EYXRhLkluZnJhc3RydWN0dXJlLlRleHRSdW4sIEFsdHVhLkRhdGGtCIwCBwQCSmENvAi1CIwCCAQDTmVpDcAIuQiMAg0ECFZldCBpa2tlDcQIvAgSBAAcACQALAA0ADwATABUAF0AwAgSBAAcACQALAA0ADwATABUAF0AxAgSBAAcACQALAA0ADwATABUAF0A"/>
  <p:tag name="GRUNT-SYNC" val="7d1043c5881b40199736028e4765c49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9e18cf6a-42d0-4ac7-b0b2-bbdcd97f56ed"/>
  <p:tag name="GRUNT-X-RESOURCES" val="AQIFBAQEAgEA"/>
  <p:tag name="GRUNT-VERSION" val="20.23.267.0"/>
  <p:tag name="GRUNT-X-PAGEOBJECT" val="AQUCswIKPkFsdHVhLk9hay5Db3JlLkRvY3VtZW50TW9kZWwuQ2hhcnRMZWdlbmRPYmplY3QsIEFsdHVhLk9hay5Db3JlBQI5BBIEEGrPGJ7QQsdKsLK73Nl/Vu0UEgQQd3Nb2ZTWH0ujameUbcrEYC0MNRBEAgUUSABVGQdlIG0kDAQEAgUoEAIFLBQCAQAeUEFsdHVhLk9hay5Db3JlLkRvY3VtZW50TW9kZWwuVGVtcGxhdGluZy5DdXN0b21Qb3NpdGlvbkRlZmluaXRpb24sIEFsdHVhLk9hay5Db3JlGQckBCIBBAAAAAAAGINAFACg5bYfZED4//9n/09tQAAAAAAAADhAIAsFMAwFbmItTk8VNCQEAQEJASgCAQAsADAKBAEsDAEgFAJrcjQJBAVuYi1OTwgB"/>
  <p:tag name="GRUNT-X-SHAPEBOUNDS" val="ASIBBAAAAAAAGINAAAAA4LYfZEAAAABg/09tQAAAAAAAADhAAA=="/>
  <p:tag name="GRUNT-SYNC" val="20df5496949544d8977e06d524d37ee1"/>
  <p:tag name="GRUNT-RENDERHASH" val="c4e733e52bbe8b104bca854ab78e6844-sv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DwmfjLQUeXIB44PASYOg"/>
</p:tagLst>
</file>

<file path=ppt/theme/theme1.xml><?xml version="1.0" encoding="utf-8"?>
<a:theme xmlns:a="http://schemas.openxmlformats.org/drawingml/2006/main" name="Office-tema">
  <a:themeElements>
    <a:clrScheme name="SpareBank1">
      <a:dk1>
        <a:sysClr val="windowText" lastClr="000000"/>
      </a:dk1>
      <a:lt1>
        <a:sysClr val="window" lastClr="FFFFFF"/>
      </a:lt1>
      <a:dk2>
        <a:srgbClr val="005AA4"/>
      </a:dk2>
      <a:lt2>
        <a:srgbClr val="B7CEE6"/>
      </a:lt2>
      <a:accent1>
        <a:srgbClr val="005AA4"/>
      </a:accent1>
      <a:accent2>
        <a:srgbClr val="002776"/>
      </a:accent2>
      <a:accent3>
        <a:srgbClr val="7EB5D2"/>
      </a:accent3>
      <a:accent4>
        <a:srgbClr val="F8E9DD"/>
      </a:accent4>
      <a:accent5>
        <a:srgbClr val="D3D3EA"/>
      </a:accent5>
      <a:accent6>
        <a:srgbClr val="EE8D9C"/>
      </a:accent6>
      <a:hlink>
        <a:srgbClr val="0563C1"/>
      </a:hlink>
      <a:folHlink>
        <a:srgbClr val="954F72"/>
      </a:folHlink>
    </a:clrScheme>
    <a:fontScheme name="SpareBank1">
      <a:majorFont>
        <a:latin typeface="SpareBank 1 Title"/>
        <a:ea typeface=""/>
        <a:cs typeface=""/>
      </a:majorFont>
      <a:minorFont>
        <a:latin typeface="SpareBank 1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sjon1" id="{9A2174E4-9D7D-4686-8007-CF028B3E8537}" vid="{30555B75-581F-4AC3-932C-98B7A4FF4757}"/>
    </a:ext>
  </a:extLst>
</a:theme>
</file>

<file path=ppt/theme/theme2.xml><?xml version="1.0" encoding="utf-8"?>
<a:theme xmlns:a="http://schemas.openxmlformats.org/drawingml/2006/main" name="4_Office-tema">
  <a:themeElements>
    <a:clrScheme name="SpareBank1">
      <a:dk1>
        <a:sysClr val="windowText" lastClr="000000"/>
      </a:dk1>
      <a:lt1>
        <a:sysClr val="window" lastClr="FFFFFF"/>
      </a:lt1>
      <a:dk2>
        <a:srgbClr val="005AA4"/>
      </a:dk2>
      <a:lt2>
        <a:srgbClr val="B7CEE6"/>
      </a:lt2>
      <a:accent1>
        <a:srgbClr val="005AA4"/>
      </a:accent1>
      <a:accent2>
        <a:srgbClr val="002776"/>
      </a:accent2>
      <a:accent3>
        <a:srgbClr val="7EB5D2"/>
      </a:accent3>
      <a:accent4>
        <a:srgbClr val="F8E9DD"/>
      </a:accent4>
      <a:accent5>
        <a:srgbClr val="D3D3EA"/>
      </a:accent5>
      <a:accent6>
        <a:srgbClr val="EE8D9C"/>
      </a:accent6>
      <a:hlink>
        <a:srgbClr val="0563C1"/>
      </a:hlink>
      <a:folHlink>
        <a:srgbClr val="954F72"/>
      </a:folHlink>
    </a:clrScheme>
    <a:fontScheme name="SpareBank1">
      <a:majorFont>
        <a:latin typeface="SpareBank 1 Title"/>
        <a:ea typeface=""/>
        <a:cs typeface=""/>
      </a:majorFont>
      <a:minorFont>
        <a:latin typeface="SpareBank 1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B1 Mal.potx" id="{7B1E4503-9A78-46B9-A4E6-6D5B9B42F684}" vid="{6CD532B6-449B-49A6-BB87-38119AF33A20}"/>
    </a:ext>
  </a:extLst>
</a:theme>
</file>

<file path=ppt/theme/theme3.xml><?xml version="1.0" encoding="utf-8"?>
<a:theme xmlns:a="http://schemas.openxmlformats.org/drawingml/2006/main" name="5_Office-tema">
  <a:themeElements>
    <a:clrScheme name="SpareBank1">
      <a:dk1>
        <a:sysClr val="windowText" lastClr="000000"/>
      </a:dk1>
      <a:lt1>
        <a:sysClr val="window" lastClr="FFFFFF"/>
      </a:lt1>
      <a:dk2>
        <a:srgbClr val="005AA4"/>
      </a:dk2>
      <a:lt2>
        <a:srgbClr val="B7CEE6"/>
      </a:lt2>
      <a:accent1>
        <a:srgbClr val="005AA4"/>
      </a:accent1>
      <a:accent2>
        <a:srgbClr val="002776"/>
      </a:accent2>
      <a:accent3>
        <a:srgbClr val="7EB5D2"/>
      </a:accent3>
      <a:accent4>
        <a:srgbClr val="F8E9DD"/>
      </a:accent4>
      <a:accent5>
        <a:srgbClr val="D3D3EA"/>
      </a:accent5>
      <a:accent6>
        <a:srgbClr val="EE8D9C"/>
      </a:accent6>
      <a:hlink>
        <a:srgbClr val="0563C1"/>
      </a:hlink>
      <a:folHlink>
        <a:srgbClr val="954F72"/>
      </a:folHlink>
    </a:clrScheme>
    <a:fontScheme name="SpareBank1">
      <a:majorFont>
        <a:latin typeface="SpareBank 1 Title"/>
        <a:ea typeface=""/>
        <a:cs typeface=""/>
      </a:majorFont>
      <a:minorFont>
        <a:latin typeface="SpareBank 1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pareBank 1 mal" id="{3B6F6FA5-FB9F-4932-B4BA-6C5BCFBA95EC}" vid="{DBC03986-90FA-4C52-AFB2-D231B15790BF}"/>
    </a:ext>
  </a:extLst>
</a:theme>
</file>

<file path=ppt/theme/theme4.xml><?xml version="1.0" encoding="utf-8"?>
<a:theme xmlns:a="http://schemas.openxmlformats.org/drawingml/2006/main" name="1_Office-tema">
  <a:themeElements>
    <a:clrScheme name="SpareBank1">
      <a:dk1>
        <a:sysClr val="windowText" lastClr="000000"/>
      </a:dk1>
      <a:lt1>
        <a:sysClr val="window" lastClr="FFFFFF"/>
      </a:lt1>
      <a:dk2>
        <a:srgbClr val="005AA4"/>
      </a:dk2>
      <a:lt2>
        <a:srgbClr val="B7CEE6"/>
      </a:lt2>
      <a:accent1>
        <a:srgbClr val="005AA4"/>
      </a:accent1>
      <a:accent2>
        <a:srgbClr val="002776"/>
      </a:accent2>
      <a:accent3>
        <a:srgbClr val="7EB5D2"/>
      </a:accent3>
      <a:accent4>
        <a:srgbClr val="F8E9DD"/>
      </a:accent4>
      <a:accent5>
        <a:srgbClr val="D3D3EA"/>
      </a:accent5>
      <a:accent6>
        <a:srgbClr val="EE8D9C"/>
      </a:accent6>
      <a:hlink>
        <a:srgbClr val="0563C1"/>
      </a:hlink>
      <a:folHlink>
        <a:srgbClr val="954F72"/>
      </a:folHlink>
    </a:clrScheme>
    <a:fontScheme name="SpareBank1">
      <a:majorFont>
        <a:latin typeface="SpareBank 1 Title"/>
        <a:ea typeface=""/>
        <a:cs typeface=""/>
      </a:majorFont>
      <a:minorFont>
        <a:latin typeface="SpareBank 1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sjon1" id="{9A2174E4-9D7D-4686-8007-CF028B3E8537}" vid="{30555B75-581F-4AC3-932C-98B7A4FF4757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0">
    <wetp:webextensionref xmlns:r="http://schemas.openxmlformats.org/officeDocument/2006/relationships" r:id="rId1"/>
  </wetp:taskpane>
  <wetp:taskpane dockstate="right" visibility="0" width="350" row="11">
    <wetp:webextensionref xmlns:r="http://schemas.openxmlformats.org/officeDocument/2006/relationships" r:id="rId2"/>
  </wetp:taskpane>
  <wetp:taskpane dockstate="right" visibility="0" width="350" row="10">
    <wetp:webextensionref xmlns:r="http://schemas.openxmlformats.org/officeDocument/2006/relationships" r:id="rId3"/>
  </wetp:taskpane>
</wetp:taskpanes>
</file>

<file path=ppt/webextensions/webextension1.xml><?xml version="1.0" encoding="utf-8"?>
<we:webextension xmlns:we="http://schemas.microsoft.com/office/webextensions/webextension/2010/11" id="{B56DB914-30FA-479A-A08C-F066C773B017}">
  <we:reference id="f7da559f-5105-4956-bf32-5c706edeb727" version="2.0.1.0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7D1CE03F-DB90-46CB-9FC0-D3B85863C459}">
  <we:reference id="b5c09e55-3dce-4edd-868c-cc5152671239" version="1.0.0.4" store="EXCatalog" storeType="EXCatalog"/>
  <we:alternateReferences/>
  <we:properties/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EFDC0DC0-9262-4A24-80B8-069B9642ED1D}">
  <we:reference id="wa104380594" version="2.0.0.0" store="en-001" storeType="OMEX"/>
  <we:alternateReferences>
    <we:reference id="WA104380594" version="2.0.0.0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A90B60BB4F14C40B649A30D6448840D" ma:contentTypeVersion="0" ma:contentTypeDescription="Create a new document." ma:contentTypeScope="" ma:versionID="0b06b870c158a5d1851c77f2a7e0260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967b7be50301903c78f9c39c6fd9af8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FBCDED5-7808-4D8F-8B8F-548E48E3471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61DED52-5C98-4102-AD4F-C71603DE0A7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051E578-F59C-4AA4-A064-60F38B77ED57}">
  <ds:schemaRefs>
    <ds:schemaRef ds:uri="http://schemas.microsoft.com/office/2006/metadata/properties"/>
    <ds:schemaRef ds:uri="http://schemas.microsoft.com/office/infopath/2007/PartnerControls"/>
    <ds:schemaRef ds:uri="3b00a67f-9791-437e-b702-303a706ea042"/>
    <ds:schemaRef ds:uri="7dc3d6ed-56f1-49b6-b310-0ff680cfe62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pareBank 1 Finanshuset SMN</Template>
  <TotalTime>11970</TotalTime>
  <Words>1491</Words>
  <Application>Microsoft Office PowerPoint</Application>
  <PresentationFormat>Widescreen</PresentationFormat>
  <Paragraphs>299</Paragraphs>
  <Slides>32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8</vt:i4>
      </vt:variant>
      <vt:variant>
        <vt:lpstr>Tema</vt:lpstr>
      </vt:variant>
      <vt:variant>
        <vt:i4>4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32</vt:i4>
      </vt:variant>
    </vt:vector>
  </HeadingPairs>
  <TitlesOfParts>
    <vt:vector size="45" baseType="lpstr">
      <vt:lpstr>SpareBank 1</vt:lpstr>
      <vt:lpstr>SpareBank 1 Title</vt:lpstr>
      <vt:lpstr>Arial</vt:lpstr>
      <vt:lpstr>Calibri</vt:lpstr>
      <vt:lpstr>SpareBank 1 Medium</vt:lpstr>
      <vt:lpstr>SpareBank 1 Light</vt:lpstr>
      <vt:lpstr>SpareBank 1 Title </vt:lpstr>
      <vt:lpstr>SpareBank 1 Title Light</vt:lpstr>
      <vt:lpstr>Office-tema</vt:lpstr>
      <vt:lpstr>4_Office-tema</vt:lpstr>
      <vt:lpstr>5_Office-tema</vt:lpstr>
      <vt:lpstr>1_Office-tema</vt:lpstr>
      <vt:lpstr>think-cell Slide</vt:lpstr>
      <vt:lpstr>SpareBank 1s Nasjonale  Bærekraftsbarometer 2024  Bedriftsundersøkelsen Midt-Norge</vt:lpstr>
      <vt:lpstr>Nå kan SMB få støtte til å bli miljøfyrtårnsertifisert</vt:lpstr>
      <vt:lpstr>Norges største undersøkelse om bærekraft</vt:lpstr>
      <vt:lpstr>Årets bærekraftbarometer viser at… </vt:lpstr>
      <vt:lpstr>PowerPoint-presentasjon</vt:lpstr>
      <vt:lpstr>2 av 5 bedrifter har konkrete mål for å kutte utslipp. 1 av 4 har også en overgangsplan</vt:lpstr>
      <vt:lpstr>Spørsmål: Hvem har størst innflytelse på om bedriften vurderer bærekraft som strategisk viktig?</vt:lpstr>
      <vt:lpstr>Færre bedrifter vurderer arbeid med bærekraft som strategisk viktig</vt:lpstr>
      <vt:lpstr>PowerPoint-presentasjon</vt:lpstr>
      <vt:lpstr>23% (23%) av bedriftene mottar i stor grad krav fra sine kunder og samarbeidspartnere</vt:lpstr>
      <vt:lpstr>1 av 4 bedrifter (1 av 5) kjøper i stor grad inn brukte gjenstander til drift eller resirkulerte råvarer </vt:lpstr>
      <vt:lpstr>PowerPoint-presentasjon</vt:lpstr>
      <vt:lpstr>PowerPoint-presentasjon</vt:lpstr>
      <vt:lpstr>PowerPoint-presentasjon</vt:lpstr>
      <vt:lpstr>PowerPoint-presentasjon</vt:lpstr>
      <vt:lpstr>Flertallet av bedriftene har verken gjort endringer eller planlegger endringer i egen forretningsmodell på grunn av klimaendringer </vt:lpstr>
      <vt:lpstr>Etterspørsel og konkurransekraft er den viktigste driveren for grønn omstilling i bedriftene</vt:lpstr>
      <vt:lpstr>Driverne og barrierene for grønn omstilling ser ut til å være «bransjeuavhengige» </vt:lpstr>
      <vt:lpstr>Tilbud og etterspørsel - En kommunikasjonsutfordring?</vt:lpstr>
      <vt:lpstr>PowerPoint-presentasjon</vt:lpstr>
      <vt:lpstr>PowerPoint-presentasjon</vt:lpstr>
      <vt:lpstr>PowerPoint-presentasjon</vt:lpstr>
      <vt:lpstr>PowerPoint-presentasjon</vt:lpstr>
      <vt:lpstr>Halvparten av bedriftene innenfor transport og lagring, samt fiskeri/havbruk, opplever bærekraft som en finansiell risiko</vt:lpstr>
      <vt:lpstr>1 av 4 bedrifter forventer at bærekraft vil påvirke lønnsomheten positivt, mens 1 av 3 bedrifter forventer økte investeringer   </vt:lpstr>
      <vt:lpstr>38% av bedriftene forventer økt etterspørsel, men det har sammenheng med omsetningsstørrelse og bransjetilhørighet</vt:lpstr>
      <vt:lpstr>PowerPoint-presentasjon</vt:lpstr>
      <vt:lpstr>Store bedrifter opplever i større grad å ha tilstrekkelig kompetanse om bærekraft enn små bedrifter </vt:lpstr>
      <vt:lpstr>Det er store forskjeller i hvor godt forberedt bedriftene er på å tilpasse seg regelverket om rapportering av bærekraftsinformasjon</vt:lpstr>
      <vt:lpstr>29% av bedriftene tror i stor grad at bruk av kunstig intelligens kan støtte arbeidet med bærekraftig omstilling</vt:lpstr>
      <vt:lpstr>58% av bedriftene har konkrete mål for likestilling, inkludering og mangfold</vt:lpstr>
      <vt:lpstr>Sammen får vi ting til å skje! - Les mer om konsernets arbeid med bærekraft på smn.no/bærekraft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areBank 1s Nasjonale  Bærekrafts-barometer 2024   - Norges største bærekraftsundersøkelse</dc:title>
  <dc:creator>Tomas Oliver Waldal Verstad</dc:creator>
  <cp:lastModifiedBy>Jan-Eilert Nilsen</cp:lastModifiedBy>
  <cp:revision>7</cp:revision>
  <dcterms:created xsi:type="dcterms:W3CDTF">2024-05-07T11:22:13Z</dcterms:created>
  <dcterms:modified xsi:type="dcterms:W3CDTF">2024-06-12T09:50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A90B60BB4F14C40B649A30D6448840D</vt:lpwstr>
  </property>
  <property fmtid="{D5CDD505-2E9C-101B-9397-08002B2CF9AE}" pid="3" name="MediaServiceImageTags">
    <vt:lpwstr/>
  </property>
  <property fmtid="{D5CDD505-2E9C-101B-9397-08002B2CF9AE}" pid="4" name="MSIP_Label_f72e1550-8259-4cf3-a1ec-0faec9abf3e8_Enabled">
    <vt:lpwstr>true</vt:lpwstr>
  </property>
  <property fmtid="{D5CDD505-2E9C-101B-9397-08002B2CF9AE}" pid="5" name="MSIP_Label_f72e1550-8259-4cf3-a1ec-0faec9abf3e8_SetDate">
    <vt:lpwstr>2024-02-19T13:24:07Z</vt:lpwstr>
  </property>
  <property fmtid="{D5CDD505-2E9C-101B-9397-08002B2CF9AE}" pid="6" name="MSIP_Label_f72e1550-8259-4cf3-a1ec-0faec9abf3e8_Method">
    <vt:lpwstr>Privileged</vt:lpwstr>
  </property>
  <property fmtid="{D5CDD505-2E9C-101B-9397-08002B2CF9AE}" pid="7" name="MSIP_Label_f72e1550-8259-4cf3-a1ec-0faec9abf3e8_Name">
    <vt:lpwstr>f72e1550-8259-4cf3-a1ec-0faec9abf3e8</vt:lpwstr>
  </property>
  <property fmtid="{D5CDD505-2E9C-101B-9397-08002B2CF9AE}" pid="8" name="MSIP_Label_f72e1550-8259-4cf3-a1ec-0faec9abf3e8_SiteId">
    <vt:lpwstr>156b047c-a56e-40a2-9f11-b69d58cf5508</vt:lpwstr>
  </property>
  <property fmtid="{D5CDD505-2E9C-101B-9397-08002B2CF9AE}" pid="9" name="MSIP_Label_f72e1550-8259-4cf3-a1ec-0faec9abf3e8_ActionId">
    <vt:lpwstr>57180198-46e4-41a0-96f0-ec854d872ae1</vt:lpwstr>
  </property>
  <property fmtid="{D5CDD505-2E9C-101B-9397-08002B2CF9AE}" pid="10" name="MSIP_Label_f72e1550-8259-4cf3-a1ec-0faec9abf3e8_ContentBits">
    <vt:lpwstr>0</vt:lpwstr>
  </property>
</Properties>
</file>